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9" r:id="rId5"/>
  </p:sldMasterIdLst>
  <p:notesMasterIdLst>
    <p:notesMasterId r:id="rId25"/>
  </p:notesMasterIdLst>
  <p:sldIdLst>
    <p:sldId id="2753" r:id="rId6"/>
    <p:sldId id="2765" r:id="rId7"/>
    <p:sldId id="2766" r:id="rId8"/>
    <p:sldId id="2767" r:id="rId9"/>
    <p:sldId id="2769" r:id="rId10"/>
    <p:sldId id="2771" r:id="rId11"/>
    <p:sldId id="2772" r:id="rId12"/>
    <p:sldId id="2764" r:id="rId13"/>
    <p:sldId id="1290" r:id="rId14"/>
    <p:sldId id="2752" r:id="rId15"/>
    <p:sldId id="2749" r:id="rId16"/>
    <p:sldId id="1888" r:id="rId17"/>
    <p:sldId id="2747" r:id="rId18"/>
    <p:sldId id="1902" r:id="rId19"/>
    <p:sldId id="2760" r:id="rId20"/>
    <p:sldId id="2761" r:id="rId21"/>
    <p:sldId id="2762" r:id="rId22"/>
    <p:sldId id="2775" r:id="rId23"/>
    <p:sldId id="2776" r:id="rId24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6" userDrawn="1">
          <p15:clr>
            <a:srgbClr val="A4A3A4"/>
          </p15:clr>
        </p15:guide>
        <p15:guide id="3" pos="288" userDrawn="1">
          <p15:clr>
            <a:srgbClr val="A4A3A4"/>
          </p15:clr>
        </p15:guide>
        <p15:guide id="4" orient="horz" pos="164" userDrawn="1">
          <p15:clr>
            <a:srgbClr val="A4A3A4"/>
          </p15:clr>
        </p15:guide>
        <p15:guide id="5" pos="6879" userDrawn="1">
          <p15:clr>
            <a:srgbClr val="A4A3A4"/>
          </p15:clr>
        </p15:guide>
        <p15:guide id="6" pos="4475" userDrawn="1">
          <p15:clr>
            <a:srgbClr val="A4A3A4"/>
          </p15:clr>
        </p15:guide>
        <p15:guide id="7" pos="824" userDrawn="1">
          <p15:clr>
            <a:srgbClr val="A4A3A4"/>
          </p15:clr>
        </p15:guide>
        <p15:guide id="8" pos="372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shvendar Reddy Kasala" initials="ERK" lastIdx="1" clrIdx="0">
    <p:extLst/>
  </p:cmAuthor>
  <p:cmAuthor id="2" name="Simon Rees" initials="SR" lastIdx="8" clrIdx="1">
    <p:extLst/>
  </p:cmAuthor>
  <p:cmAuthor id="3" name="Rafiee, Fatemeh /IR" initials="RF/" lastIdx="1" clrIdx="2">
    <p:extLst>
      <p:ext uri="{19B8F6BF-5375-455C-9EA6-DF929625EA0E}">
        <p15:presenceInfo xmlns:p15="http://schemas.microsoft.com/office/powerpoint/2012/main" userId="S-1-5-21-299502267-1645522239-682003330-107758942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4492"/>
    <a:srgbClr val="FFFFFF"/>
    <a:srgbClr val="586169"/>
    <a:srgbClr val="DDDDDD"/>
    <a:srgbClr val="E9E9EE"/>
    <a:srgbClr val="3C8C93"/>
    <a:srgbClr val="C19C69"/>
    <a:srgbClr val="A6A200"/>
    <a:srgbClr val="EDF3E8"/>
    <a:srgbClr val="4349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89946" autoAdjust="0"/>
  </p:normalViewPr>
  <p:slideViewPr>
    <p:cSldViewPr snapToGrid="0" showGuides="1">
      <p:cViewPr varScale="1">
        <p:scale>
          <a:sx n="67" d="100"/>
          <a:sy n="67" d="100"/>
        </p:scale>
        <p:origin x="822" y="48"/>
      </p:cViewPr>
      <p:guideLst>
        <p:guide orient="horz" pos="576"/>
        <p:guide pos="288"/>
        <p:guide orient="horz" pos="164"/>
        <p:guide pos="6879"/>
        <p:guide pos="4475"/>
        <p:guide pos="824"/>
        <p:guide pos="372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524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121686351706"/>
          <c:y val="6.2701714960152893E-2"/>
          <c:w val="0.828053969816268"/>
          <c:h val="0.8159581237346760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imary care physician</c:v>
                </c:pt>
              </c:strCache>
            </c:strRef>
          </c:tx>
          <c:spPr>
            <a:solidFill>
              <a:srgbClr val="005074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 w="190500" h="38100"/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005074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511-4D54-89BA-5E2191922FAB}"/>
              </c:ext>
            </c:extLst>
          </c:dPt>
          <c:dLbls>
            <c:dLbl>
              <c:idx val="0"/>
              <c:layout>
                <c:manualLayout>
                  <c:x val="-6.3229986876640418E-3"/>
                  <c:y val="4.6496943526123965E-7"/>
                </c:manualLayout>
              </c:layout>
              <c:tx>
                <c:rich>
                  <a:bodyPr/>
                  <a:lstStyle/>
                  <a:p>
                    <a:r>
                      <a:rPr lang="en-US" sz="1400" b="0" dirty="0">
                        <a:solidFill>
                          <a:schemeClr val="accent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72%</a:t>
                    </a:r>
                    <a:endParaRPr lang="en-US" sz="3200" dirty="0">
                      <a:solidFill>
                        <a:schemeClr val="bg1"/>
                      </a:solidFill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511-4D54-89BA-5E2191922FA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400" b="0" dirty="0">
                        <a:solidFill>
                          <a:schemeClr val="accent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80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2511-4D54-89BA-5E2191922FAB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400" b="0" dirty="0">
                        <a:solidFill>
                          <a:schemeClr val="accent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72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2511-4D54-89BA-5E2191922FAB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z="1400" b="0" dirty="0">
                        <a:solidFill>
                          <a:schemeClr val="accent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85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2511-4D54-89BA-5E2191922FAB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0">
                    <a:solidFill>
                      <a:schemeClr val="accent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</c:f>
              <c:strCache>
                <c:ptCount val="1"/>
                <c:pt idx="0">
                  <c:v>Concern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2511-4D54-89BA-5E2191922FA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Specialis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scene3d>
              <a:camera prst="orthographicFront"/>
              <a:lightRig rig="threePt" dir="t"/>
            </a:scene3d>
            <a:sp3d/>
          </c:spPr>
          <c:invertIfNegative val="0"/>
          <c:dLbls>
            <c:dLbl>
              <c:idx val="0"/>
              <c:layout>
                <c:manualLayout>
                  <c:x val="-6.3021653543307091E-3"/>
                  <c:y val="-4.9386728563397889E-3"/>
                </c:manualLayout>
              </c:layout>
              <c:tx>
                <c:rich>
                  <a:bodyPr/>
                  <a:lstStyle/>
                  <a:p>
                    <a:r>
                      <a:rPr lang="en-US" sz="1400" b="0" dirty="0">
                        <a:solidFill>
                          <a:schemeClr val="accent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79%</a:t>
                    </a:r>
                    <a:endParaRPr lang="en-US" sz="2000" dirty="0">
                      <a:solidFill>
                        <a:schemeClr val="bg1"/>
                      </a:solidFill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2511-4D54-89BA-5E2191922FAB}"/>
                </c:ext>
                <c:ext xmlns:c15="http://schemas.microsoft.com/office/drawing/2012/chart" uri="{CE6537A1-D6FC-4f65-9D91-7224C49458BB}">
                  <c15:layout>
                    <c:manualLayout>
                      <c:w val="9.7968667979002624E-2"/>
                      <c:h val="0.12051913301519515"/>
                    </c:manualLayout>
                  </c15:layout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400" b="0" dirty="0">
                        <a:solidFill>
                          <a:schemeClr val="accent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79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2511-4D54-89BA-5E2191922FAB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1400" b="0" dirty="0">
                        <a:solidFill>
                          <a:schemeClr val="accent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79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2511-4D54-89BA-5E2191922FAB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z="1400" b="0" dirty="0">
                        <a:solidFill>
                          <a:schemeClr val="accent4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90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2511-4D54-89BA-5E2191922FAB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0">
                    <a:solidFill>
                      <a:schemeClr val="accent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</c:f>
              <c:strCache>
                <c:ptCount val="1"/>
                <c:pt idx="0">
                  <c:v>Concern</c:v>
                </c:pt>
              </c:strCache>
            </c:strRef>
          </c:cat>
          <c:val>
            <c:numRef>
              <c:f>Sheet1!$B$3</c:f>
              <c:numCache>
                <c:formatCode>General</c:formatCode>
                <c:ptCount val="1"/>
                <c:pt idx="0">
                  <c:v>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2511-4D54-89BA-5E2191922F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4"/>
        <c:overlap val="-33"/>
        <c:axId val="-1274466704"/>
        <c:axId val="-1274467792"/>
      </c:barChart>
      <c:catAx>
        <c:axId val="-12744667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19050" cap="sq" cmpd="sng" algn="ctr">
            <a:solidFill>
              <a:srgbClr val="000000"/>
            </a:solidFill>
            <a:prstDash val="solid"/>
          </a:ln>
          <a:effectLst/>
        </c:spPr>
        <c:txPr>
          <a:bodyPr/>
          <a:lstStyle/>
          <a:p>
            <a: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274467792"/>
        <c:crosses val="autoZero"/>
        <c:auto val="1"/>
        <c:lblAlgn val="ctr"/>
        <c:lblOffset val="100"/>
        <c:noMultiLvlLbl val="0"/>
      </c:catAx>
      <c:valAx>
        <c:axId val="-1274467792"/>
        <c:scaling>
          <c:orientation val="minMax"/>
          <c:max val="100"/>
        </c:scaling>
        <c:delete val="0"/>
        <c:axPos val="b"/>
        <c:numFmt formatCode="General" sourceLinked="1"/>
        <c:majorTickMark val="out"/>
        <c:minorTickMark val="none"/>
        <c:tickLblPos val="high"/>
        <c:spPr>
          <a:noFill/>
          <a:ln w="19050" cap="sq" cmpd="sng" algn="ctr">
            <a:solidFill>
              <a:srgbClr val="000000"/>
            </a:solidFill>
            <a:prstDash val="solid"/>
          </a:ln>
          <a:effectLst/>
        </c:spPr>
        <c:txPr>
          <a:bodyPr/>
          <a:lstStyle/>
          <a:p>
            <a:pPr>
              <a:defRPr sz="1200">
                <a:solidFill>
                  <a:srgbClr val="59616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1274466704"/>
        <c:crosses val="max"/>
        <c:crossBetween val="between"/>
        <c:majorUnit val="20"/>
      </c:valAx>
    </c:plotArea>
    <c:plotVisOnly val="1"/>
    <c:dispBlanksAs val="gap"/>
    <c:showDLblsOverMax val="0"/>
  </c:chart>
  <c:txPr>
    <a:bodyPr/>
    <a:lstStyle/>
    <a:p>
      <a:pPr>
        <a:defRPr sz="1400" baseline="0">
          <a:solidFill>
            <a:srgbClr val="C0504D"/>
          </a:solidFill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EC13E3B-0BC9-4569-B7C7-185C42A0FFEA}" type="datetimeFigureOut">
              <a:rPr lang="en-GB" smtClean="0"/>
              <a:pPr/>
              <a:t>09/11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813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813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71F31DC-3F90-4AE5-9D82-08BEE66ABDC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13604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8.xm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1.xm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slide" Target="../slides/slide12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12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88900" y="795338"/>
            <a:ext cx="7042150" cy="39624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1123" name="Rectangle 3"/>
          <p:cNvSpPr>
            <a:spLocks noGrp="1"/>
          </p:cNvSpPr>
          <p:nvPr>
            <p:ph type="body" idx="1"/>
          </p:nvPr>
        </p:nvSpPr>
        <p:spPr bwMode="auto">
          <a:xfrm>
            <a:off x="684216" y="5017630"/>
            <a:ext cx="5489575" cy="475344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214308" indent="-214308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altLang="fr-FR" sz="1200" dirty="0" smtClean="0">
                <a:solidFill>
                  <a:schemeClr val="bg1"/>
                </a:solidFill>
                <a:hlinkClick r:id="rId3" action="ppaction://hlinksldjump"/>
              </a:rPr>
              <a:t>Rates of hypoglycemia are high</a:t>
            </a:r>
            <a:endParaRPr lang="en-US" altLang="fr-FR" sz="1200" dirty="0" smtClean="0">
              <a:solidFill>
                <a:schemeClr val="bg1"/>
              </a:solidFill>
            </a:endParaRPr>
          </a:p>
        </p:txBody>
      </p:sp>
      <p:sp>
        <p:nvSpPr>
          <p:cNvPr id="261124" name="TextBox 1"/>
          <p:cNvSpPr txBox="1">
            <a:spLocks noChangeArrowheads="1"/>
          </p:cNvSpPr>
          <p:nvPr/>
        </p:nvSpPr>
        <p:spPr bwMode="auto">
          <a:xfrm>
            <a:off x="1017591" y="216487"/>
            <a:ext cx="4924425" cy="369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804" tIns="45901" rIns="91804" bIns="45901">
            <a:spAutoFit/>
          </a:bodyPr>
          <a:lstStyle>
            <a:lvl1pPr defTabSz="458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8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8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8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8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8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8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8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8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  <a:latin typeface="Calibri" pitchFamily="34" charset="0"/>
              </a:rPr>
              <a:t>Slide taken from Gla-300 value deck – slide 2</a:t>
            </a:r>
          </a:p>
        </p:txBody>
      </p:sp>
    </p:spTree>
    <p:extLst>
      <p:ext uri="{BB962C8B-B14F-4D97-AF65-F5344CB8AC3E}">
        <p14:creationId xmlns:p14="http://schemas.microsoft.com/office/powerpoint/2010/main" val="33790737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-457200" algn="r" rtl="1"/>
            <a:endParaRPr lang="fa-IR" sz="1200" b="1" dirty="0" smtClean="0">
              <a:solidFill>
                <a:schemeClr val="tx2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r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A1949F-3997-5540-B7DE-2B44A80D1D1D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004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algn="r" rtl="1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A1949F-3997-5540-B7DE-2B44A80D1D1D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2471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r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A1949F-3997-5540-B7DE-2B44A80D1D1D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1159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1F31DC-3F90-4AE5-9D82-08BEE66ABDC7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87771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7950" y="739775"/>
            <a:ext cx="6581775" cy="3703638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A1949F-3997-5540-B7DE-2B44A80D1D1D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>
          <a:xfrm>
            <a:off x="679768" y="4576349"/>
            <a:ext cx="5438140" cy="5039750"/>
          </a:xfrm>
        </p:spPr>
        <p:txBody>
          <a:bodyPr/>
          <a:lstStyle/>
          <a:p>
            <a:r>
              <a:rPr lang="en-GB" sz="1100" b="1" dirty="0" smtClean="0">
                <a:latin typeface="Arial" pitchFamily="34" charset="0"/>
                <a:cs typeface="Arial" pitchFamily="34" charset="0"/>
              </a:rPr>
              <a:t>VOICE OVER/LESSON</a:t>
            </a:r>
            <a:r>
              <a:rPr lang="en-GB" sz="1100" b="1" baseline="0" dirty="0" smtClean="0">
                <a:latin typeface="Arial" pitchFamily="34" charset="0"/>
                <a:cs typeface="Arial" pitchFamily="34" charset="0"/>
              </a:rPr>
              <a:t> </a:t>
            </a:r>
            <a:endParaRPr lang="en-GB" sz="1100" b="1" dirty="0" smtClean="0">
              <a:latin typeface="Arial" pitchFamily="34" charset="0"/>
              <a:cs typeface="Arial" pitchFamily="34" charset="0"/>
            </a:endParaRPr>
          </a:p>
          <a:p>
            <a:r>
              <a:rPr lang="en-GB" b="0" i="0" dirty="0" smtClean="0">
                <a:latin typeface="Arial" pitchFamily="34" charset="0"/>
                <a:cs typeface="Arial" pitchFamily="34" charset="0"/>
              </a:rPr>
              <a:t>Now here are the features</a:t>
            </a:r>
            <a:r>
              <a:rPr lang="en-GB" b="0" i="0" baseline="0" dirty="0" smtClean="0">
                <a:latin typeface="Arial" pitchFamily="34" charset="0"/>
                <a:cs typeface="Arial" pitchFamily="34" charset="0"/>
              </a:rPr>
              <a:t> of the Gla-300 </a:t>
            </a:r>
            <a:r>
              <a:rPr lang="en-GB" b="0" i="0" baseline="0" dirty="0" err="1" smtClean="0">
                <a:latin typeface="Arial" pitchFamily="34" charset="0"/>
                <a:cs typeface="Arial" pitchFamily="34" charset="0"/>
              </a:rPr>
              <a:t>SoloSTAR</a:t>
            </a:r>
            <a:r>
              <a:rPr lang="en-US" b="0" i="0" u="none" strike="noStrike" baseline="30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GB" b="0" i="0" baseline="0" dirty="0" smtClean="0">
                <a:latin typeface="Arial" pitchFamily="34" charset="0"/>
                <a:cs typeface="Arial" pitchFamily="34" charset="0"/>
              </a:rPr>
              <a:t> Pen. </a:t>
            </a:r>
            <a:endParaRPr lang="en-US" b="0" i="0" u="none" strike="noStrike" kern="1200" baseline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b="0" i="0" u="none" strike="noStrike" kern="1200" baseline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s you can see on this picture, certain features have been enhanced to improve user experience.</a:t>
            </a:r>
          </a:p>
          <a:p>
            <a:r>
              <a:rPr lang="en-US" b="0" i="0" u="none" strike="noStrike" kern="1200" baseline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eatures of the Gla-300 </a:t>
            </a:r>
            <a:r>
              <a:rPr lang="en-US" b="0" i="0" u="none" strike="noStrike" kern="1200" baseline="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loSTAR</a:t>
            </a:r>
            <a:r>
              <a:rPr lang="en-US" b="0" i="0" u="none" strike="noStrike" baseline="30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b="0" i="0" u="none" strike="noStrike" kern="1200" baseline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Pen include: a greater capacity than the Gla-100 </a:t>
            </a:r>
            <a:r>
              <a:rPr lang="en-US" b="0" i="0" u="none" strike="noStrike" kern="1200" baseline="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loSTAR</a:t>
            </a:r>
            <a:r>
              <a:rPr lang="en-US" b="0" i="0" u="none" strike="noStrike" baseline="30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b="0" i="0" u="none" strike="noStrike" kern="1200" baseline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Pen: 450 units versus 300 units (</a:t>
            </a:r>
            <a:r>
              <a:rPr lang="en-US" b="0" i="1" u="none" strike="noStrike" kern="1200" baseline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pparition </a:t>
            </a:r>
            <a:r>
              <a:rPr lang="en-US" b="0" i="1" u="none" strike="noStrike" kern="1200" baseline="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vale</a:t>
            </a:r>
            <a:r>
              <a:rPr lang="en-US" b="0" i="1" u="none" strike="noStrike" kern="1200" baseline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“450 units of insulin”</a:t>
            </a:r>
            <a:r>
              <a:rPr lang="en-US" b="0" i="0" u="none" strike="noStrike" kern="1200" baseline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, and modifications to ensure that 1 click of the dose selector corresponds to 1 unit of Gla-300 (</a:t>
            </a:r>
            <a:r>
              <a:rPr lang="en-US" b="0" i="1" u="none" strike="noStrike" kern="1200" baseline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pparition de </a:t>
            </a:r>
            <a:r>
              <a:rPr lang="en-US" b="0" i="1" u="none" strike="noStrike" kern="1200" baseline="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’autre</a:t>
            </a:r>
            <a:r>
              <a:rPr lang="en-US" b="0" i="1" u="none" strike="noStrike" kern="1200" baseline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b="0" i="1" u="none" strike="noStrike" kern="1200" baseline="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vale</a:t>
            </a:r>
            <a:r>
              <a:rPr lang="en-US" b="0" i="1" u="none" strike="noStrike" kern="1200" baseline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b="0" i="1" u="none" strike="noStrike" kern="1200" baseline="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vert</a:t>
            </a:r>
            <a:r>
              <a:rPr lang="en-US" b="0" i="1" u="none" strike="noStrike" kern="1200" baseline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“1 click= 1 dose”</a:t>
            </a:r>
            <a:r>
              <a:rPr lang="en-US" b="0" i="0" u="none" strike="noStrike" kern="1200" baseline="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, so there is no need for recalculation to account for the lower injected volume. </a:t>
            </a:r>
          </a:p>
          <a:p>
            <a:endParaRPr lang="en-GB" b="1" i="0" dirty="0" smtClean="0">
              <a:latin typeface="Arial" pitchFamily="34" charset="0"/>
              <a:cs typeface="Arial" pitchFamily="34" charset="0"/>
            </a:endParaRPr>
          </a:p>
          <a:p>
            <a:r>
              <a:rPr lang="en-GB" b="1" i="0" dirty="0" smtClean="0">
                <a:latin typeface="Arial" pitchFamily="34" charset="0"/>
                <a:cs typeface="Arial" pitchFamily="34" charset="0"/>
              </a:rPr>
              <a:t>POPUP</a:t>
            </a:r>
            <a:r>
              <a:rPr lang="en-GB" b="1" i="0" baseline="0" dirty="0" smtClean="0">
                <a:latin typeface="Arial" pitchFamily="34" charset="0"/>
                <a:cs typeface="Arial" pitchFamily="34" charset="0"/>
              </a:rPr>
              <a:t> COMMENTS</a:t>
            </a:r>
          </a:p>
          <a:p>
            <a:pPr algn="l"/>
            <a:r>
              <a:rPr lang="en-GB" b="1" i="0" baseline="0" dirty="0" smtClean="0">
                <a:latin typeface="Arial" pitchFamily="34" charset="0"/>
                <a:cs typeface="Arial" pitchFamily="34" charset="0"/>
              </a:rPr>
              <a:t>Grip features: </a:t>
            </a:r>
            <a:r>
              <a:rPr lang="en-US" b="0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ose button designed to avoid blocking during dispense</a:t>
            </a:r>
          </a:p>
          <a:p>
            <a:pPr algn="l"/>
            <a:r>
              <a:rPr lang="en-US" b="1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arge dose window</a:t>
            </a:r>
            <a:r>
              <a:rPr lang="en-US" b="0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It shows number of units: no recalculation is needed to account for the low injected volume </a:t>
            </a:r>
          </a:p>
          <a:p>
            <a:pPr algn="l"/>
            <a:r>
              <a:rPr lang="fr-FR" b="1" i="0" u="none" strike="noStrike" baseline="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lignment</a:t>
            </a:r>
            <a:r>
              <a:rPr lang="fr-FR" b="1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b="1" i="0" u="none" strike="noStrike" baseline="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eature</a:t>
            </a:r>
            <a:r>
              <a:rPr lang="fr-FR" b="0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en-US" b="0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nit dose adjustment (1 click = 1 unit) and maximum single dose of 80 units: the same as the Gla-100 </a:t>
            </a:r>
            <a:r>
              <a:rPr lang="en-US" b="0" i="0" u="none" strike="noStrike" baseline="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loSTAR</a:t>
            </a:r>
            <a:r>
              <a:rPr lang="en-US" b="0" i="0" u="none" strike="noStrike" baseline="30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b="0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Pen </a:t>
            </a:r>
          </a:p>
          <a:p>
            <a:pPr algn="l"/>
            <a:r>
              <a:rPr lang="fr-FR" b="1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ose pointer</a:t>
            </a:r>
            <a:r>
              <a:rPr lang="fr-FR" b="0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fr-FR" b="0" i="0" u="none" strike="noStrike" baseline="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ven</a:t>
            </a:r>
            <a:r>
              <a:rPr lang="fr-FR" b="0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b="0" i="0" u="none" strike="noStrike" baseline="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umbers</a:t>
            </a:r>
            <a:r>
              <a:rPr lang="fr-FR" b="0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b="0" i="0" u="none" strike="noStrike" baseline="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hown</a:t>
            </a:r>
            <a:r>
              <a:rPr lang="fr-FR" b="0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line </a:t>
            </a:r>
            <a:r>
              <a:rPr lang="fr-FR" b="0" i="0" u="none" strike="noStrike" baseline="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ith</a:t>
            </a:r>
            <a:r>
              <a:rPr lang="fr-FR" b="0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dose pointer</a:t>
            </a:r>
            <a:endParaRPr lang="en-US" b="0" i="0" u="none" strike="noStrike" baseline="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l"/>
            <a:r>
              <a:rPr lang="en-GB" b="1" i="0" dirty="0" smtClean="0">
                <a:latin typeface="Arial" pitchFamily="34" charset="0"/>
                <a:cs typeface="Arial" pitchFamily="34" charset="0"/>
              </a:rPr>
              <a:t>Greater capacity: </a:t>
            </a:r>
            <a:r>
              <a:rPr lang="en-US" b="0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tains 50% more insulin than the Gla-100 </a:t>
            </a:r>
            <a:r>
              <a:rPr lang="en-US" b="0" i="0" u="none" strike="noStrike" baseline="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loSTAR</a:t>
            </a:r>
            <a:r>
              <a:rPr lang="en-US" b="0" i="0" u="none" strike="noStrike" baseline="30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b="0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Pen: 450 units </a:t>
            </a:r>
            <a:r>
              <a:rPr lang="en-US" b="0" i="1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ersus</a:t>
            </a:r>
            <a:r>
              <a:rPr lang="en-US" b="0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300 units</a:t>
            </a:r>
          </a:p>
          <a:p>
            <a:pPr algn="l"/>
            <a:r>
              <a:rPr lang="en-GB" b="1" i="0" dirty="0" smtClean="0">
                <a:latin typeface="Arial" pitchFamily="34" charset="0"/>
                <a:cs typeface="Arial" pitchFamily="34" charset="0"/>
              </a:rPr>
              <a:t>Graphic: </a:t>
            </a:r>
            <a:r>
              <a:rPr lang="en-US" b="0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learly different graphic at 0 units aids identification in instruction leaflet</a:t>
            </a:r>
          </a:p>
          <a:p>
            <a:pPr algn="l"/>
            <a:r>
              <a:rPr lang="fr-FR" b="1" i="0" u="none" strike="noStrike" baseline="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cale</a:t>
            </a:r>
            <a:r>
              <a:rPr lang="fr-FR" b="1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b="1" i="0" u="none" strike="noStrike" baseline="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unts</a:t>
            </a:r>
            <a:r>
              <a:rPr lang="fr-FR" b="0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fr-FR" b="0" i="0" u="none" strike="noStrike" baseline="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cale</a:t>
            </a:r>
            <a:r>
              <a:rPr lang="fr-FR" b="0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b="0" i="0" u="none" strike="noStrike" baseline="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unts</a:t>
            </a:r>
            <a:r>
              <a:rPr lang="fr-FR" b="0" i="0" u="none" strike="noStrike" baseline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n 50s</a:t>
            </a:r>
            <a:endParaRPr lang="en-US" b="0" i="0" u="none" strike="noStrike" baseline="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endParaRPr lang="en-GB" b="1" i="0" dirty="0" smtClean="0">
              <a:latin typeface="Arial" pitchFamily="34" charset="0"/>
              <a:cs typeface="Arial" pitchFamily="34" charset="0"/>
            </a:endParaRPr>
          </a:p>
          <a:p>
            <a:r>
              <a:rPr lang="en-GB" b="1" i="0" dirty="0" smtClean="0">
                <a:latin typeface="Arial" pitchFamily="34" charset="0"/>
                <a:cs typeface="Arial" pitchFamily="34" charset="0"/>
              </a:rPr>
              <a:t>REFERENCES </a:t>
            </a:r>
          </a:p>
          <a:p>
            <a:r>
              <a:rPr lang="en-US" i="1" dirty="0" smtClean="0">
                <a:latin typeface="Arial" pitchFamily="34" charset="0"/>
                <a:cs typeface="Arial" pitchFamily="34" charset="0"/>
              </a:rPr>
              <a:t>Pohlmeier H et al. </a:t>
            </a:r>
            <a:r>
              <a:rPr lang="en-GB" i="1" dirty="0" smtClean="0">
                <a:latin typeface="Arial" pitchFamily="34" charset="0"/>
                <a:cs typeface="Arial" pitchFamily="34" charset="0"/>
              </a:rPr>
              <a:t>Poster presentation at ADA 2015; Abstract 1052-P</a:t>
            </a:r>
            <a:br>
              <a:rPr lang="en-GB" i="1" dirty="0" smtClean="0">
                <a:latin typeface="Arial" pitchFamily="34" charset="0"/>
                <a:cs typeface="Arial" pitchFamily="34" charset="0"/>
              </a:rPr>
            </a:br>
            <a:r>
              <a:rPr lang="en-GB" i="1" dirty="0" err="1" smtClean="0">
                <a:latin typeface="Arial" pitchFamily="34" charset="0"/>
                <a:cs typeface="Arial" pitchFamily="34" charset="0"/>
              </a:rPr>
              <a:t>Klonoff</a:t>
            </a:r>
            <a:r>
              <a:rPr lang="en-GB" i="1" dirty="0" smtClean="0">
                <a:latin typeface="Arial" pitchFamily="34" charset="0"/>
                <a:cs typeface="Arial" pitchFamily="34" charset="0"/>
              </a:rPr>
              <a:t> D et al. </a:t>
            </a:r>
            <a:r>
              <a:rPr lang="fr-FR" i="1" dirty="0" smtClean="0">
                <a:latin typeface="Arial" pitchFamily="34" charset="0"/>
                <a:cs typeface="Arial" pitchFamily="34" charset="0"/>
              </a:rPr>
              <a:t>J </a:t>
            </a:r>
            <a:r>
              <a:rPr lang="fr-FR" i="1" dirty="0" err="1" smtClean="0">
                <a:latin typeface="Arial" pitchFamily="34" charset="0"/>
                <a:cs typeface="Arial" pitchFamily="34" charset="0"/>
              </a:rPr>
              <a:t>Diabetes</a:t>
            </a:r>
            <a:r>
              <a:rPr lang="fr-FR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i="1" dirty="0" err="1" smtClean="0">
                <a:latin typeface="Arial" pitchFamily="34" charset="0"/>
                <a:cs typeface="Arial" pitchFamily="34" charset="0"/>
              </a:rPr>
              <a:t>Sci</a:t>
            </a:r>
            <a:r>
              <a:rPr lang="fr-FR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fr-FR" i="1" dirty="0" err="1" smtClean="0">
                <a:latin typeface="Arial" pitchFamily="34" charset="0"/>
                <a:cs typeface="Arial" pitchFamily="34" charset="0"/>
              </a:rPr>
              <a:t>Technol</a:t>
            </a:r>
            <a:r>
              <a:rPr lang="fr-FR" i="1" dirty="0" smtClean="0">
                <a:latin typeface="Arial" pitchFamily="34" charset="0"/>
                <a:cs typeface="Arial" pitchFamily="34" charset="0"/>
              </a:rPr>
              <a:t>. 2015;9:936-8 (</a:t>
            </a:r>
            <a:r>
              <a:rPr lang="fr-FR" i="1" dirty="0" err="1" smtClean="0">
                <a:latin typeface="Arial" pitchFamily="34" charset="0"/>
                <a:cs typeface="Arial" pitchFamily="34" charset="0"/>
              </a:rPr>
              <a:t>Letter</a:t>
            </a:r>
            <a:r>
              <a:rPr lang="fr-FR" i="1" dirty="0" smtClean="0">
                <a:latin typeface="Arial" pitchFamily="34" charset="0"/>
                <a:cs typeface="Arial" pitchFamily="34" charset="0"/>
              </a:rPr>
              <a:t> to the Editor)</a:t>
            </a:r>
            <a:endParaRPr lang="en-US" i="1" dirty="0" smtClean="0">
              <a:latin typeface="Arial" pitchFamily="34" charset="0"/>
              <a:cs typeface="Arial" pitchFamily="34" charset="0"/>
            </a:endParaRPr>
          </a:p>
          <a:p>
            <a:endParaRPr lang="en-GB" sz="1000" i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33934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12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88900" y="795338"/>
            <a:ext cx="7042150" cy="39624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1123" name="Rectangle 3"/>
          <p:cNvSpPr>
            <a:spLocks noGrp="1"/>
          </p:cNvSpPr>
          <p:nvPr>
            <p:ph type="body" idx="1"/>
          </p:nvPr>
        </p:nvSpPr>
        <p:spPr bwMode="auto">
          <a:xfrm>
            <a:off x="684216" y="5017630"/>
            <a:ext cx="5489575" cy="475344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indent="0">
              <a:spcBef>
                <a:spcPts val="450"/>
              </a:spcBef>
              <a:buFont typeface="Arial" panose="020B0604020202020204" pitchFamily="34" charset="0"/>
              <a:buNone/>
            </a:pPr>
            <a:r>
              <a:rPr lang="en-US" altLang="zh-CN" sz="1200" b="0" dirty="0" smtClean="0">
                <a:solidFill>
                  <a:schemeClr val="bg1"/>
                </a:solidFill>
              </a:rPr>
              <a:t>70-80%</a:t>
            </a:r>
            <a:r>
              <a:rPr lang="en-US" altLang="zh-CN" sz="1200" b="0" baseline="0" dirty="0" smtClean="0">
                <a:solidFill>
                  <a:schemeClr val="bg1"/>
                </a:solidFill>
              </a:rPr>
              <a:t> of physicians would consider the target of their patients tightly if </a:t>
            </a:r>
            <a:r>
              <a:rPr lang="en-US" sz="1200" b="0" dirty="0" smtClean="0">
                <a:solidFill>
                  <a:srgbClr val="596169"/>
                </a:solidFill>
                <a:latin typeface="Arial"/>
                <a:ea typeface="MS PGothic" pitchFamily="34" charset="-128"/>
                <a:cs typeface="Arial" panose="020B0604020202020204" pitchFamily="34" charset="0"/>
              </a:rPr>
              <a:t>there was no concern about hypoglycemia</a:t>
            </a:r>
            <a:endParaRPr lang="zh-CN" altLang="zh-CN" b="0" dirty="0"/>
          </a:p>
        </p:txBody>
      </p:sp>
      <p:sp>
        <p:nvSpPr>
          <p:cNvPr id="261124" name="TextBox 1"/>
          <p:cNvSpPr txBox="1">
            <a:spLocks noChangeArrowheads="1"/>
          </p:cNvSpPr>
          <p:nvPr/>
        </p:nvSpPr>
        <p:spPr bwMode="auto">
          <a:xfrm>
            <a:off x="1017591" y="216487"/>
            <a:ext cx="4924425" cy="369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804" tIns="45901" rIns="91804" bIns="45901">
            <a:spAutoFit/>
          </a:bodyPr>
          <a:lstStyle>
            <a:lvl1pPr defTabSz="458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8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8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8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8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8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8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8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8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  <a:latin typeface="Calibri" pitchFamily="34" charset="0"/>
              </a:rPr>
              <a:t>Slide taken from Gla-300 value deck – slide 2</a:t>
            </a:r>
          </a:p>
        </p:txBody>
      </p:sp>
    </p:spTree>
    <p:extLst>
      <p:ext uri="{BB962C8B-B14F-4D97-AF65-F5344CB8AC3E}">
        <p14:creationId xmlns:p14="http://schemas.microsoft.com/office/powerpoint/2010/main" val="13454770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12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88900" y="795338"/>
            <a:ext cx="7042150" cy="39624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1123" name="Rectangle 3"/>
          <p:cNvSpPr>
            <a:spLocks noGrp="1"/>
          </p:cNvSpPr>
          <p:nvPr>
            <p:ph type="body" idx="1"/>
          </p:nvPr>
        </p:nvSpPr>
        <p:spPr bwMode="auto">
          <a:xfrm>
            <a:off x="684216" y="5017630"/>
            <a:ext cx="5489575" cy="475344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214308" indent="-214308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bg1"/>
                </a:solidFill>
                <a:hlinkClick r:id="rId3" action="ppaction://hlinksldjump"/>
              </a:rPr>
              <a:t>Overcoming limitations in basal insulins</a:t>
            </a:r>
            <a:endParaRPr lang="en-US" altLang="fr-FR" sz="1200" dirty="0" smtClean="0">
              <a:solidFill>
                <a:schemeClr val="bg1"/>
              </a:solidFill>
            </a:endParaRPr>
          </a:p>
          <a:p>
            <a:pPr marL="214308" indent="-214308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altLang="fr-FR" sz="1200" dirty="0" smtClean="0">
                <a:solidFill>
                  <a:schemeClr val="bg1"/>
                </a:solidFill>
                <a:hlinkClick r:id="rId4" action="ppaction://hlinksldjump"/>
              </a:rPr>
              <a:t>Clinical benefits of an ideal PK/PD profile</a:t>
            </a:r>
            <a:endParaRPr lang="en-US" altLang="fr-FR" sz="1100" dirty="0" smtClean="0">
              <a:solidFill>
                <a:schemeClr val="bg1"/>
              </a:solidFill>
            </a:endParaRPr>
          </a:p>
          <a:p>
            <a:pPr eaLnBrk="1" hangingPunct="1">
              <a:spcBef>
                <a:spcPct val="0"/>
              </a:spcBef>
            </a:pPr>
            <a:endParaRPr lang="zh-CN" altLang="zh-CN" dirty="0"/>
          </a:p>
        </p:txBody>
      </p:sp>
      <p:sp>
        <p:nvSpPr>
          <p:cNvPr id="261124" name="TextBox 1"/>
          <p:cNvSpPr txBox="1">
            <a:spLocks noChangeArrowheads="1"/>
          </p:cNvSpPr>
          <p:nvPr/>
        </p:nvSpPr>
        <p:spPr bwMode="auto">
          <a:xfrm>
            <a:off x="1017591" y="216487"/>
            <a:ext cx="4924425" cy="369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804" tIns="45901" rIns="91804" bIns="45901">
            <a:spAutoFit/>
          </a:bodyPr>
          <a:lstStyle>
            <a:lvl1pPr defTabSz="458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8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8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8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8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8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8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8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8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  <a:latin typeface="Calibri" pitchFamily="34" charset="0"/>
              </a:rPr>
              <a:t>Slide taken from Gla-300 value deck – slide 2</a:t>
            </a:r>
          </a:p>
        </p:txBody>
      </p:sp>
    </p:spTree>
    <p:extLst>
      <p:ext uri="{BB962C8B-B14F-4D97-AF65-F5344CB8AC3E}">
        <p14:creationId xmlns:p14="http://schemas.microsoft.com/office/powerpoint/2010/main" val="16178454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00025" y="812800"/>
            <a:ext cx="7205663" cy="4054475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7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BA1949F-3997-5540-B7DE-2B44A80D1D1D}" type="slidenum">
              <a:rPr lang="en-US" sz="1300" smtClean="0">
                <a:solidFill>
                  <a:prstClr val="black"/>
                </a:solidFill>
                <a:latin typeface="Times" panose="02020603050405020304" pitchFamily="18" charset="0"/>
                <a:cs typeface="Arial" panose="020B0604020202020204" pitchFamily="34" charset="0"/>
              </a:rPr>
              <a:pPr defTabSz="966788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US" sz="1300" dirty="0">
              <a:solidFill>
                <a:prstClr val="black"/>
              </a:solidFill>
              <a:latin typeface="Times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78726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29038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A1949F-3997-5540-B7DE-2B44A80D1D1D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21005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25500" y="661988"/>
            <a:ext cx="5881688" cy="33099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b="1" dirty="0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95841" indent="-30609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224370" indent="-244874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714120" indent="-244874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203868" indent="-244874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693616" indent="-244874" defTabSz="48974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3183364" indent="-244874" defTabSz="48974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673112" indent="-244874" defTabSz="48974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4162861" indent="-244874" defTabSz="48974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fld id="{72D5A359-26D5-4E9F-813B-C646FC1251FE}" type="slidenum">
              <a:rPr lang="en-GB" smtClean="0">
                <a:solidFill>
                  <a:prstClr val="black"/>
                </a:solidFill>
              </a:rPr>
              <a:pPr/>
              <a:t>8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1319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A1949F-3997-5540-B7DE-2B44A80D1D1D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8" name="Notes Placehold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r" rtl="1"/>
            <a:endParaRPr lang="fa-I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62940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A1949F-3997-5540-B7DE-2B44A80D1D1D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8" name="Notes Placehold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r" rtl="1"/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31572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A1949F-3997-5540-B7DE-2B44A80D1D1D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8" name="Notes Placehold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r" defTabSz="489748">
              <a:defRPr/>
            </a:pPr>
            <a:endParaRPr lang="en-US" b="1" baseline="0" dirty="0"/>
          </a:p>
        </p:txBody>
      </p:sp>
    </p:spTree>
    <p:extLst>
      <p:ext uri="{BB962C8B-B14F-4D97-AF65-F5344CB8AC3E}">
        <p14:creationId xmlns:p14="http://schemas.microsoft.com/office/powerpoint/2010/main" val="10855744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5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/>
          <p:cNvGrpSpPr/>
          <p:nvPr userDrawn="1"/>
        </p:nvGrpSpPr>
        <p:grpSpPr>
          <a:xfrm>
            <a:off x="-7916" y="2742990"/>
            <a:ext cx="12223739" cy="4120948"/>
            <a:chOff x="-5937" y="2057241"/>
            <a:chExt cx="9167804" cy="3090711"/>
          </a:xfrm>
        </p:grpSpPr>
        <p:sp>
          <p:nvSpPr>
            <p:cNvPr id="14" name="Freeform 13"/>
            <p:cNvSpPr/>
            <p:nvPr userDrawn="1"/>
          </p:nvSpPr>
          <p:spPr>
            <a:xfrm>
              <a:off x="-5937" y="2057241"/>
              <a:ext cx="9167804" cy="3090711"/>
            </a:xfrm>
            <a:custGeom>
              <a:avLst/>
              <a:gdLst>
                <a:gd name="connsiteX0" fmla="*/ 5938 w 9149938"/>
                <a:gd name="connsiteY0" fmla="*/ 0 h 3087584"/>
                <a:gd name="connsiteX1" fmla="*/ 267195 w 9149938"/>
                <a:gd name="connsiteY1" fmla="*/ 17813 h 3087584"/>
                <a:gd name="connsiteX2" fmla="*/ 528452 w 9149938"/>
                <a:gd name="connsiteY2" fmla="*/ 35626 h 3087584"/>
                <a:gd name="connsiteX3" fmla="*/ 801585 w 9149938"/>
                <a:gd name="connsiteY3" fmla="*/ 59376 h 3087584"/>
                <a:gd name="connsiteX4" fmla="*/ 1045029 w 9149938"/>
                <a:gd name="connsiteY4" fmla="*/ 83127 h 3087584"/>
                <a:gd name="connsiteX5" fmla="*/ 1294411 w 9149938"/>
                <a:gd name="connsiteY5" fmla="*/ 112815 h 3087584"/>
                <a:gd name="connsiteX6" fmla="*/ 1502229 w 9149938"/>
                <a:gd name="connsiteY6" fmla="*/ 142504 h 3087584"/>
                <a:gd name="connsiteX7" fmla="*/ 1781299 w 9149938"/>
                <a:gd name="connsiteY7" fmla="*/ 184067 h 3087584"/>
                <a:gd name="connsiteX8" fmla="*/ 1941616 w 9149938"/>
                <a:gd name="connsiteY8" fmla="*/ 207818 h 3087584"/>
                <a:gd name="connsiteX9" fmla="*/ 2107870 w 9149938"/>
                <a:gd name="connsiteY9" fmla="*/ 237506 h 3087584"/>
                <a:gd name="connsiteX10" fmla="*/ 2327564 w 9149938"/>
                <a:gd name="connsiteY10" fmla="*/ 267195 h 3087584"/>
                <a:gd name="connsiteX11" fmla="*/ 2559133 w 9149938"/>
                <a:gd name="connsiteY11" fmla="*/ 308758 h 3087584"/>
                <a:gd name="connsiteX12" fmla="*/ 2838203 w 9149938"/>
                <a:gd name="connsiteY12" fmla="*/ 356260 h 3087584"/>
                <a:gd name="connsiteX13" fmla="*/ 3063834 w 9149938"/>
                <a:gd name="connsiteY13" fmla="*/ 397823 h 3087584"/>
                <a:gd name="connsiteX14" fmla="*/ 3331029 w 9149938"/>
                <a:gd name="connsiteY14" fmla="*/ 445325 h 3087584"/>
                <a:gd name="connsiteX15" fmla="*/ 3550722 w 9149938"/>
                <a:gd name="connsiteY15" fmla="*/ 480950 h 3087584"/>
                <a:gd name="connsiteX16" fmla="*/ 3758541 w 9149938"/>
                <a:gd name="connsiteY16" fmla="*/ 522514 h 3087584"/>
                <a:gd name="connsiteX17" fmla="*/ 4091050 w 9149938"/>
                <a:gd name="connsiteY17" fmla="*/ 587828 h 3087584"/>
                <a:gd name="connsiteX18" fmla="*/ 4352307 w 9149938"/>
                <a:gd name="connsiteY18" fmla="*/ 629392 h 3087584"/>
                <a:gd name="connsiteX19" fmla="*/ 4566063 w 9149938"/>
                <a:gd name="connsiteY19" fmla="*/ 659080 h 3087584"/>
                <a:gd name="connsiteX20" fmla="*/ 4839195 w 9149938"/>
                <a:gd name="connsiteY20" fmla="*/ 700644 h 3087584"/>
                <a:gd name="connsiteX21" fmla="*/ 5088577 w 9149938"/>
                <a:gd name="connsiteY21" fmla="*/ 730332 h 3087584"/>
                <a:gd name="connsiteX22" fmla="*/ 5343896 w 9149938"/>
                <a:gd name="connsiteY22" fmla="*/ 760021 h 3087584"/>
                <a:gd name="connsiteX23" fmla="*/ 5545777 w 9149938"/>
                <a:gd name="connsiteY23" fmla="*/ 777834 h 3087584"/>
                <a:gd name="connsiteX24" fmla="*/ 5741720 w 9149938"/>
                <a:gd name="connsiteY24" fmla="*/ 801584 h 3087584"/>
                <a:gd name="connsiteX25" fmla="*/ 5973289 w 9149938"/>
                <a:gd name="connsiteY25" fmla="*/ 819397 h 3087584"/>
                <a:gd name="connsiteX26" fmla="*/ 6163294 w 9149938"/>
                <a:gd name="connsiteY26" fmla="*/ 831273 h 3087584"/>
                <a:gd name="connsiteX27" fmla="*/ 6353299 w 9149938"/>
                <a:gd name="connsiteY27" fmla="*/ 837210 h 3087584"/>
                <a:gd name="connsiteX28" fmla="*/ 6513616 w 9149938"/>
                <a:gd name="connsiteY28" fmla="*/ 837210 h 3087584"/>
                <a:gd name="connsiteX29" fmla="*/ 6727372 w 9149938"/>
                <a:gd name="connsiteY29" fmla="*/ 837210 h 3087584"/>
                <a:gd name="connsiteX30" fmla="*/ 6964878 w 9149938"/>
                <a:gd name="connsiteY30" fmla="*/ 831273 h 3087584"/>
                <a:gd name="connsiteX31" fmla="*/ 7154883 w 9149938"/>
                <a:gd name="connsiteY31" fmla="*/ 825335 h 3087584"/>
                <a:gd name="connsiteX32" fmla="*/ 7344889 w 9149938"/>
                <a:gd name="connsiteY32" fmla="*/ 813460 h 3087584"/>
                <a:gd name="connsiteX33" fmla="*/ 7505206 w 9149938"/>
                <a:gd name="connsiteY33" fmla="*/ 807522 h 3087584"/>
                <a:gd name="connsiteX34" fmla="*/ 7677398 w 9149938"/>
                <a:gd name="connsiteY34" fmla="*/ 789709 h 3087584"/>
                <a:gd name="connsiteX35" fmla="*/ 7873341 w 9149938"/>
                <a:gd name="connsiteY35" fmla="*/ 765958 h 3087584"/>
                <a:gd name="connsiteX36" fmla="*/ 8075221 w 9149938"/>
                <a:gd name="connsiteY36" fmla="*/ 736270 h 3087584"/>
                <a:gd name="connsiteX37" fmla="*/ 8265226 w 9149938"/>
                <a:gd name="connsiteY37" fmla="*/ 700644 h 3087584"/>
                <a:gd name="connsiteX38" fmla="*/ 8407730 w 9149938"/>
                <a:gd name="connsiteY38" fmla="*/ 676893 h 3087584"/>
                <a:gd name="connsiteX39" fmla="*/ 8597735 w 9149938"/>
                <a:gd name="connsiteY39" fmla="*/ 629392 h 3087584"/>
                <a:gd name="connsiteX40" fmla="*/ 8763990 w 9149938"/>
                <a:gd name="connsiteY40" fmla="*/ 593766 h 3087584"/>
                <a:gd name="connsiteX41" fmla="*/ 8942120 w 9149938"/>
                <a:gd name="connsiteY41" fmla="*/ 540327 h 3087584"/>
                <a:gd name="connsiteX42" fmla="*/ 9149938 w 9149938"/>
                <a:gd name="connsiteY42" fmla="*/ 475013 h 3087584"/>
                <a:gd name="connsiteX43" fmla="*/ 9149938 w 9149938"/>
                <a:gd name="connsiteY43" fmla="*/ 3087584 h 3087584"/>
                <a:gd name="connsiteX44" fmla="*/ 0 w 9149938"/>
                <a:gd name="connsiteY44" fmla="*/ 3087584 h 3087584"/>
                <a:gd name="connsiteX45" fmla="*/ 0 w 9149938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54883 w 9155876"/>
                <a:gd name="connsiteY31" fmla="*/ 825335 h 3087584"/>
                <a:gd name="connsiteX32" fmla="*/ 7344889 w 9155876"/>
                <a:gd name="connsiteY32" fmla="*/ 813460 h 3087584"/>
                <a:gd name="connsiteX33" fmla="*/ 7505206 w 9155876"/>
                <a:gd name="connsiteY33" fmla="*/ 807522 h 3087584"/>
                <a:gd name="connsiteX34" fmla="*/ 7677398 w 9155876"/>
                <a:gd name="connsiteY34" fmla="*/ 789709 h 3087584"/>
                <a:gd name="connsiteX35" fmla="*/ 7873341 w 9155876"/>
                <a:gd name="connsiteY35" fmla="*/ 765958 h 3087584"/>
                <a:gd name="connsiteX36" fmla="*/ 8075221 w 9155876"/>
                <a:gd name="connsiteY36" fmla="*/ 736270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8942120 w 9155876"/>
                <a:gd name="connsiteY41" fmla="*/ 540327 h 3087584"/>
                <a:gd name="connsiteX42" fmla="*/ 9149938 w 9155876"/>
                <a:gd name="connsiteY42" fmla="*/ 475013 h 3087584"/>
                <a:gd name="connsiteX43" fmla="*/ 9149938 w 9155876"/>
                <a:gd name="connsiteY43" fmla="*/ 3087584 h 3087584"/>
                <a:gd name="connsiteX44" fmla="*/ 0 w 9155876"/>
                <a:gd name="connsiteY44" fmla="*/ 3087584 h 3087584"/>
                <a:gd name="connsiteX45" fmla="*/ 0 w 9155876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13460 h 3087584"/>
                <a:gd name="connsiteX33" fmla="*/ 7505206 w 9155876"/>
                <a:gd name="connsiteY33" fmla="*/ 807522 h 3087584"/>
                <a:gd name="connsiteX34" fmla="*/ 7677398 w 9155876"/>
                <a:gd name="connsiteY34" fmla="*/ 789709 h 3087584"/>
                <a:gd name="connsiteX35" fmla="*/ 7873341 w 9155876"/>
                <a:gd name="connsiteY35" fmla="*/ 765958 h 3087584"/>
                <a:gd name="connsiteX36" fmla="*/ 8075221 w 9155876"/>
                <a:gd name="connsiteY36" fmla="*/ 736270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8942120 w 9155876"/>
                <a:gd name="connsiteY41" fmla="*/ 540327 h 3087584"/>
                <a:gd name="connsiteX42" fmla="*/ 9149938 w 9155876"/>
                <a:gd name="connsiteY42" fmla="*/ 475013 h 3087584"/>
                <a:gd name="connsiteX43" fmla="*/ 9149938 w 9155876"/>
                <a:gd name="connsiteY43" fmla="*/ 3087584 h 3087584"/>
                <a:gd name="connsiteX44" fmla="*/ 0 w 9155876"/>
                <a:gd name="connsiteY44" fmla="*/ 3087584 h 3087584"/>
                <a:gd name="connsiteX45" fmla="*/ 0 w 9155876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07522 h 3087584"/>
                <a:gd name="connsiteX34" fmla="*/ 7677398 w 9155876"/>
                <a:gd name="connsiteY34" fmla="*/ 789709 h 3087584"/>
                <a:gd name="connsiteX35" fmla="*/ 7873341 w 9155876"/>
                <a:gd name="connsiteY35" fmla="*/ 765958 h 3087584"/>
                <a:gd name="connsiteX36" fmla="*/ 8075221 w 9155876"/>
                <a:gd name="connsiteY36" fmla="*/ 736270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8942120 w 9155876"/>
                <a:gd name="connsiteY41" fmla="*/ 540327 h 3087584"/>
                <a:gd name="connsiteX42" fmla="*/ 9149938 w 9155876"/>
                <a:gd name="connsiteY42" fmla="*/ 475013 h 3087584"/>
                <a:gd name="connsiteX43" fmla="*/ 9149938 w 9155876"/>
                <a:gd name="connsiteY43" fmla="*/ 3087584 h 3087584"/>
                <a:gd name="connsiteX44" fmla="*/ 0 w 9155876"/>
                <a:gd name="connsiteY44" fmla="*/ 3087584 h 3087584"/>
                <a:gd name="connsiteX45" fmla="*/ 0 w 9155876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677398 w 9155876"/>
                <a:gd name="connsiteY34" fmla="*/ 789709 h 3087584"/>
                <a:gd name="connsiteX35" fmla="*/ 7873341 w 9155876"/>
                <a:gd name="connsiteY35" fmla="*/ 765958 h 3087584"/>
                <a:gd name="connsiteX36" fmla="*/ 8075221 w 9155876"/>
                <a:gd name="connsiteY36" fmla="*/ 736270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8942120 w 9155876"/>
                <a:gd name="connsiteY41" fmla="*/ 540327 h 3087584"/>
                <a:gd name="connsiteX42" fmla="*/ 9149938 w 9155876"/>
                <a:gd name="connsiteY42" fmla="*/ 475013 h 3087584"/>
                <a:gd name="connsiteX43" fmla="*/ 9149938 w 9155876"/>
                <a:gd name="connsiteY43" fmla="*/ 3087584 h 3087584"/>
                <a:gd name="connsiteX44" fmla="*/ 0 w 9155876"/>
                <a:gd name="connsiteY44" fmla="*/ 3087584 h 3087584"/>
                <a:gd name="connsiteX45" fmla="*/ 0 w 9155876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873341 w 9155876"/>
                <a:gd name="connsiteY35" fmla="*/ 765958 h 3087584"/>
                <a:gd name="connsiteX36" fmla="*/ 8075221 w 9155876"/>
                <a:gd name="connsiteY36" fmla="*/ 736270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8942120 w 9155876"/>
                <a:gd name="connsiteY41" fmla="*/ 540327 h 3087584"/>
                <a:gd name="connsiteX42" fmla="*/ 9149938 w 9155876"/>
                <a:gd name="connsiteY42" fmla="*/ 475013 h 3087584"/>
                <a:gd name="connsiteX43" fmla="*/ 9149938 w 9155876"/>
                <a:gd name="connsiteY43" fmla="*/ 3087584 h 3087584"/>
                <a:gd name="connsiteX44" fmla="*/ 0 w 9155876"/>
                <a:gd name="connsiteY44" fmla="*/ 3087584 h 3087584"/>
                <a:gd name="connsiteX45" fmla="*/ 0 w 9155876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8075221 w 9155876"/>
                <a:gd name="connsiteY36" fmla="*/ 736270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8942120 w 9155876"/>
                <a:gd name="connsiteY41" fmla="*/ 540327 h 3087584"/>
                <a:gd name="connsiteX42" fmla="*/ 9149938 w 9155876"/>
                <a:gd name="connsiteY42" fmla="*/ 475013 h 3087584"/>
                <a:gd name="connsiteX43" fmla="*/ 9149938 w 9155876"/>
                <a:gd name="connsiteY43" fmla="*/ 3087584 h 3087584"/>
                <a:gd name="connsiteX44" fmla="*/ 0 w 9155876"/>
                <a:gd name="connsiteY44" fmla="*/ 3087584 h 3087584"/>
                <a:gd name="connsiteX45" fmla="*/ 0 w 9155876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8122722 w 9155876"/>
                <a:gd name="connsiteY36" fmla="*/ 831272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8942120 w 9155876"/>
                <a:gd name="connsiteY41" fmla="*/ 540327 h 3087584"/>
                <a:gd name="connsiteX42" fmla="*/ 9149938 w 9155876"/>
                <a:gd name="connsiteY42" fmla="*/ 475013 h 3087584"/>
                <a:gd name="connsiteX43" fmla="*/ 9149938 w 9155876"/>
                <a:gd name="connsiteY43" fmla="*/ 3087584 h 3087584"/>
                <a:gd name="connsiteX44" fmla="*/ 0 w 9155876"/>
                <a:gd name="connsiteY44" fmla="*/ 3087584 h 3087584"/>
                <a:gd name="connsiteX45" fmla="*/ 0 w 9155876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8122722 w 9155876"/>
                <a:gd name="connsiteY36" fmla="*/ 831272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8942120 w 9155876"/>
                <a:gd name="connsiteY41" fmla="*/ 540327 h 3087584"/>
                <a:gd name="connsiteX42" fmla="*/ 9138063 w 9155876"/>
                <a:gd name="connsiteY42" fmla="*/ 825335 h 3087584"/>
                <a:gd name="connsiteX43" fmla="*/ 9149938 w 9155876"/>
                <a:gd name="connsiteY43" fmla="*/ 3087584 h 3087584"/>
                <a:gd name="connsiteX44" fmla="*/ 0 w 9155876"/>
                <a:gd name="connsiteY44" fmla="*/ 3087584 h 3087584"/>
                <a:gd name="connsiteX45" fmla="*/ 0 w 9155876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8122722 w 9155876"/>
                <a:gd name="connsiteY36" fmla="*/ 831272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8953996 w 9155876"/>
                <a:gd name="connsiteY41" fmla="*/ 825335 h 3087584"/>
                <a:gd name="connsiteX42" fmla="*/ 9138063 w 9155876"/>
                <a:gd name="connsiteY42" fmla="*/ 825335 h 3087584"/>
                <a:gd name="connsiteX43" fmla="*/ 9149938 w 9155876"/>
                <a:gd name="connsiteY43" fmla="*/ 3087584 h 3087584"/>
                <a:gd name="connsiteX44" fmla="*/ 0 w 9155876"/>
                <a:gd name="connsiteY44" fmla="*/ 3087584 h 3087584"/>
                <a:gd name="connsiteX45" fmla="*/ 0 w 9155876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8122722 w 9155876"/>
                <a:gd name="connsiteY36" fmla="*/ 831272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9138063 w 9155876"/>
                <a:gd name="connsiteY41" fmla="*/ 825335 h 3087584"/>
                <a:gd name="connsiteX42" fmla="*/ 9149938 w 9155876"/>
                <a:gd name="connsiteY42" fmla="*/ 3087584 h 3087584"/>
                <a:gd name="connsiteX43" fmla="*/ 0 w 9155876"/>
                <a:gd name="connsiteY43" fmla="*/ 3087584 h 3087584"/>
                <a:gd name="connsiteX44" fmla="*/ 0 w 9155876"/>
                <a:gd name="connsiteY44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8122722 w 9155876"/>
                <a:gd name="connsiteY36" fmla="*/ 831272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9138063 w 9155876"/>
                <a:gd name="connsiteY40" fmla="*/ 825335 h 3087584"/>
                <a:gd name="connsiteX41" fmla="*/ 9149938 w 9155876"/>
                <a:gd name="connsiteY41" fmla="*/ 3087584 h 3087584"/>
                <a:gd name="connsiteX42" fmla="*/ 0 w 9155876"/>
                <a:gd name="connsiteY42" fmla="*/ 3087584 h 3087584"/>
                <a:gd name="connsiteX43" fmla="*/ 0 w 9155876"/>
                <a:gd name="connsiteY43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8122722 w 9155876"/>
                <a:gd name="connsiteY36" fmla="*/ 831272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9138063 w 9155876"/>
                <a:gd name="connsiteY39" fmla="*/ 825335 h 3087584"/>
                <a:gd name="connsiteX40" fmla="*/ 9149938 w 9155876"/>
                <a:gd name="connsiteY40" fmla="*/ 3087584 h 3087584"/>
                <a:gd name="connsiteX41" fmla="*/ 0 w 9155876"/>
                <a:gd name="connsiteY41" fmla="*/ 3087584 h 3087584"/>
                <a:gd name="connsiteX42" fmla="*/ 0 w 9155876"/>
                <a:gd name="connsiteY42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8122722 w 9155876"/>
                <a:gd name="connsiteY36" fmla="*/ 831272 h 3087584"/>
                <a:gd name="connsiteX37" fmla="*/ 8265226 w 9155876"/>
                <a:gd name="connsiteY37" fmla="*/ 700644 h 3087584"/>
                <a:gd name="connsiteX38" fmla="*/ 9138063 w 9155876"/>
                <a:gd name="connsiteY38" fmla="*/ 825335 h 3087584"/>
                <a:gd name="connsiteX39" fmla="*/ 9149938 w 9155876"/>
                <a:gd name="connsiteY39" fmla="*/ 3087584 h 3087584"/>
                <a:gd name="connsiteX40" fmla="*/ 0 w 9155876"/>
                <a:gd name="connsiteY40" fmla="*/ 3087584 h 3087584"/>
                <a:gd name="connsiteX41" fmla="*/ 0 w 9155876"/>
                <a:gd name="connsiteY41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8122722 w 9155876"/>
                <a:gd name="connsiteY36" fmla="*/ 831272 h 3087584"/>
                <a:gd name="connsiteX37" fmla="*/ 9138063 w 9155876"/>
                <a:gd name="connsiteY37" fmla="*/ 825335 h 3087584"/>
                <a:gd name="connsiteX38" fmla="*/ 9149938 w 9155876"/>
                <a:gd name="connsiteY38" fmla="*/ 3087584 h 3087584"/>
                <a:gd name="connsiteX39" fmla="*/ 0 w 9155876"/>
                <a:gd name="connsiteY39" fmla="*/ 3087584 h 3087584"/>
                <a:gd name="connsiteX40" fmla="*/ 0 w 9155876"/>
                <a:gd name="connsiteY40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9138063 w 9155876"/>
                <a:gd name="connsiteY36" fmla="*/ 825335 h 3087584"/>
                <a:gd name="connsiteX37" fmla="*/ 9149938 w 9155876"/>
                <a:gd name="connsiteY37" fmla="*/ 3087584 h 3087584"/>
                <a:gd name="connsiteX38" fmla="*/ 0 w 9155876"/>
                <a:gd name="connsiteY38" fmla="*/ 3087584 h 3087584"/>
                <a:gd name="connsiteX39" fmla="*/ 0 w 9155876"/>
                <a:gd name="connsiteY39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9138063 w 9155876"/>
                <a:gd name="connsiteY35" fmla="*/ 825335 h 3087584"/>
                <a:gd name="connsiteX36" fmla="*/ 9149938 w 9155876"/>
                <a:gd name="connsiteY36" fmla="*/ 3087584 h 3087584"/>
                <a:gd name="connsiteX37" fmla="*/ 0 w 9155876"/>
                <a:gd name="connsiteY37" fmla="*/ 3087584 h 3087584"/>
                <a:gd name="connsiteX38" fmla="*/ 0 w 9155876"/>
                <a:gd name="connsiteY38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9138063 w 9155876"/>
                <a:gd name="connsiteY34" fmla="*/ 825335 h 3087584"/>
                <a:gd name="connsiteX35" fmla="*/ 9149938 w 9155876"/>
                <a:gd name="connsiteY35" fmla="*/ 3087584 h 3087584"/>
                <a:gd name="connsiteX36" fmla="*/ 0 w 9155876"/>
                <a:gd name="connsiteY36" fmla="*/ 3087584 h 3087584"/>
                <a:gd name="connsiteX37" fmla="*/ 0 w 9155876"/>
                <a:gd name="connsiteY37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9138063 w 9155876"/>
                <a:gd name="connsiteY33" fmla="*/ 825335 h 3087584"/>
                <a:gd name="connsiteX34" fmla="*/ 9149938 w 9155876"/>
                <a:gd name="connsiteY34" fmla="*/ 3087584 h 3087584"/>
                <a:gd name="connsiteX35" fmla="*/ 0 w 9155876"/>
                <a:gd name="connsiteY35" fmla="*/ 3087584 h 3087584"/>
                <a:gd name="connsiteX36" fmla="*/ 0 w 9155876"/>
                <a:gd name="connsiteY36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9138063 w 9155876"/>
                <a:gd name="connsiteY32" fmla="*/ 825335 h 3087584"/>
                <a:gd name="connsiteX33" fmla="*/ 9149938 w 9155876"/>
                <a:gd name="connsiteY33" fmla="*/ 3087584 h 3087584"/>
                <a:gd name="connsiteX34" fmla="*/ 0 w 9155876"/>
                <a:gd name="connsiteY34" fmla="*/ 3087584 h 3087584"/>
                <a:gd name="connsiteX35" fmla="*/ 0 w 9155876"/>
                <a:gd name="connsiteY3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7166759 w 9155876"/>
                <a:gd name="connsiteY30" fmla="*/ 837211 h 3087584"/>
                <a:gd name="connsiteX31" fmla="*/ 9138063 w 9155876"/>
                <a:gd name="connsiteY31" fmla="*/ 825335 h 3087584"/>
                <a:gd name="connsiteX32" fmla="*/ 9149938 w 9155876"/>
                <a:gd name="connsiteY32" fmla="*/ 3087584 h 3087584"/>
                <a:gd name="connsiteX33" fmla="*/ 0 w 9155876"/>
                <a:gd name="connsiteY33" fmla="*/ 3087584 h 3087584"/>
                <a:gd name="connsiteX34" fmla="*/ 0 w 9155876"/>
                <a:gd name="connsiteY34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9138063 w 9155876"/>
                <a:gd name="connsiteY30" fmla="*/ 825335 h 3087584"/>
                <a:gd name="connsiteX31" fmla="*/ 9149938 w 9155876"/>
                <a:gd name="connsiteY31" fmla="*/ 3087584 h 3087584"/>
                <a:gd name="connsiteX32" fmla="*/ 0 w 9155876"/>
                <a:gd name="connsiteY32" fmla="*/ 3087584 h 3087584"/>
                <a:gd name="connsiteX33" fmla="*/ 0 w 9155876"/>
                <a:gd name="connsiteY33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741720 w 9155876"/>
                <a:gd name="connsiteY23" fmla="*/ 801584 h 3087584"/>
                <a:gd name="connsiteX24" fmla="*/ 5973289 w 9155876"/>
                <a:gd name="connsiteY24" fmla="*/ 819397 h 3087584"/>
                <a:gd name="connsiteX25" fmla="*/ 6163294 w 9155876"/>
                <a:gd name="connsiteY25" fmla="*/ 831273 h 3087584"/>
                <a:gd name="connsiteX26" fmla="*/ 6353299 w 9155876"/>
                <a:gd name="connsiteY26" fmla="*/ 837210 h 3087584"/>
                <a:gd name="connsiteX27" fmla="*/ 6513616 w 9155876"/>
                <a:gd name="connsiteY27" fmla="*/ 837210 h 3087584"/>
                <a:gd name="connsiteX28" fmla="*/ 9155876 w 9155876"/>
                <a:gd name="connsiteY28" fmla="*/ 843147 h 3087584"/>
                <a:gd name="connsiteX29" fmla="*/ 9138063 w 9155876"/>
                <a:gd name="connsiteY29" fmla="*/ 825335 h 3087584"/>
                <a:gd name="connsiteX30" fmla="*/ 9149938 w 9155876"/>
                <a:gd name="connsiteY30" fmla="*/ 3087584 h 3087584"/>
                <a:gd name="connsiteX31" fmla="*/ 0 w 9155876"/>
                <a:gd name="connsiteY31" fmla="*/ 3087584 h 3087584"/>
                <a:gd name="connsiteX32" fmla="*/ 0 w 9155876"/>
                <a:gd name="connsiteY32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741720 w 9155876"/>
                <a:gd name="connsiteY23" fmla="*/ 801584 h 3087584"/>
                <a:gd name="connsiteX24" fmla="*/ 5973289 w 9155876"/>
                <a:gd name="connsiteY24" fmla="*/ 819397 h 3087584"/>
                <a:gd name="connsiteX25" fmla="*/ 6353299 w 9155876"/>
                <a:gd name="connsiteY25" fmla="*/ 837210 h 3087584"/>
                <a:gd name="connsiteX26" fmla="*/ 6513616 w 9155876"/>
                <a:gd name="connsiteY26" fmla="*/ 837210 h 3087584"/>
                <a:gd name="connsiteX27" fmla="*/ 9155876 w 9155876"/>
                <a:gd name="connsiteY27" fmla="*/ 843147 h 3087584"/>
                <a:gd name="connsiteX28" fmla="*/ 9138063 w 9155876"/>
                <a:gd name="connsiteY28" fmla="*/ 825335 h 3087584"/>
                <a:gd name="connsiteX29" fmla="*/ 9149938 w 9155876"/>
                <a:gd name="connsiteY29" fmla="*/ 3087584 h 3087584"/>
                <a:gd name="connsiteX30" fmla="*/ 0 w 9155876"/>
                <a:gd name="connsiteY30" fmla="*/ 3087584 h 3087584"/>
                <a:gd name="connsiteX31" fmla="*/ 0 w 9155876"/>
                <a:gd name="connsiteY31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107870 w 9155876"/>
                <a:gd name="connsiteY8" fmla="*/ 237506 h 3087584"/>
                <a:gd name="connsiteX9" fmla="*/ 2327564 w 9155876"/>
                <a:gd name="connsiteY9" fmla="*/ 267195 h 3087584"/>
                <a:gd name="connsiteX10" fmla="*/ 2559133 w 9155876"/>
                <a:gd name="connsiteY10" fmla="*/ 308758 h 3087584"/>
                <a:gd name="connsiteX11" fmla="*/ 2838203 w 9155876"/>
                <a:gd name="connsiteY11" fmla="*/ 356260 h 3087584"/>
                <a:gd name="connsiteX12" fmla="*/ 3063834 w 9155876"/>
                <a:gd name="connsiteY12" fmla="*/ 397823 h 3087584"/>
                <a:gd name="connsiteX13" fmla="*/ 3331029 w 9155876"/>
                <a:gd name="connsiteY13" fmla="*/ 445325 h 3087584"/>
                <a:gd name="connsiteX14" fmla="*/ 3550722 w 9155876"/>
                <a:gd name="connsiteY14" fmla="*/ 480950 h 3087584"/>
                <a:gd name="connsiteX15" fmla="*/ 3758541 w 9155876"/>
                <a:gd name="connsiteY15" fmla="*/ 522514 h 3087584"/>
                <a:gd name="connsiteX16" fmla="*/ 4091050 w 9155876"/>
                <a:gd name="connsiteY16" fmla="*/ 587828 h 3087584"/>
                <a:gd name="connsiteX17" fmla="*/ 4352307 w 9155876"/>
                <a:gd name="connsiteY17" fmla="*/ 629392 h 3087584"/>
                <a:gd name="connsiteX18" fmla="*/ 4566063 w 9155876"/>
                <a:gd name="connsiteY18" fmla="*/ 659080 h 3087584"/>
                <a:gd name="connsiteX19" fmla="*/ 4839195 w 9155876"/>
                <a:gd name="connsiteY19" fmla="*/ 700644 h 3087584"/>
                <a:gd name="connsiteX20" fmla="*/ 5088577 w 9155876"/>
                <a:gd name="connsiteY20" fmla="*/ 730332 h 3087584"/>
                <a:gd name="connsiteX21" fmla="*/ 5343896 w 9155876"/>
                <a:gd name="connsiteY21" fmla="*/ 760021 h 3087584"/>
                <a:gd name="connsiteX22" fmla="*/ 5741720 w 9155876"/>
                <a:gd name="connsiteY22" fmla="*/ 801584 h 3087584"/>
                <a:gd name="connsiteX23" fmla="*/ 5973289 w 9155876"/>
                <a:gd name="connsiteY23" fmla="*/ 819397 h 3087584"/>
                <a:gd name="connsiteX24" fmla="*/ 6353299 w 9155876"/>
                <a:gd name="connsiteY24" fmla="*/ 837210 h 3087584"/>
                <a:gd name="connsiteX25" fmla="*/ 6513616 w 9155876"/>
                <a:gd name="connsiteY25" fmla="*/ 837210 h 3087584"/>
                <a:gd name="connsiteX26" fmla="*/ 9155876 w 9155876"/>
                <a:gd name="connsiteY26" fmla="*/ 843147 h 3087584"/>
                <a:gd name="connsiteX27" fmla="*/ 9138063 w 9155876"/>
                <a:gd name="connsiteY27" fmla="*/ 825335 h 3087584"/>
                <a:gd name="connsiteX28" fmla="*/ 9149938 w 9155876"/>
                <a:gd name="connsiteY28" fmla="*/ 3087584 h 3087584"/>
                <a:gd name="connsiteX29" fmla="*/ 0 w 9155876"/>
                <a:gd name="connsiteY29" fmla="*/ 3087584 h 3087584"/>
                <a:gd name="connsiteX30" fmla="*/ 0 w 9155876"/>
                <a:gd name="connsiteY30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559133 w 9155876"/>
                <a:gd name="connsiteY9" fmla="*/ 308758 h 3087584"/>
                <a:gd name="connsiteX10" fmla="*/ 2838203 w 9155876"/>
                <a:gd name="connsiteY10" fmla="*/ 356260 h 3087584"/>
                <a:gd name="connsiteX11" fmla="*/ 3063834 w 9155876"/>
                <a:gd name="connsiteY11" fmla="*/ 397823 h 3087584"/>
                <a:gd name="connsiteX12" fmla="*/ 3331029 w 9155876"/>
                <a:gd name="connsiteY12" fmla="*/ 445325 h 3087584"/>
                <a:gd name="connsiteX13" fmla="*/ 3550722 w 9155876"/>
                <a:gd name="connsiteY13" fmla="*/ 480950 h 3087584"/>
                <a:gd name="connsiteX14" fmla="*/ 3758541 w 9155876"/>
                <a:gd name="connsiteY14" fmla="*/ 522514 h 3087584"/>
                <a:gd name="connsiteX15" fmla="*/ 4091050 w 9155876"/>
                <a:gd name="connsiteY15" fmla="*/ 587828 h 3087584"/>
                <a:gd name="connsiteX16" fmla="*/ 4352307 w 9155876"/>
                <a:gd name="connsiteY16" fmla="*/ 629392 h 3087584"/>
                <a:gd name="connsiteX17" fmla="*/ 4566063 w 9155876"/>
                <a:gd name="connsiteY17" fmla="*/ 659080 h 3087584"/>
                <a:gd name="connsiteX18" fmla="*/ 4839195 w 9155876"/>
                <a:gd name="connsiteY18" fmla="*/ 700644 h 3087584"/>
                <a:gd name="connsiteX19" fmla="*/ 5088577 w 9155876"/>
                <a:gd name="connsiteY19" fmla="*/ 730332 h 3087584"/>
                <a:gd name="connsiteX20" fmla="*/ 5343896 w 9155876"/>
                <a:gd name="connsiteY20" fmla="*/ 760021 h 3087584"/>
                <a:gd name="connsiteX21" fmla="*/ 5741720 w 9155876"/>
                <a:gd name="connsiteY21" fmla="*/ 801584 h 3087584"/>
                <a:gd name="connsiteX22" fmla="*/ 5973289 w 9155876"/>
                <a:gd name="connsiteY22" fmla="*/ 819397 h 3087584"/>
                <a:gd name="connsiteX23" fmla="*/ 6353299 w 9155876"/>
                <a:gd name="connsiteY23" fmla="*/ 837210 h 3087584"/>
                <a:gd name="connsiteX24" fmla="*/ 6513616 w 9155876"/>
                <a:gd name="connsiteY24" fmla="*/ 837210 h 3087584"/>
                <a:gd name="connsiteX25" fmla="*/ 9155876 w 9155876"/>
                <a:gd name="connsiteY25" fmla="*/ 843147 h 3087584"/>
                <a:gd name="connsiteX26" fmla="*/ 9138063 w 9155876"/>
                <a:gd name="connsiteY26" fmla="*/ 825335 h 3087584"/>
                <a:gd name="connsiteX27" fmla="*/ 9149938 w 9155876"/>
                <a:gd name="connsiteY27" fmla="*/ 3087584 h 3087584"/>
                <a:gd name="connsiteX28" fmla="*/ 0 w 9155876"/>
                <a:gd name="connsiteY28" fmla="*/ 3087584 h 3087584"/>
                <a:gd name="connsiteX29" fmla="*/ 0 w 9155876"/>
                <a:gd name="connsiteY29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838203 w 9155876"/>
                <a:gd name="connsiteY9" fmla="*/ 356260 h 3087584"/>
                <a:gd name="connsiteX10" fmla="*/ 3063834 w 9155876"/>
                <a:gd name="connsiteY10" fmla="*/ 397823 h 3087584"/>
                <a:gd name="connsiteX11" fmla="*/ 3331029 w 9155876"/>
                <a:gd name="connsiteY11" fmla="*/ 445325 h 3087584"/>
                <a:gd name="connsiteX12" fmla="*/ 3550722 w 9155876"/>
                <a:gd name="connsiteY12" fmla="*/ 480950 h 3087584"/>
                <a:gd name="connsiteX13" fmla="*/ 3758541 w 9155876"/>
                <a:gd name="connsiteY13" fmla="*/ 522514 h 3087584"/>
                <a:gd name="connsiteX14" fmla="*/ 4091050 w 9155876"/>
                <a:gd name="connsiteY14" fmla="*/ 587828 h 3087584"/>
                <a:gd name="connsiteX15" fmla="*/ 4352307 w 9155876"/>
                <a:gd name="connsiteY15" fmla="*/ 629392 h 3087584"/>
                <a:gd name="connsiteX16" fmla="*/ 4566063 w 9155876"/>
                <a:gd name="connsiteY16" fmla="*/ 659080 h 3087584"/>
                <a:gd name="connsiteX17" fmla="*/ 4839195 w 9155876"/>
                <a:gd name="connsiteY17" fmla="*/ 700644 h 3087584"/>
                <a:gd name="connsiteX18" fmla="*/ 5088577 w 9155876"/>
                <a:gd name="connsiteY18" fmla="*/ 730332 h 3087584"/>
                <a:gd name="connsiteX19" fmla="*/ 5343896 w 9155876"/>
                <a:gd name="connsiteY19" fmla="*/ 760021 h 3087584"/>
                <a:gd name="connsiteX20" fmla="*/ 5741720 w 9155876"/>
                <a:gd name="connsiteY20" fmla="*/ 801584 h 3087584"/>
                <a:gd name="connsiteX21" fmla="*/ 5973289 w 9155876"/>
                <a:gd name="connsiteY21" fmla="*/ 819397 h 3087584"/>
                <a:gd name="connsiteX22" fmla="*/ 6353299 w 9155876"/>
                <a:gd name="connsiteY22" fmla="*/ 837210 h 3087584"/>
                <a:gd name="connsiteX23" fmla="*/ 6513616 w 9155876"/>
                <a:gd name="connsiteY23" fmla="*/ 837210 h 3087584"/>
                <a:gd name="connsiteX24" fmla="*/ 9155876 w 9155876"/>
                <a:gd name="connsiteY24" fmla="*/ 843147 h 3087584"/>
                <a:gd name="connsiteX25" fmla="*/ 9138063 w 9155876"/>
                <a:gd name="connsiteY25" fmla="*/ 825335 h 3087584"/>
                <a:gd name="connsiteX26" fmla="*/ 9149938 w 9155876"/>
                <a:gd name="connsiteY26" fmla="*/ 3087584 h 3087584"/>
                <a:gd name="connsiteX27" fmla="*/ 0 w 9155876"/>
                <a:gd name="connsiteY27" fmla="*/ 3087584 h 3087584"/>
                <a:gd name="connsiteX28" fmla="*/ 0 w 9155876"/>
                <a:gd name="connsiteY28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838203 w 9155876"/>
                <a:gd name="connsiteY9" fmla="*/ 356260 h 3087584"/>
                <a:gd name="connsiteX10" fmla="*/ 3063834 w 9155876"/>
                <a:gd name="connsiteY10" fmla="*/ 397823 h 3087584"/>
                <a:gd name="connsiteX11" fmla="*/ 3331029 w 9155876"/>
                <a:gd name="connsiteY11" fmla="*/ 445325 h 3087584"/>
                <a:gd name="connsiteX12" fmla="*/ 3758541 w 9155876"/>
                <a:gd name="connsiteY12" fmla="*/ 522514 h 3087584"/>
                <a:gd name="connsiteX13" fmla="*/ 4091050 w 9155876"/>
                <a:gd name="connsiteY13" fmla="*/ 587828 h 3087584"/>
                <a:gd name="connsiteX14" fmla="*/ 4352307 w 9155876"/>
                <a:gd name="connsiteY14" fmla="*/ 629392 h 3087584"/>
                <a:gd name="connsiteX15" fmla="*/ 4566063 w 9155876"/>
                <a:gd name="connsiteY15" fmla="*/ 659080 h 3087584"/>
                <a:gd name="connsiteX16" fmla="*/ 4839195 w 9155876"/>
                <a:gd name="connsiteY16" fmla="*/ 700644 h 3087584"/>
                <a:gd name="connsiteX17" fmla="*/ 5088577 w 9155876"/>
                <a:gd name="connsiteY17" fmla="*/ 730332 h 3087584"/>
                <a:gd name="connsiteX18" fmla="*/ 5343896 w 9155876"/>
                <a:gd name="connsiteY18" fmla="*/ 760021 h 3087584"/>
                <a:gd name="connsiteX19" fmla="*/ 5741720 w 9155876"/>
                <a:gd name="connsiteY19" fmla="*/ 801584 h 3087584"/>
                <a:gd name="connsiteX20" fmla="*/ 5973289 w 9155876"/>
                <a:gd name="connsiteY20" fmla="*/ 819397 h 3087584"/>
                <a:gd name="connsiteX21" fmla="*/ 6353299 w 9155876"/>
                <a:gd name="connsiteY21" fmla="*/ 837210 h 3087584"/>
                <a:gd name="connsiteX22" fmla="*/ 6513616 w 9155876"/>
                <a:gd name="connsiteY22" fmla="*/ 837210 h 3087584"/>
                <a:gd name="connsiteX23" fmla="*/ 9155876 w 9155876"/>
                <a:gd name="connsiteY23" fmla="*/ 843147 h 3087584"/>
                <a:gd name="connsiteX24" fmla="*/ 9138063 w 9155876"/>
                <a:gd name="connsiteY24" fmla="*/ 825335 h 3087584"/>
                <a:gd name="connsiteX25" fmla="*/ 9149938 w 9155876"/>
                <a:gd name="connsiteY25" fmla="*/ 3087584 h 3087584"/>
                <a:gd name="connsiteX26" fmla="*/ 0 w 9155876"/>
                <a:gd name="connsiteY26" fmla="*/ 3087584 h 3087584"/>
                <a:gd name="connsiteX27" fmla="*/ 0 w 9155876"/>
                <a:gd name="connsiteY27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838203 w 9155876"/>
                <a:gd name="connsiteY9" fmla="*/ 356260 h 3087584"/>
                <a:gd name="connsiteX10" fmla="*/ 3063834 w 9155876"/>
                <a:gd name="connsiteY10" fmla="*/ 397823 h 3087584"/>
                <a:gd name="connsiteX11" fmla="*/ 3331029 w 9155876"/>
                <a:gd name="connsiteY11" fmla="*/ 445325 h 3087584"/>
                <a:gd name="connsiteX12" fmla="*/ 3758541 w 9155876"/>
                <a:gd name="connsiteY12" fmla="*/ 522514 h 3087584"/>
                <a:gd name="connsiteX13" fmla="*/ 4091050 w 9155876"/>
                <a:gd name="connsiteY13" fmla="*/ 587828 h 3087584"/>
                <a:gd name="connsiteX14" fmla="*/ 4352307 w 9155876"/>
                <a:gd name="connsiteY14" fmla="*/ 629392 h 3087584"/>
                <a:gd name="connsiteX15" fmla="*/ 4566063 w 9155876"/>
                <a:gd name="connsiteY15" fmla="*/ 659080 h 3087584"/>
                <a:gd name="connsiteX16" fmla="*/ 4839195 w 9155876"/>
                <a:gd name="connsiteY16" fmla="*/ 700644 h 3087584"/>
                <a:gd name="connsiteX17" fmla="*/ 5088577 w 9155876"/>
                <a:gd name="connsiteY17" fmla="*/ 730332 h 3087584"/>
                <a:gd name="connsiteX18" fmla="*/ 5343896 w 9155876"/>
                <a:gd name="connsiteY18" fmla="*/ 760021 h 3087584"/>
                <a:gd name="connsiteX19" fmla="*/ 5741720 w 9155876"/>
                <a:gd name="connsiteY19" fmla="*/ 801584 h 3087584"/>
                <a:gd name="connsiteX20" fmla="*/ 5973289 w 9155876"/>
                <a:gd name="connsiteY20" fmla="*/ 819397 h 3087584"/>
                <a:gd name="connsiteX21" fmla="*/ 6353299 w 9155876"/>
                <a:gd name="connsiteY21" fmla="*/ 837210 h 3087584"/>
                <a:gd name="connsiteX22" fmla="*/ 6513616 w 9155876"/>
                <a:gd name="connsiteY22" fmla="*/ 837210 h 3087584"/>
                <a:gd name="connsiteX23" fmla="*/ 9155876 w 9155876"/>
                <a:gd name="connsiteY23" fmla="*/ 843147 h 3087584"/>
                <a:gd name="connsiteX24" fmla="*/ 9138063 w 9155876"/>
                <a:gd name="connsiteY24" fmla="*/ 825335 h 3087584"/>
                <a:gd name="connsiteX25" fmla="*/ 9149938 w 9155876"/>
                <a:gd name="connsiteY25" fmla="*/ 3087584 h 3087584"/>
                <a:gd name="connsiteX26" fmla="*/ 0 w 9155876"/>
                <a:gd name="connsiteY26" fmla="*/ 3087584 h 3087584"/>
                <a:gd name="connsiteX27" fmla="*/ 0 w 9155876"/>
                <a:gd name="connsiteY27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838203 w 9155876"/>
                <a:gd name="connsiteY9" fmla="*/ 356260 h 3087584"/>
                <a:gd name="connsiteX10" fmla="*/ 3063834 w 9155876"/>
                <a:gd name="connsiteY10" fmla="*/ 397823 h 3087584"/>
                <a:gd name="connsiteX11" fmla="*/ 3331029 w 9155876"/>
                <a:gd name="connsiteY11" fmla="*/ 445325 h 3087584"/>
                <a:gd name="connsiteX12" fmla="*/ 3758541 w 9155876"/>
                <a:gd name="connsiteY12" fmla="*/ 522514 h 3087584"/>
                <a:gd name="connsiteX13" fmla="*/ 4091050 w 9155876"/>
                <a:gd name="connsiteY13" fmla="*/ 587828 h 3087584"/>
                <a:gd name="connsiteX14" fmla="*/ 4352307 w 9155876"/>
                <a:gd name="connsiteY14" fmla="*/ 629392 h 3087584"/>
                <a:gd name="connsiteX15" fmla="*/ 4566063 w 9155876"/>
                <a:gd name="connsiteY15" fmla="*/ 659080 h 3087584"/>
                <a:gd name="connsiteX16" fmla="*/ 4839195 w 9155876"/>
                <a:gd name="connsiteY16" fmla="*/ 700644 h 3087584"/>
                <a:gd name="connsiteX17" fmla="*/ 5088577 w 9155876"/>
                <a:gd name="connsiteY17" fmla="*/ 730332 h 3087584"/>
                <a:gd name="connsiteX18" fmla="*/ 5343896 w 9155876"/>
                <a:gd name="connsiteY18" fmla="*/ 760021 h 3087584"/>
                <a:gd name="connsiteX19" fmla="*/ 5741720 w 9155876"/>
                <a:gd name="connsiteY19" fmla="*/ 801584 h 3087584"/>
                <a:gd name="connsiteX20" fmla="*/ 5973289 w 9155876"/>
                <a:gd name="connsiteY20" fmla="*/ 819397 h 3087584"/>
                <a:gd name="connsiteX21" fmla="*/ 6353299 w 9155876"/>
                <a:gd name="connsiteY21" fmla="*/ 837210 h 3087584"/>
                <a:gd name="connsiteX22" fmla="*/ 6513616 w 9155876"/>
                <a:gd name="connsiteY22" fmla="*/ 837210 h 3087584"/>
                <a:gd name="connsiteX23" fmla="*/ 9155876 w 9155876"/>
                <a:gd name="connsiteY23" fmla="*/ 843147 h 3087584"/>
                <a:gd name="connsiteX24" fmla="*/ 9138063 w 9155876"/>
                <a:gd name="connsiteY24" fmla="*/ 825335 h 3087584"/>
                <a:gd name="connsiteX25" fmla="*/ 9149938 w 9155876"/>
                <a:gd name="connsiteY25" fmla="*/ 3087584 h 3087584"/>
                <a:gd name="connsiteX26" fmla="*/ 0 w 9155876"/>
                <a:gd name="connsiteY26" fmla="*/ 3087584 h 3087584"/>
                <a:gd name="connsiteX27" fmla="*/ 0 w 9155876"/>
                <a:gd name="connsiteY27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838203 w 9155876"/>
                <a:gd name="connsiteY9" fmla="*/ 356260 h 3087584"/>
                <a:gd name="connsiteX10" fmla="*/ 3063834 w 9155876"/>
                <a:gd name="connsiteY10" fmla="*/ 397823 h 3087584"/>
                <a:gd name="connsiteX11" fmla="*/ 3331029 w 9155876"/>
                <a:gd name="connsiteY11" fmla="*/ 445325 h 3087584"/>
                <a:gd name="connsiteX12" fmla="*/ 3758541 w 9155876"/>
                <a:gd name="connsiteY12" fmla="*/ 522514 h 3087584"/>
                <a:gd name="connsiteX13" fmla="*/ 4091050 w 9155876"/>
                <a:gd name="connsiteY13" fmla="*/ 587828 h 3087584"/>
                <a:gd name="connsiteX14" fmla="*/ 4352307 w 9155876"/>
                <a:gd name="connsiteY14" fmla="*/ 629392 h 3087584"/>
                <a:gd name="connsiteX15" fmla="*/ 4566063 w 9155876"/>
                <a:gd name="connsiteY15" fmla="*/ 659080 h 3087584"/>
                <a:gd name="connsiteX16" fmla="*/ 4839195 w 9155876"/>
                <a:gd name="connsiteY16" fmla="*/ 700644 h 3087584"/>
                <a:gd name="connsiteX17" fmla="*/ 5088577 w 9155876"/>
                <a:gd name="connsiteY17" fmla="*/ 730332 h 3087584"/>
                <a:gd name="connsiteX18" fmla="*/ 5343896 w 9155876"/>
                <a:gd name="connsiteY18" fmla="*/ 760021 h 3087584"/>
                <a:gd name="connsiteX19" fmla="*/ 5741720 w 9155876"/>
                <a:gd name="connsiteY19" fmla="*/ 801584 h 3087584"/>
                <a:gd name="connsiteX20" fmla="*/ 5973289 w 9155876"/>
                <a:gd name="connsiteY20" fmla="*/ 819397 h 3087584"/>
                <a:gd name="connsiteX21" fmla="*/ 6368372 w 9155876"/>
                <a:gd name="connsiteY21" fmla="*/ 847258 h 3087584"/>
                <a:gd name="connsiteX22" fmla="*/ 6513616 w 9155876"/>
                <a:gd name="connsiteY22" fmla="*/ 837210 h 3087584"/>
                <a:gd name="connsiteX23" fmla="*/ 9155876 w 9155876"/>
                <a:gd name="connsiteY23" fmla="*/ 843147 h 3087584"/>
                <a:gd name="connsiteX24" fmla="*/ 9138063 w 9155876"/>
                <a:gd name="connsiteY24" fmla="*/ 825335 h 3087584"/>
                <a:gd name="connsiteX25" fmla="*/ 9149938 w 9155876"/>
                <a:gd name="connsiteY25" fmla="*/ 3087584 h 3087584"/>
                <a:gd name="connsiteX26" fmla="*/ 0 w 9155876"/>
                <a:gd name="connsiteY26" fmla="*/ 3087584 h 3087584"/>
                <a:gd name="connsiteX27" fmla="*/ 0 w 9155876"/>
                <a:gd name="connsiteY27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838203 w 9155876"/>
                <a:gd name="connsiteY9" fmla="*/ 356260 h 3087584"/>
                <a:gd name="connsiteX10" fmla="*/ 3063834 w 9155876"/>
                <a:gd name="connsiteY10" fmla="*/ 397823 h 3087584"/>
                <a:gd name="connsiteX11" fmla="*/ 3331029 w 9155876"/>
                <a:gd name="connsiteY11" fmla="*/ 445325 h 3087584"/>
                <a:gd name="connsiteX12" fmla="*/ 3758541 w 9155876"/>
                <a:gd name="connsiteY12" fmla="*/ 522514 h 3087584"/>
                <a:gd name="connsiteX13" fmla="*/ 4091050 w 9155876"/>
                <a:gd name="connsiteY13" fmla="*/ 587828 h 3087584"/>
                <a:gd name="connsiteX14" fmla="*/ 4352307 w 9155876"/>
                <a:gd name="connsiteY14" fmla="*/ 629392 h 3087584"/>
                <a:gd name="connsiteX15" fmla="*/ 4566063 w 9155876"/>
                <a:gd name="connsiteY15" fmla="*/ 659080 h 3087584"/>
                <a:gd name="connsiteX16" fmla="*/ 4839195 w 9155876"/>
                <a:gd name="connsiteY16" fmla="*/ 700644 h 3087584"/>
                <a:gd name="connsiteX17" fmla="*/ 5088577 w 9155876"/>
                <a:gd name="connsiteY17" fmla="*/ 730332 h 3087584"/>
                <a:gd name="connsiteX18" fmla="*/ 5343896 w 9155876"/>
                <a:gd name="connsiteY18" fmla="*/ 760021 h 3087584"/>
                <a:gd name="connsiteX19" fmla="*/ 5741720 w 9155876"/>
                <a:gd name="connsiteY19" fmla="*/ 801584 h 3087584"/>
                <a:gd name="connsiteX20" fmla="*/ 5973289 w 9155876"/>
                <a:gd name="connsiteY20" fmla="*/ 819397 h 3087584"/>
                <a:gd name="connsiteX21" fmla="*/ 6368372 w 9155876"/>
                <a:gd name="connsiteY21" fmla="*/ 847258 h 3087584"/>
                <a:gd name="connsiteX22" fmla="*/ 7417967 w 9155876"/>
                <a:gd name="connsiteY22" fmla="*/ 847258 h 3087584"/>
                <a:gd name="connsiteX23" fmla="*/ 9155876 w 9155876"/>
                <a:gd name="connsiteY23" fmla="*/ 843147 h 3087584"/>
                <a:gd name="connsiteX24" fmla="*/ 9138063 w 9155876"/>
                <a:gd name="connsiteY24" fmla="*/ 825335 h 3087584"/>
                <a:gd name="connsiteX25" fmla="*/ 9149938 w 9155876"/>
                <a:gd name="connsiteY25" fmla="*/ 3087584 h 3087584"/>
                <a:gd name="connsiteX26" fmla="*/ 0 w 9155876"/>
                <a:gd name="connsiteY26" fmla="*/ 3087584 h 3087584"/>
                <a:gd name="connsiteX27" fmla="*/ 0 w 9155876"/>
                <a:gd name="connsiteY27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838203 w 9155876"/>
                <a:gd name="connsiteY9" fmla="*/ 356260 h 3087584"/>
                <a:gd name="connsiteX10" fmla="*/ 3063834 w 9155876"/>
                <a:gd name="connsiteY10" fmla="*/ 397823 h 3087584"/>
                <a:gd name="connsiteX11" fmla="*/ 3331029 w 9155876"/>
                <a:gd name="connsiteY11" fmla="*/ 445325 h 3087584"/>
                <a:gd name="connsiteX12" fmla="*/ 3758541 w 9155876"/>
                <a:gd name="connsiteY12" fmla="*/ 522514 h 3087584"/>
                <a:gd name="connsiteX13" fmla="*/ 4091050 w 9155876"/>
                <a:gd name="connsiteY13" fmla="*/ 587828 h 3087584"/>
                <a:gd name="connsiteX14" fmla="*/ 4352307 w 9155876"/>
                <a:gd name="connsiteY14" fmla="*/ 629392 h 3087584"/>
                <a:gd name="connsiteX15" fmla="*/ 4566063 w 9155876"/>
                <a:gd name="connsiteY15" fmla="*/ 659080 h 3087584"/>
                <a:gd name="connsiteX16" fmla="*/ 4839195 w 9155876"/>
                <a:gd name="connsiteY16" fmla="*/ 700644 h 3087584"/>
                <a:gd name="connsiteX17" fmla="*/ 5088577 w 9155876"/>
                <a:gd name="connsiteY17" fmla="*/ 730332 h 3087584"/>
                <a:gd name="connsiteX18" fmla="*/ 5343896 w 9155876"/>
                <a:gd name="connsiteY18" fmla="*/ 760021 h 3087584"/>
                <a:gd name="connsiteX19" fmla="*/ 5741720 w 9155876"/>
                <a:gd name="connsiteY19" fmla="*/ 801584 h 3087584"/>
                <a:gd name="connsiteX20" fmla="*/ 5973289 w 9155876"/>
                <a:gd name="connsiteY20" fmla="*/ 819397 h 3087584"/>
                <a:gd name="connsiteX21" fmla="*/ 6368372 w 9155876"/>
                <a:gd name="connsiteY21" fmla="*/ 847258 h 3087584"/>
                <a:gd name="connsiteX22" fmla="*/ 7417967 w 9155876"/>
                <a:gd name="connsiteY22" fmla="*/ 847258 h 3087584"/>
                <a:gd name="connsiteX23" fmla="*/ 9155876 w 9155876"/>
                <a:gd name="connsiteY23" fmla="*/ 843147 h 3087584"/>
                <a:gd name="connsiteX24" fmla="*/ 9138063 w 9155876"/>
                <a:gd name="connsiteY24" fmla="*/ 825335 h 3087584"/>
                <a:gd name="connsiteX25" fmla="*/ 9149938 w 9155876"/>
                <a:gd name="connsiteY25" fmla="*/ 3087584 h 3087584"/>
                <a:gd name="connsiteX26" fmla="*/ 0 w 9155876"/>
                <a:gd name="connsiteY26" fmla="*/ 3087584 h 3087584"/>
                <a:gd name="connsiteX27" fmla="*/ 0 w 9155876"/>
                <a:gd name="connsiteY27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838203 w 9155876"/>
                <a:gd name="connsiteY9" fmla="*/ 356260 h 3087584"/>
                <a:gd name="connsiteX10" fmla="*/ 3063834 w 9155876"/>
                <a:gd name="connsiteY10" fmla="*/ 397823 h 3087584"/>
                <a:gd name="connsiteX11" fmla="*/ 3331029 w 9155876"/>
                <a:gd name="connsiteY11" fmla="*/ 445325 h 3087584"/>
                <a:gd name="connsiteX12" fmla="*/ 3758541 w 9155876"/>
                <a:gd name="connsiteY12" fmla="*/ 522514 h 3087584"/>
                <a:gd name="connsiteX13" fmla="*/ 4091050 w 9155876"/>
                <a:gd name="connsiteY13" fmla="*/ 587828 h 3087584"/>
                <a:gd name="connsiteX14" fmla="*/ 4352307 w 9155876"/>
                <a:gd name="connsiteY14" fmla="*/ 629392 h 3087584"/>
                <a:gd name="connsiteX15" fmla="*/ 4566063 w 9155876"/>
                <a:gd name="connsiteY15" fmla="*/ 659080 h 3087584"/>
                <a:gd name="connsiteX16" fmla="*/ 4839195 w 9155876"/>
                <a:gd name="connsiteY16" fmla="*/ 700644 h 3087584"/>
                <a:gd name="connsiteX17" fmla="*/ 5088577 w 9155876"/>
                <a:gd name="connsiteY17" fmla="*/ 730332 h 3087584"/>
                <a:gd name="connsiteX18" fmla="*/ 5343896 w 9155876"/>
                <a:gd name="connsiteY18" fmla="*/ 760021 h 3087584"/>
                <a:gd name="connsiteX19" fmla="*/ 5741720 w 9155876"/>
                <a:gd name="connsiteY19" fmla="*/ 801584 h 3087584"/>
                <a:gd name="connsiteX20" fmla="*/ 5973289 w 9155876"/>
                <a:gd name="connsiteY20" fmla="*/ 819397 h 3087584"/>
                <a:gd name="connsiteX21" fmla="*/ 6368372 w 9155876"/>
                <a:gd name="connsiteY21" fmla="*/ 847258 h 3087584"/>
                <a:gd name="connsiteX22" fmla="*/ 7417967 w 9155876"/>
                <a:gd name="connsiteY22" fmla="*/ 847258 h 3087584"/>
                <a:gd name="connsiteX23" fmla="*/ 9155876 w 9155876"/>
                <a:gd name="connsiteY23" fmla="*/ 843147 h 3087584"/>
                <a:gd name="connsiteX24" fmla="*/ 9138063 w 9155876"/>
                <a:gd name="connsiteY24" fmla="*/ 825335 h 3087584"/>
                <a:gd name="connsiteX25" fmla="*/ 9149938 w 9155876"/>
                <a:gd name="connsiteY25" fmla="*/ 3087584 h 3087584"/>
                <a:gd name="connsiteX26" fmla="*/ 0 w 9155876"/>
                <a:gd name="connsiteY26" fmla="*/ 3087584 h 3087584"/>
                <a:gd name="connsiteX27" fmla="*/ 0 w 9155876"/>
                <a:gd name="connsiteY27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838203 w 9155876"/>
                <a:gd name="connsiteY9" fmla="*/ 356260 h 3087584"/>
                <a:gd name="connsiteX10" fmla="*/ 3063834 w 9155876"/>
                <a:gd name="connsiteY10" fmla="*/ 397823 h 3087584"/>
                <a:gd name="connsiteX11" fmla="*/ 3331029 w 9155876"/>
                <a:gd name="connsiteY11" fmla="*/ 445325 h 3087584"/>
                <a:gd name="connsiteX12" fmla="*/ 3758541 w 9155876"/>
                <a:gd name="connsiteY12" fmla="*/ 522514 h 3087584"/>
                <a:gd name="connsiteX13" fmla="*/ 4091050 w 9155876"/>
                <a:gd name="connsiteY13" fmla="*/ 587828 h 3087584"/>
                <a:gd name="connsiteX14" fmla="*/ 4352307 w 9155876"/>
                <a:gd name="connsiteY14" fmla="*/ 629392 h 3087584"/>
                <a:gd name="connsiteX15" fmla="*/ 4566063 w 9155876"/>
                <a:gd name="connsiteY15" fmla="*/ 659080 h 3087584"/>
                <a:gd name="connsiteX16" fmla="*/ 4839195 w 9155876"/>
                <a:gd name="connsiteY16" fmla="*/ 700644 h 3087584"/>
                <a:gd name="connsiteX17" fmla="*/ 5088577 w 9155876"/>
                <a:gd name="connsiteY17" fmla="*/ 730332 h 3087584"/>
                <a:gd name="connsiteX18" fmla="*/ 5343896 w 9155876"/>
                <a:gd name="connsiteY18" fmla="*/ 760021 h 3087584"/>
                <a:gd name="connsiteX19" fmla="*/ 5741720 w 9155876"/>
                <a:gd name="connsiteY19" fmla="*/ 801584 h 3087584"/>
                <a:gd name="connsiteX20" fmla="*/ 5973289 w 9155876"/>
                <a:gd name="connsiteY20" fmla="*/ 819397 h 3087584"/>
                <a:gd name="connsiteX21" fmla="*/ 6368372 w 9155876"/>
                <a:gd name="connsiteY21" fmla="*/ 847258 h 3087584"/>
                <a:gd name="connsiteX22" fmla="*/ 9155876 w 9155876"/>
                <a:gd name="connsiteY22" fmla="*/ 843147 h 3087584"/>
                <a:gd name="connsiteX23" fmla="*/ 9138063 w 9155876"/>
                <a:gd name="connsiteY23" fmla="*/ 825335 h 3087584"/>
                <a:gd name="connsiteX24" fmla="*/ 9149938 w 9155876"/>
                <a:gd name="connsiteY24" fmla="*/ 3087584 h 3087584"/>
                <a:gd name="connsiteX25" fmla="*/ 0 w 9155876"/>
                <a:gd name="connsiteY25" fmla="*/ 3087584 h 3087584"/>
                <a:gd name="connsiteX26" fmla="*/ 0 w 9155876"/>
                <a:gd name="connsiteY26" fmla="*/ 0 h 3087584"/>
                <a:gd name="connsiteX0" fmla="*/ 5938 w 9221190"/>
                <a:gd name="connsiteY0" fmla="*/ 0 h 3087584"/>
                <a:gd name="connsiteX1" fmla="*/ 267195 w 9221190"/>
                <a:gd name="connsiteY1" fmla="*/ 17813 h 3087584"/>
                <a:gd name="connsiteX2" fmla="*/ 528452 w 9221190"/>
                <a:gd name="connsiteY2" fmla="*/ 35626 h 3087584"/>
                <a:gd name="connsiteX3" fmla="*/ 801585 w 9221190"/>
                <a:gd name="connsiteY3" fmla="*/ 59376 h 3087584"/>
                <a:gd name="connsiteX4" fmla="*/ 1045029 w 9221190"/>
                <a:gd name="connsiteY4" fmla="*/ 83127 h 3087584"/>
                <a:gd name="connsiteX5" fmla="*/ 1294411 w 9221190"/>
                <a:gd name="connsiteY5" fmla="*/ 112815 h 3087584"/>
                <a:gd name="connsiteX6" fmla="*/ 1502229 w 9221190"/>
                <a:gd name="connsiteY6" fmla="*/ 142504 h 3087584"/>
                <a:gd name="connsiteX7" fmla="*/ 1941616 w 9221190"/>
                <a:gd name="connsiteY7" fmla="*/ 207818 h 3087584"/>
                <a:gd name="connsiteX8" fmla="*/ 2327564 w 9221190"/>
                <a:gd name="connsiteY8" fmla="*/ 267195 h 3087584"/>
                <a:gd name="connsiteX9" fmla="*/ 2838203 w 9221190"/>
                <a:gd name="connsiteY9" fmla="*/ 356260 h 3087584"/>
                <a:gd name="connsiteX10" fmla="*/ 3063834 w 9221190"/>
                <a:gd name="connsiteY10" fmla="*/ 397823 h 3087584"/>
                <a:gd name="connsiteX11" fmla="*/ 3331029 w 9221190"/>
                <a:gd name="connsiteY11" fmla="*/ 445325 h 3087584"/>
                <a:gd name="connsiteX12" fmla="*/ 3758541 w 9221190"/>
                <a:gd name="connsiteY12" fmla="*/ 522514 h 3087584"/>
                <a:gd name="connsiteX13" fmla="*/ 4091050 w 9221190"/>
                <a:gd name="connsiteY13" fmla="*/ 587828 h 3087584"/>
                <a:gd name="connsiteX14" fmla="*/ 4352307 w 9221190"/>
                <a:gd name="connsiteY14" fmla="*/ 629392 h 3087584"/>
                <a:gd name="connsiteX15" fmla="*/ 4566063 w 9221190"/>
                <a:gd name="connsiteY15" fmla="*/ 659080 h 3087584"/>
                <a:gd name="connsiteX16" fmla="*/ 4839195 w 9221190"/>
                <a:gd name="connsiteY16" fmla="*/ 700644 h 3087584"/>
                <a:gd name="connsiteX17" fmla="*/ 5088577 w 9221190"/>
                <a:gd name="connsiteY17" fmla="*/ 730332 h 3087584"/>
                <a:gd name="connsiteX18" fmla="*/ 5343896 w 9221190"/>
                <a:gd name="connsiteY18" fmla="*/ 760021 h 3087584"/>
                <a:gd name="connsiteX19" fmla="*/ 5741720 w 9221190"/>
                <a:gd name="connsiteY19" fmla="*/ 801584 h 3087584"/>
                <a:gd name="connsiteX20" fmla="*/ 5973289 w 9221190"/>
                <a:gd name="connsiteY20" fmla="*/ 819397 h 3087584"/>
                <a:gd name="connsiteX21" fmla="*/ 6368372 w 9221190"/>
                <a:gd name="connsiteY21" fmla="*/ 847258 h 3087584"/>
                <a:gd name="connsiteX22" fmla="*/ 9221190 w 9221190"/>
                <a:gd name="connsiteY22" fmla="*/ 838123 h 3087584"/>
                <a:gd name="connsiteX23" fmla="*/ 9138063 w 9221190"/>
                <a:gd name="connsiteY23" fmla="*/ 825335 h 3087584"/>
                <a:gd name="connsiteX24" fmla="*/ 9149938 w 9221190"/>
                <a:gd name="connsiteY24" fmla="*/ 3087584 h 3087584"/>
                <a:gd name="connsiteX25" fmla="*/ 0 w 9221190"/>
                <a:gd name="connsiteY25" fmla="*/ 3087584 h 3087584"/>
                <a:gd name="connsiteX26" fmla="*/ 0 w 9221190"/>
                <a:gd name="connsiteY26" fmla="*/ 0 h 3087584"/>
                <a:gd name="connsiteX0" fmla="*/ 5938 w 9149938"/>
                <a:gd name="connsiteY0" fmla="*/ 0 h 3087584"/>
                <a:gd name="connsiteX1" fmla="*/ 267195 w 9149938"/>
                <a:gd name="connsiteY1" fmla="*/ 17813 h 3087584"/>
                <a:gd name="connsiteX2" fmla="*/ 528452 w 9149938"/>
                <a:gd name="connsiteY2" fmla="*/ 35626 h 3087584"/>
                <a:gd name="connsiteX3" fmla="*/ 801585 w 9149938"/>
                <a:gd name="connsiteY3" fmla="*/ 59376 h 3087584"/>
                <a:gd name="connsiteX4" fmla="*/ 1045029 w 9149938"/>
                <a:gd name="connsiteY4" fmla="*/ 83127 h 3087584"/>
                <a:gd name="connsiteX5" fmla="*/ 1294411 w 9149938"/>
                <a:gd name="connsiteY5" fmla="*/ 112815 h 3087584"/>
                <a:gd name="connsiteX6" fmla="*/ 1502229 w 9149938"/>
                <a:gd name="connsiteY6" fmla="*/ 142504 h 3087584"/>
                <a:gd name="connsiteX7" fmla="*/ 1941616 w 9149938"/>
                <a:gd name="connsiteY7" fmla="*/ 207818 h 3087584"/>
                <a:gd name="connsiteX8" fmla="*/ 2327564 w 9149938"/>
                <a:gd name="connsiteY8" fmla="*/ 267195 h 3087584"/>
                <a:gd name="connsiteX9" fmla="*/ 2838203 w 9149938"/>
                <a:gd name="connsiteY9" fmla="*/ 356260 h 3087584"/>
                <a:gd name="connsiteX10" fmla="*/ 3063834 w 9149938"/>
                <a:gd name="connsiteY10" fmla="*/ 397823 h 3087584"/>
                <a:gd name="connsiteX11" fmla="*/ 3331029 w 9149938"/>
                <a:gd name="connsiteY11" fmla="*/ 445325 h 3087584"/>
                <a:gd name="connsiteX12" fmla="*/ 3758541 w 9149938"/>
                <a:gd name="connsiteY12" fmla="*/ 522514 h 3087584"/>
                <a:gd name="connsiteX13" fmla="*/ 4091050 w 9149938"/>
                <a:gd name="connsiteY13" fmla="*/ 587828 h 3087584"/>
                <a:gd name="connsiteX14" fmla="*/ 4352307 w 9149938"/>
                <a:gd name="connsiteY14" fmla="*/ 629392 h 3087584"/>
                <a:gd name="connsiteX15" fmla="*/ 4566063 w 9149938"/>
                <a:gd name="connsiteY15" fmla="*/ 659080 h 3087584"/>
                <a:gd name="connsiteX16" fmla="*/ 4839195 w 9149938"/>
                <a:gd name="connsiteY16" fmla="*/ 700644 h 3087584"/>
                <a:gd name="connsiteX17" fmla="*/ 5088577 w 9149938"/>
                <a:gd name="connsiteY17" fmla="*/ 730332 h 3087584"/>
                <a:gd name="connsiteX18" fmla="*/ 5343896 w 9149938"/>
                <a:gd name="connsiteY18" fmla="*/ 760021 h 3087584"/>
                <a:gd name="connsiteX19" fmla="*/ 5741720 w 9149938"/>
                <a:gd name="connsiteY19" fmla="*/ 801584 h 3087584"/>
                <a:gd name="connsiteX20" fmla="*/ 5973289 w 9149938"/>
                <a:gd name="connsiteY20" fmla="*/ 819397 h 3087584"/>
                <a:gd name="connsiteX21" fmla="*/ 6368372 w 9149938"/>
                <a:gd name="connsiteY21" fmla="*/ 847258 h 3087584"/>
                <a:gd name="connsiteX22" fmla="*/ 9138063 w 9149938"/>
                <a:gd name="connsiteY22" fmla="*/ 825335 h 3087584"/>
                <a:gd name="connsiteX23" fmla="*/ 9149938 w 9149938"/>
                <a:gd name="connsiteY23" fmla="*/ 3087584 h 3087584"/>
                <a:gd name="connsiteX24" fmla="*/ 0 w 9149938"/>
                <a:gd name="connsiteY24" fmla="*/ 3087584 h 3087584"/>
                <a:gd name="connsiteX25" fmla="*/ 0 w 9149938"/>
                <a:gd name="connsiteY25" fmla="*/ 0 h 3087584"/>
                <a:gd name="connsiteX0" fmla="*/ 5938 w 9149938"/>
                <a:gd name="connsiteY0" fmla="*/ 0 h 3087584"/>
                <a:gd name="connsiteX1" fmla="*/ 267195 w 9149938"/>
                <a:gd name="connsiteY1" fmla="*/ 17813 h 3087584"/>
                <a:gd name="connsiteX2" fmla="*/ 528452 w 9149938"/>
                <a:gd name="connsiteY2" fmla="*/ 35626 h 3087584"/>
                <a:gd name="connsiteX3" fmla="*/ 801585 w 9149938"/>
                <a:gd name="connsiteY3" fmla="*/ 59376 h 3087584"/>
                <a:gd name="connsiteX4" fmla="*/ 1045029 w 9149938"/>
                <a:gd name="connsiteY4" fmla="*/ 83127 h 3087584"/>
                <a:gd name="connsiteX5" fmla="*/ 1294411 w 9149938"/>
                <a:gd name="connsiteY5" fmla="*/ 112815 h 3087584"/>
                <a:gd name="connsiteX6" fmla="*/ 1502229 w 9149938"/>
                <a:gd name="connsiteY6" fmla="*/ 142504 h 3087584"/>
                <a:gd name="connsiteX7" fmla="*/ 1941616 w 9149938"/>
                <a:gd name="connsiteY7" fmla="*/ 207818 h 3087584"/>
                <a:gd name="connsiteX8" fmla="*/ 2327564 w 9149938"/>
                <a:gd name="connsiteY8" fmla="*/ 267195 h 3087584"/>
                <a:gd name="connsiteX9" fmla="*/ 2838203 w 9149938"/>
                <a:gd name="connsiteY9" fmla="*/ 356260 h 3087584"/>
                <a:gd name="connsiteX10" fmla="*/ 3063834 w 9149938"/>
                <a:gd name="connsiteY10" fmla="*/ 397823 h 3087584"/>
                <a:gd name="connsiteX11" fmla="*/ 3331029 w 9149938"/>
                <a:gd name="connsiteY11" fmla="*/ 445325 h 3087584"/>
                <a:gd name="connsiteX12" fmla="*/ 3758541 w 9149938"/>
                <a:gd name="connsiteY12" fmla="*/ 522514 h 3087584"/>
                <a:gd name="connsiteX13" fmla="*/ 4091050 w 9149938"/>
                <a:gd name="connsiteY13" fmla="*/ 587828 h 3087584"/>
                <a:gd name="connsiteX14" fmla="*/ 4352307 w 9149938"/>
                <a:gd name="connsiteY14" fmla="*/ 629392 h 3087584"/>
                <a:gd name="connsiteX15" fmla="*/ 4566063 w 9149938"/>
                <a:gd name="connsiteY15" fmla="*/ 659080 h 3087584"/>
                <a:gd name="connsiteX16" fmla="*/ 4839195 w 9149938"/>
                <a:gd name="connsiteY16" fmla="*/ 700644 h 3087584"/>
                <a:gd name="connsiteX17" fmla="*/ 5088577 w 9149938"/>
                <a:gd name="connsiteY17" fmla="*/ 730332 h 3087584"/>
                <a:gd name="connsiteX18" fmla="*/ 5343896 w 9149938"/>
                <a:gd name="connsiteY18" fmla="*/ 760021 h 3087584"/>
                <a:gd name="connsiteX19" fmla="*/ 5741720 w 9149938"/>
                <a:gd name="connsiteY19" fmla="*/ 801584 h 3087584"/>
                <a:gd name="connsiteX20" fmla="*/ 5973289 w 9149938"/>
                <a:gd name="connsiteY20" fmla="*/ 819397 h 3087584"/>
                <a:gd name="connsiteX21" fmla="*/ 6368372 w 9149938"/>
                <a:gd name="connsiteY21" fmla="*/ 847258 h 3087584"/>
                <a:gd name="connsiteX22" fmla="*/ 9138063 w 9149938"/>
                <a:gd name="connsiteY22" fmla="*/ 845432 h 3087584"/>
                <a:gd name="connsiteX23" fmla="*/ 9149938 w 9149938"/>
                <a:gd name="connsiteY23" fmla="*/ 3087584 h 3087584"/>
                <a:gd name="connsiteX24" fmla="*/ 0 w 9149938"/>
                <a:gd name="connsiteY24" fmla="*/ 3087584 h 3087584"/>
                <a:gd name="connsiteX25" fmla="*/ 0 w 9149938"/>
                <a:gd name="connsiteY25" fmla="*/ 0 h 3087584"/>
                <a:gd name="connsiteX0" fmla="*/ 5938 w 9149938"/>
                <a:gd name="connsiteY0" fmla="*/ 0 h 3087584"/>
                <a:gd name="connsiteX1" fmla="*/ 267195 w 9149938"/>
                <a:gd name="connsiteY1" fmla="*/ 17813 h 3087584"/>
                <a:gd name="connsiteX2" fmla="*/ 528452 w 9149938"/>
                <a:gd name="connsiteY2" fmla="*/ 35626 h 3087584"/>
                <a:gd name="connsiteX3" fmla="*/ 801585 w 9149938"/>
                <a:gd name="connsiteY3" fmla="*/ 59376 h 3087584"/>
                <a:gd name="connsiteX4" fmla="*/ 1045029 w 9149938"/>
                <a:gd name="connsiteY4" fmla="*/ 83127 h 3087584"/>
                <a:gd name="connsiteX5" fmla="*/ 1294411 w 9149938"/>
                <a:gd name="connsiteY5" fmla="*/ 112815 h 3087584"/>
                <a:gd name="connsiteX6" fmla="*/ 1502229 w 9149938"/>
                <a:gd name="connsiteY6" fmla="*/ 142504 h 3087584"/>
                <a:gd name="connsiteX7" fmla="*/ 1941616 w 9149938"/>
                <a:gd name="connsiteY7" fmla="*/ 207818 h 3087584"/>
                <a:gd name="connsiteX8" fmla="*/ 2327564 w 9149938"/>
                <a:gd name="connsiteY8" fmla="*/ 267195 h 3087584"/>
                <a:gd name="connsiteX9" fmla="*/ 2838203 w 9149938"/>
                <a:gd name="connsiteY9" fmla="*/ 356260 h 3087584"/>
                <a:gd name="connsiteX10" fmla="*/ 3063834 w 9149938"/>
                <a:gd name="connsiteY10" fmla="*/ 397823 h 3087584"/>
                <a:gd name="connsiteX11" fmla="*/ 3331029 w 9149938"/>
                <a:gd name="connsiteY11" fmla="*/ 445325 h 3087584"/>
                <a:gd name="connsiteX12" fmla="*/ 3758541 w 9149938"/>
                <a:gd name="connsiteY12" fmla="*/ 522514 h 3087584"/>
                <a:gd name="connsiteX13" fmla="*/ 4091050 w 9149938"/>
                <a:gd name="connsiteY13" fmla="*/ 587828 h 3087584"/>
                <a:gd name="connsiteX14" fmla="*/ 4352307 w 9149938"/>
                <a:gd name="connsiteY14" fmla="*/ 629392 h 3087584"/>
                <a:gd name="connsiteX15" fmla="*/ 4566063 w 9149938"/>
                <a:gd name="connsiteY15" fmla="*/ 659080 h 3087584"/>
                <a:gd name="connsiteX16" fmla="*/ 4839195 w 9149938"/>
                <a:gd name="connsiteY16" fmla="*/ 700644 h 3087584"/>
                <a:gd name="connsiteX17" fmla="*/ 5088577 w 9149938"/>
                <a:gd name="connsiteY17" fmla="*/ 730332 h 3087584"/>
                <a:gd name="connsiteX18" fmla="*/ 5343896 w 9149938"/>
                <a:gd name="connsiteY18" fmla="*/ 760021 h 3087584"/>
                <a:gd name="connsiteX19" fmla="*/ 5741720 w 9149938"/>
                <a:gd name="connsiteY19" fmla="*/ 801584 h 3087584"/>
                <a:gd name="connsiteX20" fmla="*/ 5973289 w 9149938"/>
                <a:gd name="connsiteY20" fmla="*/ 819397 h 3087584"/>
                <a:gd name="connsiteX21" fmla="*/ 6368372 w 9149938"/>
                <a:gd name="connsiteY21" fmla="*/ 847258 h 3087584"/>
                <a:gd name="connsiteX22" fmla="*/ 9138063 w 9149938"/>
                <a:gd name="connsiteY22" fmla="*/ 845432 h 3087584"/>
                <a:gd name="connsiteX23" fmla="*/ 9149938 w 9149938"/>
                <a:gd name="connsiteY23" fmla="*/ 3087584 h 3087584"/>
                <a:gd name="connsiteX24" fmla="*/ 0 w 9149938"/>
                <a:gd name="connsiteY24" fmla="*/ 3087584 h 3087584"/>
                <a:gd name="connsiteX25" fmla="*/ 0 w 9149938"/>
                <a:gd name="connsiteY25" fmla="*/ 0 h 3087584"/>
                <a:gd name="connsiteX0" fmla="*/ 5938 w 9149938"/>
                <a:gd name="connsiteY0" fmla="*/ 0 h 3087584"/>
                <a:gd name="connsiteX1" fmla="*/ 267195 w 9149938"/>
                <a:gd name="connsiteY1" fmla="*/ 17813 h 3087584"/>
                <a:gd name="connsiteX2" fmla="*/ 528452 w 9149938"/>
                <a:gd name="connsiteY2" fmla="*/ 35626 h 3087584"/>
                <a:gd name="connsiteX3" fmla="*/ 801585 w 9149938"/>
                <a:gd name="connsiteY3" fmla="*/ 59376 h 3087584"/>
                <a:gd name="connsiteX4" fmla="*/ 1045029 w 9149938"/>
                <a:gd name="connsiteY4" fmla="*/ 83127 h 3087584"/>
                <a:gd name="connsiteX5" fmla="*/ 1294411 w 9149938"/>
                <a:gd name="connsiteY5" fmla="*/ 112815 h 3087584"/>
                <a:gd name="connsiteX6" fmla="*/ 1502229 w 9149938"/>
                <a:gd name="connsiteY6" fmla="*/ 142504 h 3087584"/>
                <a:gd name="connsiteX7" fmla="*/ 1941616 w 9149938"/>
                <a:gd name="connsiteY7" fmla="*/ 207818 h 3087584"/>
                <a:gd name="connsiteX8" fmla="*/ 2327564 w 9149938"/>
                <a:gd name="connsiteY8" fmla="*/ 267195 h 3087584"/>
                <a:gd name="connsiteX9" fmla="*/ 2838203 w 9149938"/>
                <a:gd name="connsiteY9" fmla="*/ 356260 h 3087584"/>
                <a:gd name="connsiteX10" fmla="*/ 3063834 w 9149938"/>
                <a:gd name="connsiteY10" fmla="*/ 397823 h 3087584"/>
                <a:gd name="connsiteX11" fmla="*/ 3331029 w 9149938"/>
                <a:gd name="connsiteY11" fmla="*/ 445325 h 3087584"/>
                <a:gd name="connsiteX12" fmla="*/ 3758541 w 9149938"/>
                <a:gd name="connsiteY12" fmla="*/ 522514 h 3087584"/>
                <a:gd name="connsiteX13" fmla="*/ 4091050 w 9149938"/>
                <a:gd name="connsiteY13" fmla="*/ 587828 h 3087584"/>
                <a:gd name="connsiteX14" fmla="*/ 4352307 w 9149938"/>
                <a:gd name="connsiteY14" fmla="*/ 629392 h 3087584"/>
                <a:gd name="connsiteX15" fmla="*/ 4566063 w 9149938"/>
                <a:gd name="connsiteY15" fmla="*/ 659080 h 3087584"/>
                <a:gd name="connsiteX16" fmla="*/ 4839195 w 9149938"/>
                <a:gd name="connsiteY16" fmla="*/ 700644 h 3087584"/>
                <a:gd name="connsiteX17" fmla="*/ 5088577 w 9149938"/>
                <a:gd name="connsiteY17" fmla="*/ 730332 h 3087584"/>
                <a:gd name="connsiteX18" fmla="*/ 5343896 w 9149938"/>
                <a:gd name="connsiteY18" fmla="*/ 760021 h 3087584"/>
                <a:gd name="connsiteX19" fmla="*/ 5741720 w 9149938"/>
                <a:gd name="connsiteY19" fmla="*/ 801584 h 3087584"/>
                <a:gd name="connsiteX20" fmla="*/ 5973289 w 9149938"/>
                <a:gd name="connsiteY20" fmla="*/ 819397 h 3087584"/>
                <a:gd name="connsiteX21" fmla="*/ 6368372 w 9149938"/>
                <a:gd name="connsiteY21" fmla="*/ 847258 h 3087584"/>
                <a:gd name="connsiteX22" fmla="*/ 9138063 w 9149938"/>
                <a:gd name="connsiteY22" fmla="*/ 845432 h 3087584"/>
                <a:gd name="connsiteX23" fmla="*/ 9149938 w 9149938"/>
                <a:gd name="connsiteY23" fmla="*/ 3087584 h 3087584"/>
                <a:gd name="connsiteX24" fmla="*/ 0 w 9149938"/>
                <a:gd name="connsiteY24" fmla="*/ 3087584 h 3087584"/>
                <a:gd name="connsiteX25" fmla="*/ 0 w 9149938"/>
                <a:gd name="connsiteY25" fmla="*/ 0 h 3087584"/>
                <a:gd name="connsiteX0" fmla="*/ 5938 w 9154002"/>
                <a:gd name="connsiteY0" fmla="*/ 0 h 3087584"/>
                <a:gd name="connsiteX1" fmla="*/ 267195 w 9154002"/>
                <a:gd name="connsiteY1" fmla="*/ 17813 h 3087584"/>
                <a:gd name="connsiteX2" fmla="*/ 528452 w 9154002"/>
                <a:gd name="connsiteY2" fmla="*/ 35626 h 3087584"/>
                <a:gd name="connsiteX3" fmla="*/ 801585 w 9154002"/>
                <a:gd name="connsiteY3" fmla="*/ 59376 h 3087584"/>
                <a:gd name="connsiteX4" fmla="*/ 1045029 w 9154002"/>
                <a:gd name="connsiteY4" fmla="*/ 83127 h 3087584"/>
                <a:gd name="connsiteX5" fmla="*/ 1294411 w 9154002"/>
                <a:gd name="connsiteY5" fmla="*/ 112815 h 3087584"/>
                <a:gd name="connsiteX6" fmla="*/ 1502229 w 9154002"/>
                <a:gd name="connsiteY6" fmla="*/ 142504 h 3087584"/>
                <a:gd name="connsiteX7" fmla="*/ 1941616 w 9154002"/>
                <a:gd name="connsiteY7" fmla="*/ 207818 h 3087584"/>
                <a:gd name="connsiteX8" fmla="*/ 2327564 w 9154002"/>
                <a:gd name="connsiteY8" fmla="*/ 267195 h 3087584"/>
                <a:gd name="connsiteX9" fmla="*/ 2838203 w 9154002"/>
                <a:gd name="connsiteY9" fmla="*/ 356260 h 3087584"/>
                <a:gd name="connsiteX10" fmla="*/ 3063834 w 9154002"/>
                <a:gd name="connsiteY10" fmla="*/ 397823 h 3087584"/>
                <a:gd name="connsiteX11" fmla="*/ 3331029 w 9154002"/>
                <a:gd name="connsiteY11" fmla="*/ 445325 h 3087584"/>
                <a:gd name="connsiteX12" fmla="*/ 3758541 w 9154002"/>
                <a:gd name="connsiteY12" fmla="*/ 522514 h 3087584"/>
                <a:gd name="connsiteX13" fmla="*/ 4091050 w 9154002"/>
                <a:gd name="connsiteY13" fmla="*/ 587828 h 3087584"/>
                <a:gd name="connsiteX14" fmla="*/ 4352307 w 9154002"/>
                <a:gd name="connsiteY14" fmla="*/ 629392 h 3087584"/>
                <a:gd name="connsiteX15" fmla="*/ 4566063 w 9154002"/>
                <a:gd name="connsiteY15" fmla="*/ 659080 h 3087584"/>
                <a:gd name="connsiteX16" fmla="*/ 4839195 w 9154002"/>
                <a:gd name="connsiteY16" fmla="*/ 700644 h 3087584"/>
                <a:gd name="connsiteX17" fmla="*/ 5088577 w 9154002"/>
                <a:gd name="connsiteY17" fmla="*/ 730332 h 3087584"/>
                <a:gd name="connsiteX18" fmla="*/ 5343896 w 9154002"/>
                <a:gd name="connsiteY18" fmla="*/ 760021 h 3087584"/>
                <a:gd name="connsiteX19" fmla="*/ 5741720 w 9154002"/>
                <a:gd name="connsiteY19" fmla="*/ 801584 h 3087584"/>
                <a:gd name="connsiteX20" fmla="*/ 5973289 w 9154002"/>
                <a:gd name="connsiteY20" fmla="*/ 819397 h 3087584"/>
                <a:gd name="connsiteX21" fmla="*/ 6368372 w 9154002"/>
                <a:gd name="connsiteY21" fmla="*/ 847258 h 3087584"/>
                <a:gd name="connsiteX22" fmla="*/ 9153136 w 9154002"/>
                <a:gd name="connsiteY22" fmla="*/ 845432 h 3087584"/>
                <a:gd name="connsiteX23" fmla="*/ 9149938 w 9154002"/>
                <a:gd name="connsiteY23" fmla="*/ 3087584 h 3087584"/>
                <a:gd name="connsiteX24" fmla="*/ 0 w 9154002"/>
                <a:gd name="connsiteY24" fmla="*/ 3087584 h 3087584"/>
                <a:gd name="connsiteX25" fmla="*/ 0 w 9154002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68372 w 9159987"/>
                <a:gd name="connsiteY21" fmla="*/ 847258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78420 w 9159987"/>
                <a:gd name="connsiteY21" fmla="*/ 832185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83444 w 9159987"/>
                <a:gd name="connsiteY21" fmla="*/ 852282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83444 w 9159987"/>
                <a:gd name="connsiteY21" fmla="*/ 852282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88468 w 9159987"/>
                <a:gd name="connsiteY21" fmla="*/ 837209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88468 w 9159987"/>
                <a:gd name="connsiteY21" fmla="*/ 852281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88468 w 9159987"/>
                <a:gd name="connsiteY21" fmla="*/ 852281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88468 w 9159987"/>
                <a:gd name="connsiteY21" fmla="*/ 852281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88468 w 9159987"/>
                <a:gd name="connsiteY21" fmla="*/ 852281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88468 w 9159987"/>
                <a:gd name="connsiteY21" fmla="*/ 852281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93230 w 9159987"/>
                <a:gd name="connsiteY21" fmla="*/ 842756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93230 w 9159987"/>
                <a:gd name="connsiteY21" fmla="*/ 842756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93230 w 9159987"/>
                <a:gd name="connsiteY21" fmla="*/ 842756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209874 w 9159987"/>
                <a:gd name="connsiteY21" fmla="*/ 845137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5670 w 9159987"/>
                <a:gd name="connsiteY20" fmla="*/ 833685 h 3087584"/>
                <a:gd name="connsiteX21" fmla="*/ 6209874 w 9159987"/>
                <a:gd name="connsiteY21" fmla="*/ 845137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80432 w 9159987"/>
                <a:gd name="connsiteY20" fmla="*/ 826541 h 3087584"/>
                <a:gd name="connsiteX21" fmla="*/ 6209874 w 9159987"/>
                <a:gd name="connsiteY21" fmla="*/ 845137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80432 w 9159987"/>
                <a:gd name="connsiteY20" fmla="*/ 826541 h 3087584"/>
                <a:gd name="connsiteX21" fmla="*/ 6209874 w 9159987"/>
                <a:gd name="connsiteY21" fmla="*/ 845137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80432 w 9159987"/>
                <a:gd name="connsiteY20" fmla="*/ 826541 h 3087584"/>
                <a:gd name="connsiteX21" fmla="*/ 6209874 w 9159987"/>
                <a:gd name="connsiteY21" fmla="*/ 845137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80432 w 9159987"/>
                <a:gd name="connsiteY20" fmla="*/ 826541 h 3087584"/>
                <a:gd name="connsiteX21" fmla="*/ 6209874 w 9159987"/>
                <a:gd name="connsiteY21" fmla="*/ 845137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39339 w 9159987"/>
                <a:gd name="connsiteY19" fmla="*/ 808728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4102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4102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4102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4102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4102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4102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4102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4102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4102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744102 w 9159987"/>
                <a:gd name="connsiteY18" fmla="*/ 801584 h 3087584"/>
                <a:gd name="connsiteX19" fmla="*/ 5980432 w 9159987"/>
                <a:gd name="connsiteY19" fmla="*/ 826541 h 3087584"/>
                <a:gd name="connsiteX20" fmla="*/ 6400374 w 9159987"/>
                <a:gd name="connsiteY20" fmla="*/ 849900 h 3087584"/>
                <a:gd name="connsiteX21" fmla="*/ 9153136 w 9159987"/>
                <a:gd name="connsiteY21" fmla="*/ 845432 h 3087584"/>
                <a:gd name="connsiteX22" fmla="*/ 9159987 w 9159987"/>
                <a:gd name="connsiteY22" fmla="*/ 3087584 h 3087584"/>
                <a:gd name="connsiteX23" fmla="*/ 0 w 9159987"/>
                <a:gd name="connsiteY23" fmla="*/ 3087584 h 3087584"/>
                <a:gd name="connsiteX24" fmla="*/ 0 w 9159987"/>
                <a:gd name="connsiteY24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744102 w 9159987"/>
                <a:gd name="connsiteY18" fmla="*/ 801584 h 3087584"/>
                <a:gd name="connsiteX19" fmla="*/ 5980432 w 9159987"/>
                <a:gd name="connsiteY19" fmla="*/ 826541 h 3087584"/>
                <a:gd name="connsiteX20" fmla="*/ 6400374 w 9159987"/>
                <a:gd name="connsiteY20" fmla="*/ 849900 h 3087584"/>
                <a:gd name="connsiteX21" fmla="*/ 9153136 w 9159987"/>
                <a:gd name="connsiteY21" fmla="*/ 845432 h 3087584"/>
                <a:gd name="connsiteX22" fmla="*/ 9159987 w 9159987"/>
                <a:gd name="connsiteY22" fmla="*/ 3087584 h 3087584"/>
                <a:gd name="connsiteX23" fmla="*/ 0 w 9159987"/>
                <a:gd name="connsiteY23" fmla="*/ 3087584 h 3087584"/>
                <a:gd name="connsiteX24" fmla="*/ 0 w 9159987"/>
                <a:gd name="connsiteY24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746483 w 9159987"/>
                <a:gd name="connsiteY18" fmla="*/ 806346 h 3087584"/>
                <a:gd name="connsiteX19" fmla="*/ 5980432 w 9159987"/>
                <a:gd name="connsiteY19" fmla="*/ 826541 h 3087584"/>
                <a:gd name="connsiteX20" fmla="*/ 6400374 w 9159987"/>
                <a:gd name="connsiteY20" fmla="*/ 849900 h 3087584"/>
                <a:gd name="connsiteX21" fmla="*/ 9153136 w 9159987"/>
                <a:gd name="connsiteY21" fmla="*/ 845432 h 3087584"/>
                <a:gd name="connsiteX22" fmla="*/ 9159987 w 9159987"/>
                <a:gd name="connsiteY22" fmla="*/ 3087584 h 3087584"/>
                <a:gd name="connsiteX23" fmla="*/ 0 w 9159987"/>
                <a:gd name="connsiteY23" fmla="*/ 3087584 h 3087584"/>
                <a:gd name="connsiteX24" fmla="*/ 0 w 9159987"/>
                <a:gd name="connsiteY24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746483 w 9159987"/>
                <a:gd name="connsiteY18" fmla="*/ 806346 h 3087584"/>
                <a:gd name="connsiteX19" fmla="*/ 5980432 w 9159987"/>
                <a:gd name="connsiteY19" fmla="*/ 826541 h 3087584"/>
                <a:gd name="connsiteX20" fmla="*/ 6400374 w 9159987"/>
                <a:gd name="connsiteY20" fmla="*/ 849900 h 3087584"/>
                <a:gd name="connsiteX21" fmla="*/ 9153136 w 9159987"/>
                <a:gd name="connsiteY21" fmla="*/ 845432 h 3087584"/>
                <a:gd name="connsiteX22" fmla="*/ 9159987 w 9159987"/>
                <a:gd name="connsiteY22" fmla="*/ 3087584 h 3087584"/>
                <a:gd name="connsiteX23" fmla="*/ 0 w 9159987"/>
                <a:gd name="connsiteY23" fmla="*/ 3087584 h 3087584"/>
                <a:gd name="connsiteX24" fmla="*/ 0 w 9159987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400374 w 9161016"/>
                <a:gd name="connsiteY20" fmla="*/ 849900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400374 w 9161016"/>
                <a:gd name="connsiteY20" fmla="*/ 849900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400374 w 9161016"/>
                <a:gd name="connsiteY20" fmla="*/ 849900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400374 w 9161016"/>
                <a:gd name="connsiteY20" fmla="*/ 849900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6927 w 9161016"/>
                <a:gd name="connsiteY20" fmla="*/ 863347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6927 w 9161016"/>
                <a:gd name="connsiteY20" fmla="*/ 863347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6927 w 9161016"/>
                <a:gd name="connsiteY20" fmla="*/ 863347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6927 w 9161016"/>
                <a:gd name="connsiteY20" fmla="*/ 856623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6927 w 9161016"/>
                <a:gd name="connsiteY20" fmla="*/ 856623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6927 w 9161016"/>
                <a:gd name="connsiteY20" fmla="*/ 856623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4546 w 9161016"/>
                <a:gd name="connsiteY20" fmla="*/ 849479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4546 w 9161016"/>
                <a:gd name="connsiteY20" fmla="*/ 849479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4546 w 9161016"/>
                <a:gd name="connsiteY20" fmla="*/ 849479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4546 w 9161016"/>
                <a:gd name="connsiteY20" fmla="*/ 849479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4546 w 9161016"/>
                <a:gd name="connsiteY20" fmla="*/ 849479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746483 w 9159987"/>
                <a:gd name="connsiteY18" fmla="*/ 806346 h 3087584"/>
                <a:gd name="connsiteX19" fmla="*/ 5980432 w 9159987"/>
                <a:gd name="connsiteY19" fmla="*/ 826541 h 3087584"/>
                <a:gd name="connsiteX20" fmla="*/ 6384546 w 9159987"/>
                <a:gd name="connsiteY20" fmla="*/ 849479 h 3087584"/>
                <a:gd name="connsiteX21" fmla="*/ 9151767 w 9159987"/>
                <a:gd name="connsiteY21" fmla="*/ 857511 h 3087584"/>
                <a:gd name="connsiteX22" fmla="*/ 9159987 w 9159987"/>
                <a:gd name="connsiteY22" fmla="*/ 3087584 h 3087584"/>
                <a:gd name="connsiteX23" fmla="*/ 0 w 9159987"/>
                <a:gd name="connsiteY23" fmla="*/ 3087584 h 3087584"/>
                <a:gd name="connsiteX24" fmla="*/ 0 w 9159987"/>
                <a:gd name="connsiteY24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746483 w 9159987"/>
                <a:gd name="connsiteY18" fmla="*/ 806346 h 3087584"/>
                <a:gd name="connsiteX19" fmla="*/ 6384546 w 9159987"/>
                <a:gd name="connsiteY19" fmla="*/ 849479 h 3087584"/>
                <a:gd name="connsiteX20" fmla="*/ 9151767 w 9159987"/>
                <a:gd name="connsiteY20" fmla="*/ 857511 h 3087584"/>
                <a:gd name="connsiteX21" fmla="*/ 9159987 w 9159987"/>
                <a:gd name="connsiteY21" fmla="*/ 3087584 h 3087584"/>
                <a:gd name="connsiteX22" fmla="*/ 0 w 9159987"/>
                <a:gd name="connsiteY22" fmla="*/ 3087584 h 3087584"/>
                <a:gd name="connsiteX23" fmla="*/ 0 w 9159987"/>
                <a:gd name="connsiteY23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746483 w 9159987"/>
                <a:gd name="connsiteY18" fmla="*/ 806346 h 3087584"/>
                <a:gd name="connsiteX19" fmla="*/ 6384546 w 9159987"/>
                <a:gd name="connsiteY19" fmla="*/ 849479 h 3087584"/>
                <a:gd name="connsiteX20" fmla="*/ 9151767 w 9159987"/>
                <a:gd name="connsiteY20" fmla="*/ 857511 h 3087584"/>
                <a:gd name="connsiteX21" fmla="*/ 9159987 w 9159987"/>
                <a:gd name="connsiteY21" fmla="*/ 3087584 h 3087584"/>
                <a:gd name="connsiteX22" fmla="*/ 0 w 9159987"/>
                <a:gd name="connsiteY22" fmla="*/ 3087584 h 3087584"/>
                <a:gd name="connsiteX23" fmla="*/ 0 w 9159987"/>
                <a:gd name="connsiteY23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858165 w 9159987"/>
                <a:gd name="connsiteY18" fmla="*/ 820306 h 3087584"/>
                <a:gd name="connsiteX19" fmla="*/ 6384546 w 9159987"/>
                <a:gd name="connsiteY19" fmla="*/ 849479 h 3087584"/>
                <a:gd name="connsiteX20" fmla="*/ 9151767 w 9159987"/>
                <a:gd name="connsiteY20" fmla="*/ 857511 h 3087584"/>
                <a:gd name="connsiteX21" fmla="*/ 9159987 w 9159987"/>
                <a:gd name="connsiteY21" fmla="*/ 3087584 h 3087584"/>
                <a:gd name="connsiteX22" fmla="*/ 0 w 9159987"/>
                <a:gd name="connsiteY22" fmla="*/ 3087584 h 3087584"/>
                <a:gd name="connsiteX23" fmla="*/ 0 w 9159987"/>
                <a:gd name="connsiteY23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858165 w 9159987"/>
                <a:gd name="connsiteY18" fmla="*/ 820306 h 3087584"/>
                <a:gd name="connsiteX19" fmla="*/ 6384546 w 9159987"/>
                <a:gd name="connsiteY19" fmla="*/ 849479 h 3087584"/>
                <a:gd name="connsiteX20" fmla="*/ 9151767 w 9159987"/>
                <a:gd name="connsiteY20" fmla="*/ 857511 h 3087584"/>
                <a:gd name="connsiteX21" fmla="*/ 9159987 w 9159987"/>
                <a:gd name="connsiteY21" fmla="*/ 3087584 h 3087584"/>
                <a:gd name="connsiteX22" fmla="*/ 0 w 9159987"/>
                <a:gd name="connsiteY22" fmla="*/ 3087584 h 3087584"/>
                <a:gd name="connsiteX23" fmla="*/ 0 w 9159987"/>
                <a:gd name="connsiteY23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858165 w 9159987"/>
                <a:gd name="connsiteY18" fmla="*/ 820306 h 3087584"/>
                <a:gd name="connsiteX19" fmla="*/ 6384546 w 9159987"/>
                <a:gd name="connsiteY19" fmla="*/ 849479 h 3087584"/>
                <a:gd name="connsiteX20" fmla="*/ 9151767 w 9159987"/>
                <a:gd name="connsiteY20" fmla="*/ 857511 h 3087584"/>
                <a:gd name="connsiteX21" fmla="*/ 9159987 w 9159987"/>
                <a:gd name="connsiteY21" fmla="*/ 3087584 h 3087584"/>
                <a:gd name="connsiteX22" fmla="*/ 0 w 9159987"/>
                <a:gd name="connsiteY22" fmla="*/ 3087584 h 3087584"/>
                <a:gd name="connsiteX23" fmla="*/ 0 w 9159987"/>
                <a:gd name="connsiteY23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858165 w 9159987"/>
                <a:gd name="connsiteY18" fmla="*/ 820306 h 3087584"/>
                <a:gd name="connsiteX19" fmla="*/ 6384546 w 9159987"/>
                <a:gd name="connsiteY19" fmla="*/ 849479 h 3087584"/>
                <a:gd name="connsiteX20" fmla="*/ 9151767 w 9159987"/>
                <a:gd name="connsiteY20" fmla="*/ 857511 h 3087584"/>
                <a:gd name="connsiteX21" fmla="*/ 9159987 w 9159987"/>
                <a:gd name="connsiteY21" fmla="*/ 3087584 h 3087584"/>
                <a:gd name="connsiteX22" fmla="*/ 0 w 9159987"/>
                <a:gd name="connsiteY22" fmla="*/ 3087584 h 3087584"/>
                <a:gd name="connsiteX23" fmla="*/ 0 w 9159987"/>
                <a:gd name="connsiteY23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858165 w 9159987"/>
                <a:gd name="connsiteY18" fmla="*/ 820306 h 3087584"/>
                <a:gd name="connsiteX19" fmla="*/ 6384546 w 9159987"/>
                <a:gd name="connsiteY19" fmla="*/ 849479 h 3087584"/>
                <a:gd name="connsiteX20" fmla="*/ 9151767 w 9159987"/>
                <a:gd name="connsiteY20" fmla="*/ 857511 h 3087584"/>
                <a:gd name="connsiteX21" fmla="*/ 9159987 w 9159987"/>
                <a:gd name="connsiteY21" fmla="*/ 3087584 h 3087584"/>
                <a:gd name="connsiteX22" fmla="*/ 0 w 9159987"/>
                <a:gd name="connsiteY22" fmla="*/ 3087584 h 3087584"/>
                <a:gd name="connsiteX23" fmla="*/ 0 w 9159987"/>
                <a:gd name="connsiteY23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858165 w 9159987"/>
                <a:gd name="connsiteY18" fmla="*/ 820306 h 3087584"/>
                <a:gd name="connsiteX19" fmla="*/ 6384546 w 9159987"/>
                <a:gd name="connsiteY19" fmla="*/ 849479 h 3087584"/>
                <a:gd name="connsiteX20" fmla="*/ 9151767 w 9159987"/>
                <a:gd name="connsiteY20" fmla="*/ 857511 h 3087584"/>
                <a:gd name="connsiteX21" fmla="*/ 9159987 w 9159987"/>
                <a:gd name="connsiteY21" fmla="*/ 3087584 h 3087584"/>
                <a:gd name="connsiteX22" fmla="*/ 0 w 9159987"/>
                <a:gd name="connsiteY22" fmla="*/ 3087584 h 3087584"/>
                <a:gd name="connsiteX23" fmla="*/ 0 w 9159987"/>
                <a:gd name="connsiteY23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858165 w 9159987"/>
                <a:gd name="connsiteY18" fmla="*/ 820306 h 3087584"/>
                <a:gd name="connsiteX19" fmla="*/ 6384546 w 9159987"/>
                <a:gd name="connsiteY19" fmla="*/ 849479 h 3087584"/>
                <a:gd name="connsiteX20" fmla="*/ 9151767 w 9159987"/>
                <a:gd name="connsiteY20" fmla="*/ 857511 h 3087584"/>
                <a:gd name="connsiteX21" fmla="*/ 9159987 w 9159987"/>
                <a:gd name="connsiteY21" fmla="*/ 3087584 h 3087584"/>
                <a:gd name="connsiteX22" fmla="*/ 0 w 9159987"/>
                <a:gd name="connsiteY22" fmla="*/ 3087584 h 3087584"/>
                <a:gd name="connsiteX23" fmla="*/ 0 w 9159987"/>
                <a:gd name="connsiteY23" fmla="*/ 0 h 3087584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28452 w 9159987"/>
                <a:gd name="connsiteY2" fmla="*/ 38753 h 3090711"/>
                <a:gd name="connsiteX3" fmla="*/ 801585 w 9159987"/>
                <a:gd name="connsiteY3" fmla="*/ 62503 h 3090711"/>
                <a:gd name="connsiteX4" fmla="*/ 1045029 w 9159987"/>
                <a:gd name="connsiteY4" fmla="*/ 86254 h 3090711"/>
                <a:gd name="connsiteX5" fmla="*/ 1294411 w 9159987"/>
                <a:gd name="connsiteY5" fmla="*/ 115942 h 3090711"/>
                <a:gd name="connsiteX6" fmla="*/ 1502229 w 9159987"/>
                <a:gd name="connsiteY6" fmla="*/ 14563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1274 w 9159987"/>
                <a:gd name="connsiteY2" fmla="*/ 17812 h 3090711"/>
                <a:gd name="connsiteX3" fmla="*/ 801585 w 9159987"/>
                <a:gd name="connsiteY3" fmla="*/ 62503 h 3090711"/>
                <a:gd name="connsiteX4" fmla="*/ 1045029 w 9159987"/>
                <a:gd name="connsiteY4" fmla="*/ 86254 h 3090711"/>
                <a:gd name="connsiteX5" fmla="*/ 1294411 w 9159987"/>
                <a:gd name="connsiteY5" fmla="*/ 115942 h 3090711"/>
                <a:gd name="connsiteX6" fmla="*/ 1502229 w 9159987"/>
                <a:gd name="connsiteY6" fmla="*/ 14563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1274 w 9159987"/>
                <a:gd name="connsiteY2" fmla="*/ 17812 h 3090711"/>
                <a:gd name="connsiteX3" fmla="*/ 829506 w 9159987"/>
                <a:gd name="connsiteY3" fmla="*/ 48543 h 3090711"/>
                <a:gd name="connsiteX4" fmla="*/ 1045029 w 9159987"/>
                <a:gd name="connsiteY4" fmla="*/ 86254 h 3090711"/>
                <a:gd name="connsiteX5" fmla="*/ 1294411 w 9159987"/>
                <a:gd name="connsiteY5" fmla="*/ 115942 h 3090711"/>
                <a:gd name="connsiteX6" fmla="*/ 1502229 w 9159987"/>
                <a:gd name="connsiteY6" fmla="*/ 14563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1274 w 9159987"/>
                <a:gd name="connsiteY2" fmla="*/ 17812 h 3090711"/>
                <a:gd name="connsiteX3" fmla="*/ 878367 w 9159987"/>
                <a:gd name="connsiteY3" fmla="*/ 20622 h 3090711"/>
                <a:gd name="connsiteX4" fmla="*/ 1045029 w 9159987"/>
                <a:gd name="connsiteY4" fmla="*/ 86254 h 3090711"/>
                <a:gd name="connsiteX5" fmla="*/ 1294411 w 9159987"/>
                <a:gd name="connsiteY5" fmla="*/ 115942 h 3090711"/>
                <a:gd name="connsiteX6" fmla="*/ 1502229 w 9159987"/>
                <a:gd name="connsiteY6" fmla="*/ 14563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1274 w 9159987"/>
                <a:gd name="connsiteY2" fmla="*/ 17812 h 3090711"/>
                <a:gd name="connsiteX3" fmla="*/ 878367 w 9159987"/>
                <a:gd name="connsiteY3" fmla="*/ 20622 h 3090711"/>
                <a:gd name="connsiteX4" fmla="*/ 1114831 w 9159987"/>
                <a:gd name="connsiteY4" fmla="*/ 44373 h 3090711"/>
                <a:gd name="connsiteX5" fmla="*/ 1294411 w 9159987"/>
                <a:gd name="connsiteY5" fmla="*/ 115942 h 3090711"/>
                <a:gd name="connsiteX6" fmla="*/ 1502229 w 9159987"/>
                <a:gd name="connsiteY6" fmla="*/ 14563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1274 w 9159987"/>
                <a:gd name="connsiteY2" fmla="*/ 17812 h 3090711"/>
                <a:gd name="connsiteX3" fmla="*/ 878367 w 9159987"/>
                <a:gd name="connsiteY3" fmla="*/ 20622 h 3090711"/>
                <a:gd name="connsiteX4" fmla="*/ 1114831 w 9159987"/>
                <a:gd name="connsiteY4" fmla="*/ 44373 h 3090711"/>
                <a:gd name="connsiteX5" fmla="*/ 1315352 w 9159987"/>
                <a:gd name="connsiteY5" fmla="*/ 95002 h 3090711"/>
                <a:gd name="connsiteX6" fmla="*/ 1502229 w 9159987"/>
                <a:gd name="connsiteY6" fmla="*/ 14563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1274 w 9159987"/>
                <a:gd name="connsiteY2" fmla="*/ 17812 h 3090711"/>
                <a:gd name="connsiteX3" fmla="*/ 878367 w 9159987"/>
                <a:gd name="connsiteY3" fmla="*/ 20622 h 3090711"/>
                <a:gd name="connsiteX4" fmla="*/ 1114831 w 9159987"/>
                <a:gd name="connsiteY4" fmla="*/ 44373 h 3090711"/>
                <a:gd name="connsiteX5" fmla="*/ 1315352 w 9159987"/>
                <a:gd name="connsiteY5" fmla="*/ 95002 h 3090711"/>
                <a:gd name="connsiteX6" fmla="*/ 1544109 w 9159987"/>
                <a:gd name="connsiteY6" fmla="*/ 13167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1274 w 9159987"/>
                <a:gd name="connsiteY2" fmla="*/ 17812 h 3090711"/>
                <a:gd name="connsiteX3" fmla="*/ 878367 w 9159987"/>
                <a:gd name="connsiteY3" fmla="*/ 20622 h 3090711"/>
                <a:gd name="connsiteX4" fmla="*/ 1114831 w 9159987"/>
                <a:gd name="connsiteY4" fmla="*/ 44373 h 3090711"/>
                <a:gd name="connsiteX5" fmla="*/ 1343272 w 9159987"/>
                <a:gd name="connsiteY5" fmla="*/ 74062 h 3090711"/>
                <a:gd name="connsiteX6" fmla="*/ 1544109 w 9159987"/>
                <a:gd name="connsiteY6" fmla="*/ 13167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78367 w 9159987"/>
                <a:gd name="connsiteY3" fmla="*/ 20622 h 3090711"/>
                <a:gd name="connsiteX4" fmla="*/ 1114831 w 9159987"/>
                <a:gd name="connsiteY4" fmla="*/ 44373 h 3090711"/>
                <a:gd name="connsiteX5" fmla="*/ 1343272 w 9159987"/>
                <a:gd name="connsiteY5" fmla="*/ 74062 h 3090711"/>
                <a:gd name="connsiteX6" fmla="*/ 1544109 w 9159987"/>
                <a:gd name="connsiteY6" fmla="*/ 13167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78367 w 9159987"/>
                <a:gd name="connsiteY3" fmla="*/ 20622 h 3090711"/>
                <a:gd name="connsiteX4" fmla="*/ 1114831 w 9159987"/>
                <a:gd name="connsiteY4" fmla="*/ 44373 h 3090711"/>
                <a:gd name="connsiteX5" fmla="*/ 1343272 w 9159987"/>
                <a:gd name="connsiteY5" fmla="*/ 74062 h 3090711"/>
                <a:gd name="connsiteX6" fmla="*/ 1544109 w 9159987"/>
                <a:gd name="connsiteY6" fmla="*/ 13167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114831 w 9159987"/>
                <a:gd name="connsiteY4" fmla="*/ 44373 h 3090711"/>
                <a:gd name="connsiteX5" fmla="*/ 1343272 w 9159987"/>
                <a:gd name="connsiteY5" fmla="*/ 74062 h 3090711"/>
                <a:gd name="connsiteX6" fmla="*/ 1544109 w 9159987"/>
                <a:gd name="connsiteY6" fmla="*/ 13167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114831 w 9159987"/>
                <a:gd name="connsiteY4" fmla="*/ 44373 h 3090711"/>
                <a:gd name="connsiteX5" fmla="*/ 1343272 w 9159987"/>
                <a:gd name="connsiteY5" fmla="*/ 74062 h 3090711"/>
                <a:gd name="connsiteX6" fmla="*/ 1544109 w 9159987"/>
                <a:gd name="connsiteY6" fmla="*/ 13167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114831 w 9159987"/>
                <a:gd name="connsiteY4" fmla="*/ 44373 h 3090711"/>
                <a:gd name="connsiteX5" fmla="*/ 1343272 w 9159987"/>
                <a:gd name="connsiteY5" fmla="*/ 88350 h 3090711"/>
                <a:gd name="connsiteX6" fmla="*/ 1544109 w 9159987"/>
                <a:gd name="connsiteY6" fmla="*/ 13167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105306 w 9159987"/>
                <a:gd name="connsiteY4" fmla="*/ 51516 h 3090711"/>
                <a:gd name="connsiteX5" fmla="*/ 1343272 w 9159987"/>
                <a:gd name="connsiteY5" fmla="*/ 88350 h 3090711"/>
                <a:gd name="connsiteX6" fmla="*/ 1544109 w 9159987"/>
                <a:gd name="connsiteY6" fmla="*/ 13167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105306 w 9159987"/>
                <a:gd name="connsiteY4" fmla="*/ 51516 h 3090711"/>
                <a:gd name="connsiteX5" fmla="*/ 1343272 w 9159987"/>
                <a:gd name="connsiteY5" fmla="*/ 88350 h 3090711"/>
                <a:gd name="connsiteX6" fmla="*/ 1544109 w 9159987"/>
                <a:gd name="connsiteY6" fmla="*/ 131671 h 3090711"/>
                <a:gd name="connsiteX7" fmla="*/ 1946378 w 9159987"/>
                <a:gd name="connsiteY7" fmla="*/ 201420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105306 w 9159987"/>
                <a:gd name="connsiteY4" fmla="*/ 51516 h 3090711"/>
                <a:gd name="connsiteX5" fmla="*/ 1343272 w 9159987"/>
                <a:gd name="connsiteY5" fmla="*/ 88350 h 3090711"/>
                <a:gd name="connsiteX6" fmla="*/ 1551252 w 9159987"/>
                <a:gd name="connsiteY6" fmla="*/ 129290 h 3090711"/>
                <a:gd name="connsiteX7" fmla="*/ 1946378 w 9159987"/>
                <a:gd name="connsiteY7" fmla="*/ 201420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343272 w 9159987"/>
                <a:gd name="connsiteY4" fmla="*/ 88350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38203 w 9159987"/>
                <a:gd name="connsiteY8" fmla="*/ 359387 h 3090711"/>
                <a:gd name="connsiteX9" fmla="*/ 3063834 w 9159987"/>
                <a:gd name="connsiteY9" fmla="*/ 400950 h 3090711"/>
                <a:gd name="connsiteX10" fmla="*/ 3331029 w 9159987"/>
                <a:gd name="connsiteY10" fmla="*/ 448452 h 3090711"/>
                <a:gd name="connsiteX11" fmla="*/ 3758541 w 9159987"/>
                <a:gd name="connsiteY11" fmla="*/ 525641 h 3090711"/>
                <a:gd name="connsiteX12" fmla="*/ 4093431 w 9159987"/>
                <a:gd name="connsiteY12" fmla="*/ 583811 h 3090711"/>
                <a:gd name="connsiteX13" fmla="*/ 4566063 w 9159987"/>
                <a:gd name="connsiteY13" fmla="*/ 662207 h 3090711"/>
                <a:gd name="connsiteX14" fmla="*/ 4839195 w 9159987"/>
                <a:gd name="connsiteY14" fmla="*/ 703771 h 3090711"/>
                <a:gd name="connsiteX15" fmla="*/ 5088577 w 9159987"/>
                <a:gd name="connsiteY15" fmla="*/ 733459 h 3090711"/>
                <a:gd name="connsiteX16" fmla="*/ 5343896 w 9159987"/>
                <a:gd name="connsiteY16" fmla="*/ 763148 h 3090711"/>
                <a:gd name="connsiteX17" fmla="*/ 5858165 w 9159987"/>
                <a:gd name="connsiteY17" fmla="*/ 823433 h 3090711"/>
                <a:gd name="connsiteX18" fmla="*/ 6384546 w 9159987"/>
                <a:gd name="connsiteY18" fmla="*/ 852606 h 3090711"/>
                <a:gd name="connsiteX19" fmla="*/ 9151767 w 9159987"/>
                <a:gd name="connsiteY19" fmla="*/ 860638 h 3090711"/>
                <a:gd name="connsiteX20" fmla="*/ 9159987 w 9159987"/>
                <a:gd name="connsiteY20" fmla="*/ 3090711 h 3090711"/>
                <a:gd name="connsiteX21" fmla="*/ 0 w 9159987"/>
                <a:gd name="connsiteY21" fmla="*/ 3090711 h 3090711"/>
                <a:gd name="connsiteX22" fmla="*/ 0 w 9159987"/>
                <a:gd name="connsiteY22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343272 w 9159987"/>
                <a:gd name="connsiteY4" fmla="*/ 88350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38203 w 9159987"/>
                <a:gd name="connsiteY8" fmla="*/ 359387 h 3090711"/>
                <a:gd name="connsiteX9" fmla="*/ 3063834 w 9159987"/>
                <a:gd name="connsiteY9" fmla="*/ 400950 h 3090711"/>
                <a:gd name="connsiteX10" fmla="*/ 3331029 w 9159987"/>
                <a:gd name="connsiteY10" fmla="*/ 448452 h 3090711"/>
                <a:gd name="connsiteX11" fmla="*/ 3758541 w 9159987"/>
                <a:gd name="connsiteY11" fmla="*/ 525641 h 3090711"/>
                <a:gd name="connsiteX12" fmla="*/ 4093431 w 9159987"/>
                <a:gd name="connsiteY12" fmla="*/ 583811 h 3090711"/>
                <a:gd name="connsiteX13" fmla="*/ 4566063 w 9159987"/>
                <a:gd name="connsiteY13" fmla="*/ 662207 h 3090711"/>
                <a:gd name="connsiteX14" fmla="*/ 4839195 w 9159987"/>
                <a:gd name="connsiteY14" fmla="*/ 703771 h 3090711"/>
                <a:gd name="connsiteX15" fmla="*/ 5088577 w 9159987"/>
                <a:gd name="connsiteY15" fmla="*/ 733459 h 3090711"/>
                <a:gd name="connsiteX16" fmla="*/ 5343896 w 9159987"/>
                <a:gd name="connsiteY16" fmla="*/ 763148 h 3090711"/>
                <a:gd name="connsiteX17" fmla="*/ 5858165 w 9159987"/>
                <a:gd name="connsiteY17" fmla="*/ 823433 h 3090711"/>
                <a:gd name="connsiteX18" fmla="*/ 6384546 w 9159987"/>
                <a:gd name="connsiteY18" fmla="*/ 852606 h 3090711"/>
                <a:gd name="connsiteX19" fmla="*/ 9151767 w 9159987"/>
                <a:gd name="connsiteY19" fmla="*/ 860638 h 3090711"/>
                <a:gd name="connsiteX20" fmla="*/ 9159987 w 9159987"/>
                <a:gd name="connsiteY20" fmla="*/ 3090711 h 3090711"/>
                <a:gd name="connsiteX21" fmla="*/ 0 w 9159987"/>
                <a:gd name="connsiteY21" fmla="*/ 3090711 h 3090711"/>
                <a:gd name="connsiteX22" fmla="*/ 0 w 9159987"/>
                <a:gd name="connsiteY22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343272 w 9159987"/>
                <a:gd name="connsiteY4" fmla="*/ 88350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38203 w 9159987"/>
                <a:gd name="connsiteY8" fmla="*/ 359387 h 3090711"/>
                <a:gd name="connsiteX9" fmla="*/ 3063834 w 9159987"/>
                <a:gd name="connsiteY9" fmla="*/ 400950 h 3090711"/>
                <a:gd name="connsiteX10" fmla="*/ 3331029 w 9159987"/>
                <a:gd name="connsiteY10" fmla="*/ 448452 h 3090711"/>
                <a:gd name="connsiteX11" fmla="*/ 3758541 w 9159987"/>
                <a:gd name="connsiteY11" fmla="*/ 525641 h 3090711"/>
                <a:gd name="connsiteX12" fmla="*/ 4093431 w 9159987"/>
                <a:gd name="connsiteY12" fmla="*/ 583811 h 3090711"/>
                <a:gd name="connsiteX13" fmla="*/ 4566063 w 9159987"/>
                <a:gd name="connsiteY13" fmla="*/ 662207 h 3090711"/>
                <a:gd name="connsiteX14" fmla="*/ 4839195 w 9159987"/>
                <a:gd name="connsiteY14" fmla="*/ 703771 h 3090711"/>
                <a:gd name="connsiteX15" fmla="*/ 5088577 w 9159987"/>
                <a:gd name="connsiteY15" fmla="*/ 733459 h 3090711"/>
                <a:gd name="connsiteX16" fmla="*/ 5343896 w 9159987"/>
                <a:gd name="connsiteY16" fmla="*/ 763148 h 3090711"/>
                <a:gd name="connsiteX17" fmla="*/ 5858165 w 9159987"/>
                <a:gd name="connsiteY17" fmla="*/ 823433 h 3090711"/>
                <a:gd name="connsiteX18" fmla="*/ 6459702 w 9159987"/>
                <a:gd name="connsiteY18" fmla="*/ 862000 h 3090711"/>
                <a:gd name="connsiteX19" fmla="*/ 9151767 w 9159987"/>
                <a:gd name="connsiteY19" fmla="*/ 860638 h 3090711"/>
                <a:gd name="connsiteX20" fmla="*/ 9159987 w 9159987"/>
                <a:gd name="connsiteY20" fmla="*/ 3090711 h 3090711"/>
                <a:gd name="connsiteX21" fmla="*/ 0 w 9159987"/>
                <a:gd name="connsiteY21" fmla="*/ 3090711 h 3090711"/>
                <a:gd name="connsiteX22" fmla="*/ 0 w 9159987"/>
                <a:gd name="connsiteY22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343272 w 9159987"/>
                <a:gd name="connsiteY4" fmla="*/ 88350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38203 w 9159987"/>
                <a:gd name="connsiteY8" fmla="*/ 359387 h 3090711"/>
                <a:gd name="connsiteX9" fmla="*/ 3063834 w 9159987"/>
                <a:gd name="connsiteY9" fmla="*/ 400950 h 3090711"/>
                <a:gd name="connsiteX10" fmla="*/ 3331029 w 9159987"/>
                <a:gd name="connsiteY10" fmla="*/ 448452 h 3090711"/>
                <a:gd name="connsiteX11" fmla="*/ 3758541 w 9159987"/>
                <a:gd name="connsiteY11" fmla="*/ 525641 h 3090711"/>
                <a:gd name="connsiteX12" fmla="*/ 4093431 w 9159987"/>
                <a:gd name="connsiteY12" fmla="*/ 583811 h 3090711"/>
                <a:gd name="connsiteX13" fmla="*/ 4566063 w 9159987"/>
                <a:gd name="connsiteY13" fmla="*/ 662207 h 3090711"/>
                <a:gd name="connsiteX14" fmla="*/ 4839195 w 9159987"/>
                <a:gd name="connsiteY14" fmla="*/ 703771 h 3090711"/>
                <a:gd name="connsiteX15" fmla="*/ 5088577 w 9159987"/>
                <a:gd name="connsiteY15" fmla="*/ 733459 h 3090711"/>
                <a:gd name="connsiteX16" fmla="*/ 5343896 w 9159987"/>
                <a:gd name="connsiteY16" fmla="*/ 763148 h 3090711"/>
                <a:gd name="connsiteX17" fmla="*/ 5858165 w 9159987"/>
                <a:gd name="connsiteY17" fmla="*/ 823433 h 3090711"/>
                <a:gd name="connsiteX18" fmla="*/ 6459702 w 9159987"/>
                <a:gd name="connsiteY18" fmla="*/ 862000 h 3090711"/>
                <a:gd name="connsiteX19" fmla="*/ 9151767 w 9159987"/>
                <a:gd name="connsiteY19" fmla="*/ 860638 h 3090711"/>
                <a:gd name="connsiteX20" fmla="*/ 9159987 w 9159987"/>
                <a:gd name="connsiteY20" fmla="*/ 3090711 h 3090711"/>
                <a:gd name="connsiteX21" fmla="*/ 0 w 9159987"/>
                <a:gd name="connsiteY21" fmla="*/ 3090711 h 3090711"/>
                <a:gd name="connsiteX22" fmla="*/ 0 w 9159987"/>
                <a:gd name="connsiteY22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343272 w 9159987"/>
                <a:gd name="connsiteY4" fmla="*/ 88350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38203 w 9159987"/>
                <a:gd name="connsiteY8" fmla="*/ 359387 h 3090711"/>
                <a:gd name="connsiteX9" fmla="*/ 3063834 w 9159987"/>
                <a:gd name="connsiteY9" fmla="*/ 400950 h 3090711"/>
                <a:gd name="connsiteX10" fmla="*/ 3331029 w 9159987"/>
                <a:gd name="connsiteY10" fmla="*/ 448452 h 3090711"/>
                <a:gd name="connsiteX11" fmla="*/ 3758541 w 9159987"/>
                <a:gd name="connsiteY11" fmla="*/ 525641 h 3090711"/>
                <a:gd name="connsiteX12" fmla="*/ 4093431 w 9159987"/>
                <a:gd name="connsiteY12" fmla="*/ 583811 h 3090711"/>
                <a:gd name="connsiteX13" fmla="*/ 4566063 w 9159987"/>
                <a:gd name="connsiteY13" fmla="*/ 662207 h 3090711"/>
                <a:gd name="connsiteX14" fmla="*/ 4839195 w 9159987"/>
                <a:gd name="connsiteY14" fmla="*/ 703771 h 3090711"/>
                <a:gd name="connsiteX15" fmla="*/ 5088577 w 9159987"/>
                <a:gd name="connsiteY15" fmla="*/ 733459 h 3090711"/>
                <a:gd name="connsiteX16" fmla="*/ 5343896 w 9159987"/>
                <a:gd name="connsiteY16" fmla="*/ 763148 h 3090711"/>
                <a:gd name="connsiteX17" fmla="*/ 5858165 w 9159987"/>
                <a:gd name="connsiteY17" fmla="*/ 823433 h 3090711"/>
                <a:gd name="connsiteX18" fmla="*/ 6459702 w 9159987"/>
                <a:gd name="connsiteY18" fmla="*/ 862000 h 3090711"/>
                <a:gd name="connsiteX19" fmla="*/ 9151767 w 9159987"/>
                <a:gd name="connsiteY19" fmla="*/ 860638 h 3090711"/>
                <a:gd name="connsiteX20" fmla="*/ 9159987 w 9159987"/>
                <a:gd name="connsiteY20" fmla="*/ 3090711 h 3090711"/>
                <a:gd name="connsiteX21" fmla="*/ 0 w 9159987"/>
                <a:gd name="connsiteY21" fmla="*/ 3090711 h 3090711"/>
                <a:gd name="connsiteX22" fmla="*/ 0 w 9159987"/>
                <a:gd name="connsiteY22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343272 w 9159987"/>
                <a:gd name="connsiteY4" fmla="*/ 88350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38203 w 9159987"/>
                <a:gd name="connsiteY8" fmla="*/ 359387 h 3090711"/>
                <a:gd name="connsiteX9" fmla="*/ 3063834 w 9159987"/>
                <a:gd name="connsiteY9" fmla="*/ 400950 h 3090711"/>
                <a:gd name="connsiteX10" fmla="*/ 3331029 w 9159987"/>
                <a:gd name="connsiteY10" fmla="*/ 448452 h 3090711"/>
                <a:gd name="connsiteX11" fmla="*/ 3758541 w 9159987"/>
                <a:gd name="connsiteY11" fmla="*/ 525641 h 3090711"/>
                <a:gd name="connsiteX12" fmla="*/ 4093431 w 9159987"/>
                <a:gd name="connsiteY12" fmla="*/ 583811 h 3090711"/>
                <a:gd name="connsiteX13" fmla="*/ 4566063 w 9159987"/>
                <a:gd name="connsiteY13" fmla="*/ 662207 h 3090711"/>
                <a:gd name="connsiteX14" fmla="*/ 4839195 w 9159987"/>
                <a:gd name="connsiteY14" fmla="*/ 703771 h 3090711"/>
                <a:gd name="connsiteX15" fmla="*/ 5088577 w 9159987"/>
                <a:gd name="connsiteY15" fmla="*/ 733459 h 3090711"/>
                <a:gd name="connsiteX16" fmla="*/ 5343896 w 9159987"/>
                <a:gd name="connsiteY16" fmla="*/ 763148 h 3090711"/>
                <a:gd name="connsiteX17" fmla="*/ 5858165 w 9159987"/>
                <a:gd name="connsiteY17" fmla="*/ 823433 h 3090711"/>
                <a:gd name="connsiteX18" fmla="*/ 6459702 w 9159987"/>
                <a:gd name="connsiteY18" fmla="*/ 862000 h 3090711"/>
                <a:gd name="connsiteX19" fmla="*/ 9151767 w 9159987"/>
                <a:gd name="connsiteY19" fmla="*/ 860638 h 3090711"/>
                <a:gd name="connsiteX20" fmla="*/ 9159987 w 9159987"/>
                <a:gd name="connsiteY20" fmla="*/ 3090711 h 3090711"/>
                <a:gd name="connsiteX21" fmla="*/ 0 w 9159987"/>
                <a:gd name="connsiteY21" fmla="*/ 3090711 h 3090711"/>
                <a:gd name="connsiteX22" fmla="*/ 0 w 9159987"/>
                <a:gd name="connsiteY22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343272 w 9159987"/>
                <a:gd name="connsiteY4" fmla="*/ 88350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38203 w 9159987"/>
                <a:gd name="connsiteY8" fmla="*/ 359387 h 3090711"/>
                <a:gd name="connsiteX9" fmla="*/ 3063834 w 9159987"/>
                <a:gd name="connsiteY9" fmla="*/ 400950 h 3090711"/>
                <a:gd name="connsiteX10" fmla="*/ 3331029 w 9159987"/>
                <a:gd name="connsiteY10" fmla="*/ 448452 h 3090711"/>
                <a:gd name="connsiteX11" fmla="*/ 3758541 w 9159987"/>
                <a:gd name="connsiteY11" fmla="*/ 525641 h 3090711"/>
                <a:gd name="connsiteX12" fmla="*/ 4093431 w 9159987"/>
                <a:gd name="connsiteY12" fmla="*/ 583811 h 3090711"/>
                <a:gd name="connsiteX13" fmla="*/ 4566063 w 9159987"/>
                <a:gd name="connsiteY13" fmla="*/ 662207 h 3090711"/>
                <a:gd name="connsiteX14" fmla="*/ 4839195 w 9159987"/>
                <a:gd name="connsiteY14" fmla="*/ 703771 h 3090711"/>
                <a:gd name="connsiteX15" fmla="*/ 5088577 w 9159987"/>
                <a:gd name="connsiteY15" fmla="*/ 733459 h 3090711"/>
                <a:gd name="connsiteX16" fmla="*/ 5343896 w 9159987"/>
                <a:gd name="connsiteY16" fmla="*/ 763148 h 3090711"/>
                <a:gd name="connsiteX17" fmla="*/ 5858165 w 9159987"/>
                <a:gd name="connsiteY17" fmla="*/ 823433 h 3090711"/>
                <a:gd name="connsiteX18" fmla="*/ 6459702 w 9159987"/>
                <a:gd name="connsiteY18" fmla="*/ 862000 h 3090711"/>
                <a:gd name="connsiteX19" fmla="*/ 9151767 w 9159987"/>
                <a:gd name="connsiteY19" fmla="*/ 860638 h 3090711"/>
                <a:gd name="connsiteX20" fmla="*/ 9159987 w 9159987"/>
                <a:gd name="connsiteY20" fmla="*/ 3090711 h 3090711"/>
                <a:gd name="connsiteX21" fmla="*/ 0 w 9159987"/>
                <a:gd name="connsiteY21" fmla="*/ 3090711 h 3090711"/>
                <a:gd name="connsiteX22" fmla="*/ 0 w 9159987"/>
                <a:gd name="connsiteY22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262885 w 9159987"/>
                <a:gd name="connsiteY4" fmla="*/ 78301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38203 w 9159987"/>
                <a:gd name="connsiteY8" fmla="*/ 359387 h 3090711"/>
                <a:gd name="connsiteX9" fmla="*/ 3063834 w 9159987"/>
                <a:gd name="connsiteY9" fmla="*/ 400950 h 3090711"/>
                <a:gd name="connsiteX10" fmla="*/ 3331029 w 9159987"/>
                <a:gd name="connsiteY10" fmla="*/ 448452 h 3090711"/>
                <a:gd name="connsiteX11" fmla="*/ 3758541 w 9159987"/>
                <a:gd name="connsiteY11" fmla="*/ 525641 h 3090711"/>
                <a:gd name="connsiteX12" fmla="*/ 4093431 w 9159987"/>
                <a:gd name="connsiteY12" fmla="*/ 583811 h 3090711"/>
                <a:gd name="connsiteX13" fmla="*/ 4566063 w 9159987"/>
                <a:gd name="connsiteY13" fmla="*/ 662207 h 3090711"/>
                <a:gd name="connsiteX14" fmla="*/ 4839195 w 9159987"/>
                <a:gd name="connsiteY14" fmla="*/ 703771 h 3090711"/>
                <a:gd name="connsiteX15" fmla="*/ 5088577 w 9159987"/>
                <a:gd name="connsiteY15" fmla="*/ 733459 h 3090711"/>
                <a:gd name="connsiteX16" fmla="*/ 5343896 w 9159987"/>
                <a:gd name="connsiteY16" fmla="*/ 763148 h 3090711"/>
                <a:gd name="connsiteX17" fmla="*/ 5858165 w 9159987"/>
                <a:gd name="connsiteY17" fmla="*/ 823433 h 3090711"/>
                <a:gd name="connsiteX18" fmla="*/ 6459702 w 9159987"/>
                <a:gd name="connsiteY18" fmla="*/ 862000 h 3090711"/>
                <a:gd name="connsiteX19" fmla="*/ 9151767 w 9159987"/>
                <a:gd name="connsiteY19" fmla="*/ 860638 h 3090711"/>
                <a:gd name="connsiteX20" fmla="*/ 9159987 w 9159987"/>
                <a:gd name="connsiteY20" fmla="*/ 3090711 h 3090711"/>
                <a:gd name="connsiteX21" fmla="*/ 0 w 9159987"/>
                <a:gd name="connsiteY21" fmla="*/ 3090711 h 3090711"/>
                <a:gd name="connsiteX22" fmla="*/ 0 w 9159987"/>
                <a:gd name="connsiteY22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262885 w 9159987"/>
                <a:gd name="connsiteY4" fmla="*/ 78301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18106 w 9159987"/>
                <a:gd name="connsiteY8" fmla="*/ 299097 h 3090711"/>
                <a:gd name="connsiteX9" fmla="*/ 3063834 w 9159987"/>
                <a:gd name="connsiteY9" fmla="*/ 400950 h 3090711"/>
                <a:gd name="connsiteX10" fmla="*/ 3331029 w 9159987"/>
                <a:gd name="connsiteY10" fmla="*/ 448452 h 3090711"/>
                <a:gd name="connsiteX11" fmla="*/ 3758541 w 9159987"/>
                <a:gd name="connsiteY11" fmla="*/ 525641 h 3090711"/>
                <a:gd name="connsiteX12" fmla="*/ 4093431 w 9159987"/>
                <a:gd name="connsiteY12" fmla="*/ 583811 h 3090711"/>
                <a:gd name="connsiteX13" fmla="*/ 4566063 w 9159987"/>
                <a:gd name="connsiteY13" fmla="*/ 662207 h 3090711"/>
                <a:gd name="connsiteX14" fmla="*/ 4839195 w 9159987"/>
                <a:gd name="connsiteY14" fmla="*/ 703771 h 3090711"/>
                <a:gd name="connsiteX15" fmla="*/ 5088577 w 9159987"/>
                <a:gd name="connsiteY15" fmla="*/ 733459 h 3090711"/>
                <a:gd name="connsiteX16" fmla="*/ 5343896 w 9159987"/>
                <a:gd name="connsiteY16" fmla="*/ 763148 h 3090711"/>
                <a:gd name="connsiteX17" fmla="*/ 5858165 w 9159987"/>
                <a:gd name="connsiteY17" fmla="*/ 823433 h 3090711"/>
                <a:gd name="connsiteX18" fmla="*/ 6459702 w 9159987"/>
                <a:gd name="connsiteY18" fmla="*/ 862000 h 3090711"/>
                <a:gd name="connsiteX19" fmla="*/ 9151767 w 9159987"/>
                <a:gd name="connsiteY19" fmla="*/ 860638 h 3090711"/>
                <a:gd name="connsiteX20" fmla="*/ 9159987 w 9159987"/>
                <a:gd name="connsiteY20" fmla="*/ 3090711 h 3090711"/>
                <a:gd name="connsiteX21" fmla="*/ 0 w 9159987"/>
                <a:gd name="connsiteY21" fmla="*/ 3090711 h 3090711"/>
                <a:gd name="connsiteX22" fmla="*/ 0 w 9159987"/>
                <a:gd name="connsiteY22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262885 w 9159987"/>
                <a:gd name="connsiteY4" fmla="*/ 78301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18106 w 9159987"/>
                <a:gd name="connsiteY8" fmla="*/ 299097 h 3090711"/>
                <a:gd name="connsiteX9" fmla="*/ 3331029 w 9159987"/>
                <a:gd name="connsiteY9" fmla="*/ 448452 h 3090711"/>
                <a:gd name="connsiteX10" fmla="*/ 3758541 w 9159987"/>
                <a:gd name="connsiteY10" fmla="*/ 525641 h 3090711"/>
                <a:gd name="connsiteX11" fmla="*/ 4093431 w 9159987"/>
                <a:gd name="connsiteY11" fmla="*/ 583811 h 3090711"/>
                <a:gd name="connsiteX12" fmla="*/ 4566063 w 9159987"/>
                <a:gd name="connsiteY12" fmla="*/ 662207 h 3090711"/>
                <a:gd name="connsiteX13" fmla="*/ 4839195 w 9159987"/>
                <a:gd name="connsiteY13" fmla="*/ 703771 h 3090711"/>
                <a:gd name="connsiteX14" fmla="*/ 5088577 w 9159987"/>
                <a:gd name="connsiteY14" fmla="*/ 733459 h 3090711"/>
                <a:gd name="connsiteX15" fmla="*/ 5343896 w 9159987"/>
                <a:gd name="connsiteY15" fmla="*/ 763148 h 3090711"/>
                <a:gd name="connsiteX16" fmla="*/ 5858165 w 9159987"/>
                <a:gd name="connsiteY16" fmla="*/ 823433 h 3090711"/>
                <a:gd name="connsiteX17" fmla="*/ 6459702 w 9159987"/>
                <a:gd name="connsiteY17" fmla="*/ 862000 h 3090711"/>
                <a:gd name="connsiteX18" fmla="*/ 9151767 w 9159987"/>
                <a:gd name="connsiteY18" fmla="*/ 860638 h 3090711"/>
                <a:gd name="connsiteX19" fmla="*/ 9159987 w 9159987"/>
                <a:gd name="connsiteY19" fmla="*/ 3090711 h 3090711"/>
                <a:gd name="connsiteX20" fmla="*/ 0 w 9159987"/>
                <a:gd name="connsiteY20" fmla="*/ 3090711 h 3090711"/>
                <a:gd name="connsiteX21" fmla="*/ 0 w 9159987"/>
                <a:gd name="connsiteY21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262885 w 9159987"/>
                <a:gd name="connsiteY4" fmla="*/ 78301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297419 w 9159987"/>
                <a:gd name="connsiteY7" fmla="*/ 169838 h 3090711"/>
                <a:gd name="connsiteX8" fmla="*/ 2818106 w 9159987"/>
                <a:gd name="connsiteY8" fmla="*/ 299097 h 3090711"/>
                <a:gd name="connsiteX9" fmla="*/ 3331029 w 9159987"/>
                <a:gd name="connsiteY9" fmla="*/ 448452 h 3090711"/>
                <a:gd name="connsiteX10" fmla="*/ 3758541 w 9159987"/>
                <a:gd name="connsiteY10" fmla="*/ 525641 h 3090711"/>
                <a:gd name="connsiteX11" fmla="*/ 4093431 w 9159987"/>
                <a:gd name="connsiteY11" fmla="*/ 583811 h 3090711"/>
                <a:gd name="connsiteX12" fmla="*/ 4566063 w 9159987"/>
                <a:gd name="connsiteY12" fmla="*/ 662207 h 3090711"/>
                <a:gd name="connsiteX13" fmla="*/ 4839195 w 9159987"/>
                <a:gd name="connsiteY13" fmla="*/ 703771 h 3090711"/>
                <a:gd name="connsiteX14" fmla="*/ 5088577 w 9159987"/>
                <a:gd name="connsiteY14" fmla="*/ 733459 h 3090711"/>
                <a:gd name="connsiteX15" fmla="*/ 5343896 w 9159987"/>
                <a:gd name="connsiteY15" fmla="*/ 763148 h 3090711"/>
                <a:gd name="connsiteX16" fmla="*/ 5858165 w 9159987"/>
                <a:gd name="connsiteY16" fmla="*/ 823433 h 3090711"/>
                <a:gd name="connsiteX17" fmla="*/ 6459702 w 9159987"/>
                <a:gd name="connsiteY17" fmla="*/ 862000 h 3090711"/>
                <a:gd name="connsiteX18" fmla="*/ 9151767 w 9159987"/>
                <a:gd name="connsiteY18" fmla="*/ 860638 h 3090711"/>
                <a:gd name="connsiteX19" fmla="*/ 9159987 w 9159987"/>
                <a:gd name="connsiteY19" fmla="*/ 3090711 h 3090711"/>
                <a:gd name="connsiteX20" fmla="*/ 0 w 9159987"/>
                <a:gd name="connsiteY20" fmla="*/ 3090711 h 3090711"/>
                <a:gd name="connsiteX21" fmla="*/ 0 w 9159987"/>
                <a:gd name="connsiteY21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262885 w 9159987"/>
                <a:gd name="connsiteY4" fmla="*/ 78301 h 3090711"/>
                <a:gd name="connsiteX5" fmla="*/ 1551252 w 9159987"/>
                <a:gd name="connsiteY5" fmla="*/ 129290 h 3090711"/>
                <a:gd name="connsiteX6" fmla="*/ 1916233 w 9159987"/>
                <a:gd name="connsiteY6" fmla="*/ 70792 h 3090711"/>
                <a:gd name="connsiteX7" fmla="*/ 2297419 w 9159987"/>
                <a:gd name="connsiteY7" fmla="*/ 169838 h 3090711"/>
                <a:gd name="connsiteX8" fmla="*/ 2818106 w 9159987"/>
                <a:gd name="connsiteY8" fmla="*/ 299097 h 3090711"/>
                <a:gd name="connsiteX9" fmla="*/ 3331029 w 9159987"/>
                <a:gd name="connsiteY9" fmla="*/ 448452 h 3090711"/>
                <a:gd name="connsiteX10" fmla="*/ 3758541 w 9159987"/>
                <a:gd name="connsiteY10" fmla="*/ 525641 h 3090711"/>
                <a:gd name="connsiteX11" fmla="*/ 4093431 w 9159987"/>
                <a:gd name="connsiteY11" fmla="*/ 583811 h 3090711"/>
                <a:gd name="connsiteX12" fmla="*/ 4566063 w 9159987"/>
                <a:gd name="connsiteY12" fmla="*/ 662207 h 3090711"/>
                <a:gd name="connsiteX13" fmla="*/ 4839195 w 9159987"/>
                <a:gd name="connsiteY13" fmla="*/ 703771 h 3090711"/>
                <a:gd name="connsiteX14" fmla="*/ 5088577 w 9159987"/>
                <a:gd name="connsiteY14" fmla="*/ 733459 h 3090711"/>
                <a:gd name="connsiteX15" fmla="*/ 5343896 w 9159987"/>
                <a:gd name="connsiteY15" fmla="*/ 763148 h 3090711"/>
                <a:gd name="connsiteX16" fmla="*/ 5858165 w 9159987"/>
                <a:gd name="connsiteY16" fmla="*/ 823433 h 3090711"/>
                <a:gd name="connsiteX17" fmla="*/ 6459702 w 9159987"/>
                <a:gd name="connsiteY17" fmla="*/ 862000 h 3090711"/>
                <a:gd name="connsiteX18" fmla="*/ 9151767 w 9159987"/>
                <a:gd name="connsiteY18" fmla="*/ 860638 h 3090711"/>
                <a:gd name="connsiteX19" fmla="*/ 9159987 w 9159987"/>
                <a:gd name="connsiteY19" fmla="*/ 3090711 h 3090711"/>
                <a:gd name="connsiteX20" fmla="*/ 0 w 9159987"/>
                <a:gd name="connsiteY20" fmla="*/ 3090711 h 3090711"/>
                <a:gd name="connsiteX21" fmla="*/ 0 w 9159987"/>
                <a:gd name="connsiteY21" fmla="*/ 3127 h 3090711"/>
                <a:gd name="connsiteX0" fmla="*/ 5938 w 9159987"/>
                <a:gd name="connsiteY0" fmla="*/ 4466 h 3092050"/>
                <a:gd name="connsiteX1" fmla="*/ 302096 w 9159987"/>
                <a:gd name="connsiteY1" fmla="*/ 1339 h 3092050"/>
                <a:gd name="connsiteX2" fmla="*/ 598418 w 9159987"/>
                <a:gd name="connsiteY2" fmla="*/ 12007 h 3092050"/>
                <a:gd name="connsiteX3" fmla="*/ 883129 w 9159987"/>
                <a:gd name="connsiteY3" fmla="*/ 29104 h 3092050"/>
                <a:gd name="connsiteX4" fmla="*/ 1262885 w 9159987"/>
                <a:gd name="connsiteY4" fmla="*/ 79640 h 3092050"/>
                <a:gd name="connsiteX5" fmla="*/ 1551252 w 9159987"/>
                <a:gd name="connsiteY5" fmla="*/ 0 h 3092050"/>
                <a:gd name="connsiteX6" fmla="*/ 1916233 w 9159987"/>
                <a:gd name="connsiteY6" fmla="*/ 72131 h 3092050"/>
                <a:gd name="connsiteX7" fmla="*/ 2297419 w 9159987"/>
                <a:gd name="connsiteY7" fmla="*/ 171177 h 3092050"/>
                <a:gd name="connsiteX8" fmla="*/ 2818106 w 9159987"/>
                <a:gd name="connsiteY8" fmla="*/ 300436 h 3092050"/>
                <a:gd name="connsiteX9" fmla="*/ 3331029 w 9159987"/>
                <a:gd name="connsiteY9" fmla="*/ 449791 h 3092050"/>
                <a:gd name="connsiteX10" fmla="*/ 3758541 w 9159987"/>
                <a:gd name="connsiteY10" fmla="*/ 526980 h 3092050"/>
                <a:gd name="connsiteX11" fmla="*/ 4093431 w 9159987"/>
                <a:gd name="connsiteY11" fmla="*/ 585150 h 3092050"/>
                <a:gd name="connsiteX12" fmla="*/ 4566063 w 9159987"/>
                <a:gd name="connsiteY12" fmla="*/ 663546 h 3092050"/>
                <a:gd name="connsiteX13" fmla="*/ 4839195 w 9159987"/>
                <a:gd name="connsiteY13" fmla="*/ 705110 h 3092050"/>
                <a:gd name="connsiteX14" fmla="*/ 5088577 w 9159987"/>
                <a:gd name="connsiteY14" fmla="*/ 734798 h 3092050"/>
                <a:gd name="connsiteX15" fmla="*/ 5343896 w 9159987"/>
                <a:gd name="connsiteY15" fmla="*/ 764487 h 3092050"/>
                <a:gd name="connsiteX16" fmla="*/ 5858165 w 9159987"/>
                <a:gd name="connsiteY16" fmla="*/ 824772 h 3092050"/>
                <a:gd name="connsiteX17" fmla="*/ 6459702 w 9159987"/>
                <a:gd name="connsiteY17" fmla="*/ 863339 h 3092050"/>
                <a:gd name="connsiteX18" fmla="*/ 9151767 w 9159987"/>
                <a:gd name="connsiteY18" fmla="*/ 861977 h 3092050"/>
                <a:gd name="connsiteX19" fmla="*/ 9159987 w 9159987"/>
                <a:gd name="connsiteY19" fmla="*/ 3092050 h 3092050"/>
                <a:gd name="connsiteX20" fmla="*/ 0 w 9159987"/>
                <a:gd name="connsiteY20" fmla="*/ 3092050 h 3092050"/>
                <a:gd name="connsiteX21" fmla="*/ 0 w 9159987"/>
                <a:gd name="connsiteY21" fmla="*/ 4466 h 3092050"/>
                <a:gd name="connsiteX0" fmla="*/ 5938 w 9159987"/>
                <a:gd name="connsiteY0" fmla="*/ 4466 h 3092050"/>
                <a:gd name="connsiteX1" fmla="*/ 302096 w 9159987"/>
                <a:gd name="connsiteY1" fmla="*/ 1339 h 3092050"/>
                <a:gd name="connsiteX2" fmla="*/ 598418 w 9159987"/>
                <a:gd name="connsiteY2" fmla="*/ 12007 h 3092050"/>
                <a:gd name="connsiteX3" fmla="*/ 883129 w 9159987"/>
                <a:gd name="connsiteY3" fmla="*/ 29104 h 3092050"/>
                <a:gd name="connsiteX4" fmla="*/ 1232740 w 9159987"/>
                <a:gd name="connsiteY4" fmla="*/ 19350 h 3092050"/>
                <a:gd name="connsiteX5" fmla="*/ 1551252 w 9159987"/>
                <a:gd name="connsiteY5" fmla="*/ 0 h 3092050"/>
                <a:gd name="connsiteX6" fmla="*/ 1916233 w 9159987"/>
                <a:gd name="connsiteY6" fmla="*/ 72131 h 3092050"/>
                <a:gd name="connsiteX7" fmla="*/ 2297419 w 9159987"/>
                <a:gd name="connsiteY7" fmla="*/ 171177 h 3092050"/>
                <a:gd name="connsiteX8" fmla="*/ 2818106 w 9159987"/>
                <a:gd name="connsiteY8" fmla="*/ 300436 h 3092050"/>
                <a:gd name="connsiteX9" fmla="*/ 3331029 w 9159987"/>
                <a:gd name="connsiteY9" fmla="*/ 449791 h 3092050"/>
                <a:gd name="connsiteX10" fmla="*/ 3758541 w 9159987"/>
                <a:gd name="connsiteY10" fmla="*/ 526980 h 3092050"/>
                <a:gd name="connsiteX11" fmla="*/ 4093431 w 9159987"/>
                <a:gd name="connsiteY11" fmla="*/ 585150 h 3092050"/>
                <a:gd name="connsiteX12" fmla="*/ 4566063 w 9159987"/>
                <a:gd name="connsiteY12" fmla="*/ 663546 h 3092050"/>
                <a:gd name="connsiteX13" fmla="*/ 4839195 w 9159987"/>
                <a:gd name="connsiteY13" fmla="*/ 705110 h 3092050"/>
                <a:gd name="connsiteX14" fmla="*/ 5088577 w 9159987"/>
                <a:gd name="connsiteY14" fmla="*/ 734798 h 3092050"/>
                <a:gd name="connsiteX15" fmla="*/ 5343896 w 9159987"/>
                <a:gd name="connsiteY15" fmla="*/ 764487 h 3092050"/>
                <a:gd name="connsiteX16" fmla="*/ 5858165 w 9159987"/>
                <a:gd name="connsiteY16" fmla="*/ 824772 h 3092050"/>
                <a:gd name="connsiteX17" fmla="*/ 6459702 w 9159987"/>
                <a:gd name="connsiteY17" fmla="*/ 863339 h 3092050"/>
                <a:gd name="connsiteX18" fmla="*/ 9151767 w 9159987"/>
                <a:gd name="connsiteY18" fmla="*/ 861977 h 3092050"/>
                <a:gd name="connsiteX19" fmla="*/ 9159987 w 9159987"/>
                <a:gd name="connsiteY19" fmla="*/ 3092050 h 3092050"/>
                <a:gd name="connsiteX20" fmla="*/ 0 w 9159987"/>
                <a:gd name="connsiteY20" fmla="*/ 3092050 h 3092050"/>
                <a:gd name="connsiteX21" fmla="*/ 0 w 9159987"/>
                <a:gd name="connsiteY21" fmla="*/ 4466 h 3092050"/>
                <a:gd name="connsiteX0" fmla="*/ 5938 w 9159987"/>
                <a:gd name="connsiteY0" fmla="*/ 4466 h 3092050"/>
                <a:gd name="connsiteX1" fmla="*/ 302096 w 9159987"/>
                <a:gd name="connsiteY1" fmla="*/ 1339 h 3092050"/>
                <a:gd name="connsiteX2" fmla="*/ 598418 w 9159987"/>
                <a:gd name="connsiteY2" fmla="*/ 12007 h 3092050"/>
                <a:gd name="connsiteX3" fmla="*/ 883129 w 9159987"/>
                <a:gd name="connsiteY3" fmla="*/ 29104 h 3092050"/>
                <a:gd name="connsiteX4" fmla="*/ 1232740 w 9159987"/>
                <a:gd name="connsiteY4" fmla="*/ 19350 h 3092050"/>
                <a:gd name="connsiteX5" fmla="*/ 1551252 w 9159987"/>
                <a:gd name="connsiteY5" fmla="*/ 0 h 3092050"/>
                <a:gd name="connsiteX6" fmla="*/ 1855943 w 9159987"/>
                <a:gd name="connsiteY6" fmla="*/ 122373 h 3092050"/>
                <a:gd name="connsiteX7" fmla="*/ 2297419 w 9159987"/>
                <a:gd name="connsiteY7" fmla="*/ 171177 h 3092050"/>
                <a:gd name="connsiteX8" fmla="*/ 2818106 w 9159987"/>
                <a:gd name="connsiteY8" fmla="*/ 300436 h 3092050"/>
                <a:gd name="connsiteX9" fmla="*/ 3331029 w 9159987"/>
                <a:gd name="connsiteY9" fmla="*/ 449791 h 3092050"/>
                <a:gd name="connsiteX10" fmla="*/ 3758541 w 9159987"/>
                <a:gd name="connsiteY10" fmla="*/ 526980 h 3092050"/>
                <a:gd name="connsiteX11" fmla="*/ 4093431 w 9159987"/>
                <a:gd name="connsiteY11" fmla="*/ 585150 h 3092050"/>
                <a:gd name="connsiteX12" fmla="*/ 4566063 w 9159987"/>
                <a:gd name="connsiteY12" fmla="*/ 663546 h 3092050"/>
                <a:gd name="connsiteX13" fmla="*/ 4839195 w 9159987"/>
                <a:gd name="connsiteY13" fmla="*/ 705110 h 3092050"/>
                <a:gd name="connsiteX14" fmla="*/ 5088577 w 9159987"/>
                <a:gd name="connsiteY14" fmla="*/ 734798 h 3092050"/>
                <a:gd name="connsiteX15" fmla="*/ 5343896 w 9159987"/>
                <a:gd name="connsiteY15" fmla="*/ 764487 h 3092050"/>
                <a:gd name="connsiteX16" fmla="*/ 5858165 w 9159987"/>
                <a:gd name="connsiteY16" fmla="*/ 824772 h 3092050"/>
                <a:gd name="connsiteX17" fmla="*/ 6459702 w 9159987"/>
                <a:gd name="connsiteY17" fmla="*/ 863339 h 3092050"/>
                <a:gd name="connsiteX18" fmla="*/ 9151767 w 9159987"/>
                <a:gd name="connsiteY18" fmla="*/ 861977 h 3092050"/>
                <a:gd name="connsiteX19" fmla="*/ 9159987 w 9159987"/>
                <a:gd name="connsiteY19" fmla="*/ 3092050 h 3092050"/>
                <a:gd name="connsiteX20" fmla="*/ 0 w 9159987"/>
                <a:gd name="connsiteY20" fmla="*/ 3092050 h 3092050"/>
                <a:gd name="connsiteX21" fmla="*/ 0 w 9159987"/>
                <a:gd name="connsiteY21" fmla="*/ 4466 h 3092050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232740 w 9159987"/>
                <a:gd name="connsiteY4" fmla="*/ 18011 h 3090711"/>
                <a:gd name="connsiteX5" fmla="*/ 1420624 w 9159987"/>
                <a:gd name="connsiteY5" fmla="*/ 58951 h 3090711"/>
                <a:gd name="connsiteX6" fmla="*/ 1855943 w 9159987"/>
                <a:gd name="connsiteY6" fmla="*/ 121034 h 3090711"/>
                <a:gd name="connsiteX7" fmla="*/ 2297419 w 9159987"/>
                <a:gd name="connsiteY7" fmla="*/ 169838 h 3090711"/>
                <a:gd name="connsiteX8" fmla="*/ 2818106 w 9159987"/>
                <a:gd name="connsiteY8" fmla="*/ 299097 h 3090711"/>
                <a:gd name="connsiteX9" fmla="*/ 3331029 w 9159987"/>
                <a:gd name="connsiteY9" fmla="*/ 448452 h 3090711"/>
                <a:gd name="connsiteX10" fmla="*/ 3758541 w 9159987"/>
                <a:gd name="connsiteY10" fmla="*/ 525641 h 3090711"/>
                <a:gd name="connsiteX11" fmla="*/ 4093431 w 9159987"/>
                <a:gd name="connsiteY11" fmla="*/ 583811 h 3090711"/>
                <a:gd name="connsiteX12" fmla="*/ 4566063 w 9159987"/>
                <a:gd name="connsiteY12" fmla="*/ 662207 h 3090711"/>
                <a:gd name="connsiteX13" fmla="*/ 4839195 w 9159987"/>
                <a:gd name="connsiteY13" fmla="*/ 703771 h 3090711"/>
                <a:gd name="connsiteX14" fmla="*/ 5088577 w 9159987"/>
                <a:gd name="connsiteY14" fmla="*/ 733459 h 3090711"/>
                <a:gd name="connsiteX15" fmla="*/ 5343896 w 9159987"/>
                <a:gd name="connsiteY15" fmla="*/ 763148 h 3090711"/>
                <a:gd name="connsiteX16" fmla="*/ 5858165 w 9159987"/>
                <a:gd name="connsiteY16" fmla="*/ 823433 h 3090711"/>
                <a:gd name="connsiteX17" fmla="*/ 6459702 w 9159987"/>
                <a:gd name="connsiteY17" fmla="*/ 862000 h 3090711"/>
                <a:gd name="connsiteX18" fmla="*/ 9151767 w 9159987"/>
                <a:gd name="connsiteY18" fmla="*/ 860638 h 3090711"/>
                <a:gd name="connsiteX19" fmla="*/ 9159987 w 9159987"/>
                <a:gd name="connsiteY19" fmla="*/ 3090711 h 3090711"/>
                <a:gd name="connsiteX20" fmla="*/ 0 w 9159987"/>
                <a:gd name="connsiteY20" fmla="*/ 3090711 h 3090711"/>
                <a:gd name="connsiteX21" fmla="*/ 0 w 9159987"/>
                <a:gd name="connsiteY21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20624 w 9159987"/>
                <a:gd name="connsiteY4" fmla="*/ 58951 h 3090711"/>
                <a:gd name="connsiteX5" fmla="*/ 1855943 w 9159987"/>
                <a:gd name="connsiteY5" fmla="*/ 121034 h 3090711"/>
                <a:gd name="connsiteX6" fmla="*/ 2297419 w 9159987"/>
                <a:gd name="connsiteY6" fmla="*/ 169838 h 3090711"/>
                <a:gd name="connsiteX7" fmla="*/ 2818106 w 9159987"/>
                <a:gd name="connsiteY7" fmla="*/ 299097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20624 w 9159987"/>
                <a:gd name="connsiteY4" fmla="*/ 58951 h 3090711"/>
                <a:gd name="connsiteX5" fmla="*/ 1855943 w 9159987"/>
                <a:gd name="connsiteY5" fmla="*/ 121034 h 3090711"/>
                <a:gd name="connsiteX6" fmla="*/ 2287371 w 9159987"/>
                <a:gd name="connsiteY6" fmla="*/ 199983 h 3090711"/>
                <a:gd name="connsiteX7" fmla="*/ 2818106 w 9159987"/>
                <a:gd name="connsiteY7" fmla="*/ 299097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20624 w 9159987"/>
                <a:gd name="connsiteY4" fmla="*/ 58951 h 3090711"/>
                <a:gd name="connsiteX5" fmla="*/ 1835846 w 9159987"/>
                <a:gd name="connsiteY5" fmla="*/ 90889 h 3090711"/>
                <a:gd name="connsiteX6" fmla="*/ 2287371 w 9159987"/>
                <a:gd name="connsiteY6" fmla="*/ 199983 h 3090711"/>
                <a:gd name="connsiteX7" fmla="*/ 2818106 w 9159987"/>
                <a:gd name="connsiteY7" fmla="*/ 299097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20624 w 9159987"/>
                <a:gd name="connsiteY4" fmla="*/ 58951 h 3090711"/>
                <a:gd name="connsiteX5" fmla="*/ 1835846 w 9159987"/>
                <a:gd name="connsiteY5" fmla="*/ 100938 h 3090711"/>
                <a:gd name="connsiteX6" fmla="*/ 2287371 w 9159987"/>
                <a:gd name="connsiteY6" fmla="*/ 199983 h 3090711"/>
                <a:gd name="connsiteX7" fmla="*/ 2818106 w 9159987"/>
                <a:gd name="connsiteY7" fmla="*/ 299097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20624 w 9159987"/>
                <a:gd name="connsiteY4" fmla="*/ 58951 h 3090711"/>
                <a:gd name="connsiteX5" fmla="*/ 1835846 w 9159987"/>
                <a:gd name="connsiteY5" fmla="*/ 100938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20624 w 9159987"/>
                <a:gd name="connsiteY4" fmla="*/ 58951 h 3090711"/>
                <a:gd name="connsiteX5" fmla="*/ 1835846 w 9159987"/>
                <a:gd name="connsiteY5" fmla="*/ 100938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20624 w 9159987"/>
                <a:gd name="connsiteY4" fmla="*/ 58951 h 3090711"/>
                <a:gd name="connsiteX5" fmla="*/ 1835846 w 9159987"/>
                <a:gd name="connsiteY5" fmla="*/ 100938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20624 w 9159987"/>
                <a:gd name="connsiteY4" fmla="*/ 58951 h 3090711"/>
                <a:gd name="connsiteX5" fmla="*/ 1825798 w 9159987"/>
                <a:gd name="connsiteY5" fmla="*/ 131083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8243 w 9159987"/>
                <a:gd name="connsiteY4" fmla="*/ 68476 h 3090711"/>
                <a:gd name="connsiteX5" fmla="*/ 1825798 w 9159987"/>
                <a:gd name="connsiteY5" fmla="*/ 131083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8243 w 9159987"/>
                <a:gd name="connsiteY4" fmla="*/ 68476 h 3090711"/>
                <a:gd name="connsiteX5" fmla="*/ 1825798 w 9159987"/>
                <a:gd name="connsiteY5" fmla="*/ 131083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8243 w 9159987"/>
                <a:gd name="connsiteY4" fmla="*/ 68476 h 3090711"/>
                <a:gd name="connsiteX5" fmla="*/ 1825798 w 9159987"/>
                <a:gd name="connsiteY5" fmla="*/ 131083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25798 w 9159987"/>
                <a:gd name="connsiteY5" fmla="*/ 131083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7371 w 9159987"/>
                <a:gd name="connsiteY6" fmla="*/ 199983 h 3090711"/>
                <a:gd name="connsiteX7" fmla="*/ 2813343 w 9159987"/>
                <a:gd name="connsiteY7" fmla="*/ 326337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4989 w 9159987"/>
                <a:gd name="connsiteY6" fmla="*/ 207127 h 3090711"/>
                <a:gd name="connsiteX7" fmla="*/ 2813343 w 9159987"/>
                <a:gd name="connsiteY7" fmla="*/ 326337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4989 w 9159987"/>
                <a:gd name="connsiteY6" fmla="*/ 207127 h 3090711"/>
                <a:gd name="connsiteX7" fmla="*/ 2813343 w 9159987"/>
                <a:gd name="connsiteY7" fmla="*/ 326337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4989 w 9159987"/>
                <a:gd name="connsiteY6" fmla="*/ 207127 h 3090711"/>
                <a:gd name="connsiteX7" fmla="*/ 2813343 w 9159987"/>
                <a:gd name="connsiteY7" fmla="*/ 326337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4989 w 9159987"/>
                <a:gd name="connsiteY6" fmla="*/ 207127 h 3090711"/>
                <a:gd name="connsiteX7" fmla="*/ 2813343 w 9159987"/>
                <a:gd name="connsiteY7" fmla="*/ 326337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4989 w 9159987"/>
                <a:gd name="connsiteY6" fmla="*/ 207127 h 3090711"/>
                <a:gd name="connsiteX7" fmla="*/ 2813343 w 9159987"/>
                <a:gd name="connsiteY7" fmla="*/ 326337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4989 w 9159987"/>
                <a:gd name="connsiteY6" fmla="*/ 207127 h 3090711"/>
                <a:gd name="connsiteX7" fmla="*/ 2813343 w 9159987"/>
                <a:gd name="connsiteY7" fmla="*/ 326337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4989 w 9159987"/>
                <a:gd name="connsiteY6" fmla="*/ 207127 h 3090711"/>
                <a:gd name="connsiteX7" fmla="*/ 2813343 w 9159987"/>
                <a:gd name="connsiteY7" fmla="*/ 326337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4989 w 9159987"/>
                <a:gd name="connsiteY6" fmla="*/ 207127 h 3090711"/>
                <a:gd name="connsiteX7" fmla="*/ 2813343 w 9159987"/>
                <a:gd name="connsiteY7" fmla="*/ 326337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60658"/>
                <a:gd name="connsiteY0" fmla="*/ 3127 h 3090711"/>
                <a:gd name="connsiteX1" fmla="*/ 302096 w 9160658"/>
                <a:gd name="connsiteY1" fmla="*/ 0 h 3090711"/>
                <a:gd name="connsiteX2" fmla="*/ 598418 w 9160658"/>
                <a:gd name="connsiteY2" fmla="*/ 10668 h 3090711"/>
                <a:gd name="connsiteX3" fmla="*/ 883129 w 9160658"/>
                <a:gd name="connsiteY3" fmla="*/ 27765 h 3090711"/>
                <a:gd name="connsiteX4" fmla="*/ 1413480 w 9160658"/>
                <a:gd name="connsiteY4" fmla="*/ 78001 h 3090711"/>
                <a:gd name="connsiteX5" fmla="*/ 1816273 w 9160658"/>
                <a:gd name="connsiteY5" fmla="*/ 123939 h 3090711"/>
                <a:gd name="connsiteX6" fmla="*/ 2284989 w 9160658"/>
                <a:gd name="connsiteY6" fmla="*/ 207127 h 3090711"/>
                <a:gd name="connsiteX7" fmla="*/ 2813343 w 9160658"/>
                <a:gd name="connsiteY7" fmla="*/ 326337 h 3090711"/>
                <a:gd name="connsiteX8" fmla="*/ 3338173 w 9160658"/>
                <a:gd name="connsiteY8" fmla="*/ 438927 h 3090711"/>
                <a:gd name="connsiteX9" fmla="*/ 3758541 w 9160658"/>
                <a:gd name="connsiteY9" fmla="*/ 525641 h 3090711"/>
                <a:gd name="connsiteX10" fmla="*/ 4093431 w 9160658"/>
                <a:gd name="connsiteY10" fmla="*/ 583811 h 3090711"/>
                <a:gd name="connsiteX11" fmla="*/ 4566063 w 9160658"/>
                <a:gd name="connsiteY11" fmla="*/ 662207 h 3090711"/>
                <a:gd name="connsiteX12" fmla="*/ 4839195 w 9160658"/>
                <a:gd name="connsiteY12" fmla="*/ 703771 h 3090711"/>
                <a:gd name="connsiteX13" fmla="*/ 5088577 w 9160658"/>
                <a:gd name="connsiteY13" fmla="*/ 733459 h 3090711"/>
                <a:gd name="connsiteX14" fmla="*/ 5343896 w 9160658"/>
                <a:gd name="connsiteY14" fmla="*/ 763148 h 3090711"/>
                <a:gd name="connsiteX15" fmla="*/ 5858165 w 9160658"/>
                <a:gd name="connsiteY15" fmla="*/ 823433 h 3090711"/>
                <a:gd name="connsiteX16" fmla="*/ 6459702 w 9160658"/>
                <a:gd name="connsiteY16" fmla="*/ 862000 h 3090711"/>
                <a:gd name="connsiteX17" fmla="*/ 9159451 w 9160658"/>
                <a:gd name="connsiteY17" fmla="*/ 891374 h 3090711"/>
                <a:gd name="connsiteX18" fmla="*/ 9159987 w 9160658"/>
                <a:gd name="connsiteY18" fmla="*/ 3090711 h 3090711"/>
                <a:gd name="connsiteX19" fmla="*/ 0 w 9160658"/>
                <a:gd name="connsiteY19" fmla="*/ 3090711 h 3090711"/>
                <a:gd name="connsiteX20" fmla="*/ 0 w 9160658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858165 w 9167804"/>
                <a:gd name="connsiteY15" fmla="*/ 823433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858165 w 9167804"/>
                <a:gd name="connsiteY15" fmla="*/ 823433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965741 w 9167804"/>
                <a:gd name="connsiteY15" fmla="*/ 854169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6034897 w 9167804"/>
                <a:gd name="connsiteY15" fmla="*/ 861853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6034897 w 9167804"/>
                <a:gd name="connsiteY15" fmla="*/ 861853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6034897 w 9167804"/>
                <a:gd name="connsiteY15" fmla="*/ 838801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6034897 w 9167804"/>
                <a:gd name="connsiteY15" fmla="*/ 838801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6215872 w 9167804"/>
                <a:gd name="connsiteY15" fmla="*/ 845945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691997 w 9167804"/>
                <a:gd name="connsiteY15" fmla="*/ 814989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691997 w 9167804"/>
                <a:gd name="connsiteY15" fmla="*/ 814989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691997 w 9167804"/>
                <a:gd name="connsiteY15" fmla="*/ 814989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691997 w 9167804"/>
                <a:gd name="connsiteY15" fmla="*/ 814989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822966 w 9167804"/>
                <a:gd name="connsiteY15" fmla="*/ 841183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822966 w 9167804"/>
                <a:gd name="connsiteY15" fmla="*/ 841183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837254 w 9167804"/>
                <a:gd name="connsiteY15" fmla="*/ 822133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958698 w 9167804"/>
                <a:gd name="connsiteY15" fmla="*/ 834040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6459702 w 9167804"/>
                <a:gd name="connsiteY15" fmla="*/ 862000 h 3090711"/>
                <a:gd name="connsiteX16" fmla="*/ 9167135 w 9167804"/>
                <a:gd name="connsiteY16" fmla="*/ 868322 h 3090711"/>
                <a:gd name="connsiteX17" fmla="*/ 9159987 w 9167804"/>
                <a:gd name="connsiteY17" fmla="*/ 3090711 h 3090711"/>
                <a:gd name="connsiteX18" fmla="*/ 0 w 9167804"/>
                <a:gd name="connsiteY18" fmla="*/ 3090711 h 3090711"/>
                <a:gd name="connsiteX19" fmla="*/ 0 w 9167804"/>
                <a:gd name="connsiteY19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6459702 w 9167804"/>
                <a:gd name="connsiteY15" fmla="*/ 862000 h 3090711"/>
                <a:gd name="connsiteX16" fmla="*/ 9167135 w 9167804"/>
                <a:gd name="connsiteY16" fmla="*/ 868322 h 3090711"/>
                <a:gd name="connsiteX17" fmla="*/ 9159987 w 9167804"/>
                <a:gd name="connsiteY17" fmla="*/ 3090711 h 3090711"/>
                <a:gd name="connsiteX18" fmla="*/ 0 w 9167804"/>
                <a:gd name="connsiteY18" fmla="*/ 3090711 h 3090711"/>
                <a:gd name="connsiteX19" fmla="*/ 0 w 9167804"/>
                <a:gd name="connsiteY19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70292 h 3090711"/>
                <a:gd name="connsiteX15" fmla="*/ 6459702 w 9167804"/>
                <a:gd name="connsiteY15" fmla="*/ 862000 h 3090711"/>
                <a:gd name="connsiteX16" fmla="*/ 9167135 w 9167804"/>
                <a:gd name="connsiteY16" fmla="*/ 868322 h 3090711"/>
                <a:gd name="connsiteX17" fmla="*/ 9159987 w 9167804"/>
                <a:gd name="connsiteY17" fmla="*/ 3090711 h 3090711"/>
                <a:gd name="connsiteX18" fmla="*/ 0 w 9167804"/>
                <a:gd name="connsiteY18" fmla="*/ 3090711 h 3090711"/>
                <a:gd name="connsiteX19" fmla="*/ 0 w 9167804"/>
                <a:gd name="connsiteY19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70292 h 3090711"/>
                <a:gd name="connsiteX15" fmla="*/ 6459702 w 9167804"/>
                <a:gd name="connsiteY15" fmla="*/ 862000 h 3090711"/>
                <a:gd name="connsiteX16" fmla="*/ 9167135 w 9167804"/>
                <a:gd name="connsiteY16" fmla="*/ 868322 h 3090711"/>
                <a:gd name="connsiteX17" fmla="*/ 9159987 w 9167804"/>
                <a:gd name="connsiteY17" fmla="*/ 3090711 h 3090711"/>
                <a:gd name="connsiteX18" fmla="*/ 0 w 9167804"/>
                <a:gd name="connsiteY18" fmla="*/ 3090711 h 3090711"/>
                <a:gd name="connsiteX19" fmla="*/ 0 w 9167804"/>
                <a:gd name="connsiteY19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839195 w 9167804"/>
                <a:gd name="connsiteY11" fmla="*/ 703771 h 3090711"/>
                <a:gd name="connsiteX12" fmla="*/ 5088577 w 9167804"/>
                <a:gd name="connsiteY12" fmla="*/ 733459 h 3090711"/>
                <a:gd name="connsiteX13" fmla="*/ 5343896 w 9167804"/>
                <a:gd name="connsiteY13" fmla="*/ 770292 h 3090711"/>
                <a:gd name="connsiteX14" fmla="*/ 6459702 w 9167804"/>
                <a:gd name="connsiteY14" fmla="*/ 862000 h 3090711"/>
                <a:gd name="connsiteX15" fmla="*/ 9167135 w 9167804"/>
                <a:gd name="connsiteY15" fmla="*/ 868322 h 3090711"/>
                <a:gd name="connsiteX16" fmla="*/ 9159987 w 9167804"/>
                <a:gd name="connsiteY16" fmla="*/ 3090711 h 3090711"/>
                <a:gd name="connsiteX17" fmla="*/ 0 w 9167804"/>
                <a:gd name="connsiteY17" fmla="*/ 3090711 h 3090711"/>
                <a:gd name="connsiteX18" fmla="*/ 0 w 9167804"/>
                <a:gd name="connsiteY18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433588 w 9167804"/>
                <a:gd name="connsiteY10" fmla="*/ 638675 h 3090711"/>
                <a:gd name="connsiteX11" fmla="*/ 4839195 w 9167804"/>
                <a:gd name="connsiteY11" fmla="*/ 703771 h 3090711"/>
                <a:gd name="connsiteX12" fmla="*/ 5088577 w 9167804"/>
                <a:gd name="connsiteY12" fmla="*/ 733459 h 3090711"/>
                <a:gd name="connsiteX13" fmla="*/ 5343896 w 9167804"/>
                <a:gd name="connsiteY13" fmla="*/ 770292 h 3090711"/>
                <a:gd name="connsiteX14" fmla="*/ 6459702 w 9167804"/>
                <a:gd name="connsiteY14" fmla="*/ 862000 h 3090711"/>
                <a:gd name="connsiteX15" fmla="*/ 9167135 w 9167804"/>
                <a:gd name="connsiteY15" fmla="*/ 868322 h 3090711"/>
                <a:gd name="connsiteX16" fmla="*/ 9159987 w 9167804"/>
                <a:gd name="connsiteY16" fmla="*/ 3090711 h 3090711"/>
                <a:gd name="connsiteX17" fmla="*/ 0 w 9167804"/>
                <a:gd name="connsiteY17" fmla="*/ 3090711 h 3090711"/>
                <a:gd name="connsiteX18" fmla="*/ 0 w 9167804"/>
                <a:gd name="connsiteY18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433588 w 9167804"/>
                <a:gd name="connsiteY10" fmla="*/ 638675 h 3090711"/>
                <a:gd name="connsiteX11" fmla="*/ 5088577 w 9167804"/>
                <a:gd name="connsiteY11" fmla="*/ 733459 h 3090711"/>
                <a:gd name="connsiteX12" fmla="*/ 5343896 w 9167804"/>
                <a:gd name="connsiteY12" fmla="*/ 770292 h 3090711"/>
                <a:gd name="connsiteX13" fmla="*/ 6459702 w 9167804"/>
                <a:gd name="connsiteY13" fmla="*/ 862000 h 3090711"/>
                <a:gd name="connsiteX14" fmla="*/ 9167135 w 9167804"/>
                <a:gd name="connsiteY14" fmla="*/ 868322 h 3090711"/>
                <a:gd name="connsiteX15" fmla="*/ 9159987 w 9167804"/>
                <a:gd name="connsiteY15" fmla="*/ 3090711 h 3090711"/>
                <a:gd name="connsiteX16" fmla="*/ 0 w 9167804"/>
                <a:gd name="connsiteY16" fmla="*/ 3090711 h 3090711"/>
                <a:gd name="connsiteX17" fmla="*/ 0 w 9167804"/>
                <a:gd name="connsiteY17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3338173 w 9167804"/>
                <a:gd name="connsiteY7" fmla="*/ 438927 h 3090711"/>
                <a:gd name="connsiteX8" fmla="*/ 3758541 w 9167804"/>
                <a:gd name="connsiteY8" fmla="*/ 525641 h 3090711"/>
                <a:gd name="connsiteX9" fmla="*/ 4433588 w 9167804"/>
                <a:gd name="connsiteY9" fmla="*/ 638675 h 3090711"/>
                <a:gd name="connsiteX10" fmla="*/ 5088577 w 9167804"/>
                <a:gd name="connsiteY10" fmla="*/ 733459 h 3090711"/>
                <a:gd name="connsiteX11" fmla="*/ 5343896 w 9167804"/>
                <a:gd name="connsiteY11" fmla="*/ 770292 h 3090711"/>
                <a:gd name="connsiteX12" fmla="*/ 6459702 w 9167804"/>
                <a:gd name="connsiteY12" fmla="*/ 862000 h 3090711"/>
                <a:gd name="connsiteX13" fmla="*/ 9167135 w 9167804"/>
                <a:gd name="connsiteY13" fmla="*/ 868322 h 3090711"/>
                <a:gd name="connsiteX14" fmla="*/ 9159987 w 9167804"/>
                <a:gd name="connsiteY14" fmla="*/ 3090711 h 3090711"/>
                <a:gd name="connsiteX15" fmla="*/ 0 w 9167804"/>
                <a:gd name="connsiteY15" fmla="*/ 3090711 h 3090711"/>
                <a:gd name="connsiteX16" fmla="*/ 0 w 9167804"/>
                <a:gd name="connsiteY16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3338173 w 9167804"/>
                <a:gd name="connsiteY7" fmla="*/ 438927 h 3090711"/>
                <a:gd name="connsiteX8" fmla="*/ 4433588 w 9167804"/>
                <a:gd name="connsiteY8" fmla="*/ 638675 h 3090711"/>
                <a:gd name="connsiteX9" fmla="*/ 5088577 w 9167804"/>
                <a:gd name="connsiteY9" fmla="*/ 733459 h 3090711"/>
                <a:gd name="connsiteX10" fmla="*/ 5343896 w 9167804"/>
                <a:gd name="connsiteY10" fmla="*/ 770292 h 3090711"/>
                <a:gd name="connsiteX11" fmla="*/ 6459702 w 9167804"/>
                <a:gd name="connsiteY11" fmla="*/ 862000 h 3090711"/>
                <a:gd name="connsiteX12" fmla="*/ 9167135 w 9167804"/>
                <a:gd name="connsiteY12" fmla="*/ 868322 h 3090711"/>
                <a:gd name="connsiteX13" fmla="*/ 9159987 w 9167804"/>
                <a:gd name="connsiteY13" fmla="*/ 3090711 h 3090711"/>
                <a:gd name="connsiteX14" fmla="*/ 0 w 9167804"/>
                <a:gd name="connsiteY14" fmla="*/ 3090711 h 3090711"/>
                <a:gd name="connsiteX15" fmla="*/ 0 w 9167804"/>
                <a:gd name="connsiteY15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3338173 w 9167804"/>
                <a:gd name="connsiteY7" fmla="*/ 438927 h 3090711"/>
                <a:gd name="connsiteX8" fmla="*/ 4433588 w 9167804"/>
                <a:gd name="connsiteY8" fmla="*/ 638675 h 3090711"/>
                <a:gd name="connsiteX9" fmla="*/ 5088577 w 9167804"/>
                <a:gd name="connsiteY9" fmla="*/ 733459 h 3090711"/>
                <a:gd name="connsiteX10" fmla="*/ 5343896 w 9167804"/>
                <a:gd name="connsiteY10" fmla="*/ 770292 h 3090711"/>
                <a:gd name="connsiteX11" fmla="*/ 6459702 w 9167804"/>
                <a:gd name="connsiteY11" fmla="*/ 862000 h 3090711"/>
                <a:gd name="connsiteX12" fmla="*/ 9167135 w 9167804"/>
                <a:gd name="connsiteY12" fmla="*/ 868322 h 3090711"/>
                <a:gd name="connsiteX13" fmla="*/ 9159987 w 9167804"/>
                <a:gd name="connsiteY13" fmla="*/ 3090711 h 3090711"/>
                <a:gd name="connsiteX14" fmla="*/ 0 w 9167804"/>
                <a:gd name="connsiteY14" fmla="*/ 3090711 h 3090711"/>
                <a:gd name="connsiteX15" fmla="*/ 0 w 9167804"/>
                <a:gd name="connsiteY15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3338173 w 9167804"/>
                <a:gd name="connsiteY7" fmla="*/ 438927 h 3090711"/>
                <a:gd name="connsiteX8" fmla="*/ 4433588 w 9167804"/>
                <a:gd name="connsiteY8" fmla="*/ 638675 h 3090711"/>
                <a:gd name="connsiteX9" fmla="*/ 5088577 w 9167804"/>
                <a:gd name="connsiteY9" fmla="*/ 733459 h 3090711"/>
                <a:gd name="connsiteX10" fmla="*/ 6459702 w 9167804"/>
                <a:gd name="connsiteY10" fmla="*/ 862000 h 3090711"/>
                <a:gd name="connsiteX11" fmla="*/ 9167135 w 9167804"/>
                <a:gd name="connsiteY11" fmla="*/ 868322 h 3090711"/>
                <a:gd name="connsiteX12" fmla="*/ 9159987 w 9167804"/>
                <a:gd name="connsiteY12" fmla="*/ 3090711 h 3090711"/>
                <a:gd name="connsiteX13" fmla="*/ 0 w 9167804"/>
                <a:gd name="connsiteY13" fmla="*/ 3090711 h 3090711"/>
                <a:gd name="connsiteX14" fmla="*/ 0 w 9167804"/>
                <a:gd name="connsiteY14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3338173 w 9167804"/>
                <a:gd name="connsiteY7" fmla="*/ 438927 h 3090711"/>
                <a:gd name="connsiteX8" fmla="*/ 4433588 w 9167804"/>
                <a:gd name="connsiteY8" fmla="*/ 638675 h 3090711"/>
                <a:gd name="connsiteX9" fmla="*/ 5088577 w 9167804"/>
                <a:gd name="connsiteY9" fmla="*/ 733459 h 3090711"/>
                <a:gd name="connsiteX10" fmla="*/ 6459702 w 9167804"/>
                <a:gd name="connsiteY10" fmla="*/ 862000 h 3090711"/>
                <a:gd name="connsiteX11" fmla="*/ 9167135 w 9167804"/>
                <a:gd name="connsiteY11" fmla="*/ 868322 h 3090711"/>
                <a:gd name="connsiteX12" fmla="*/ 9159987 w 9167804"/>
                <a:gd name="connsiteY12" fmla="*/ 3090711 h 3090711"/>
                <a:gd name="connsiteX13" fmla="*/ 0 w 9167804"/>
                <a:gd name="connsiteY13" fmla="*/ 3090711 h 3090711"/>
                <a:gd name="connsiteX14" fmla="*/ 0 w 9167804"/>
                <a:gd name="connsiteY14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3338173 w 9167804"/>
                <a:gd name="connsiteY7" fmla="*/ 438927 h 3090711"/>
                <a:gd name="connsiteX8" fmla="*/ 4433588 w 9167804"/>
                <a:gd name="connsiteY8" fmla="*/ 638675 h 3090711"/>
                <a:gd name="connsiteX9" fmla="*/ 5088577 w 9167804"/>
                <a:gd name="connsiteY9" fmla="*/ 733459 h 3090711"/>
                <a:gd name="connsiteX10" fmla="*/ 6459702 w 9167804"/>
                <a:gd name="connsiteY10" fmla="*/ 862000 h 3090711"/>
                <a:gd name="connsiteX11" fmla="*/ 9167135 w 9167804"/>
                <a:gd name="connsiteY11" fmla="*/ 868322 h 3090711"/>
                <a:gd name="connsiteX12" fmla="*/ 9159987 w 9167804"/>
                <a:gd name="connsiteY12" fmla="*/ 3090711 h 3090711"/>
                <a:gd name="connsiteX13" fmla="*/ 0 w 9167804"/>
                <a:gd name="connsiteY13" fmla="*/ 3090711 h 3090711"/>
                <a:gd name="connsiteX14" fmla="*/ 0 w 9167804"/>
                <a:gd name="connsiteY14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3338173 w 9167804"/>
                <a:gd name="connsiteY7" fmla="*/ 438927 h 3090711"/>
                <a:gd name="connsiteX8" fmla="*/ 4433588 w 9167804"/>
                <a:gd name="connsiteY8" fmla="*/ 638675 h 3090711"/>
                <a:gd name="connsiteX9" fmla="*/ 5088577 w 9167804"/>
                <a:gd name="connsiteY9" fmla="*/ 733459 h 3090711"/>
                <a:gd name="connsiteX10" fmla="*/ 6454092 w 9167804"/>
                <a:gd name="connsiteY10" fmla="*/ 867610 h 3090711"/>
                <a:gd name="connsiteX11" fmla="*/ 9167135 w 9167804"/>
                <a:gd name="connsiteY11" fmla="*/ 868322 h 3090711"/>
                <a:gd name="connsiteX12" fmla="*/ 9159987 w 9167804"/>
                <a:gd name="connsiteY12" fmla="*/ 3090711 h 3090711"/>
                <a:gd name="connsiteX13" fmla="*/ 0 w 9167804"/>
                <a:gd name="connsiteY13" fmla="*/ 3090711 h 3090711"/>
                <a:gd name="connsiteX14" fmla="*/ 0 w 9167804"/>
                <a:gd name="connsiteY14" fmla="*/ 3127 h 309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167804" h="3090711">
                  <a:moveTo>
                    <a:pt x="5938" y="3127"/>
                  </a:moveTo>
                  <a:lnTo>
                    <a:pt x="302096" y="0"/>
                  </a:lnTo>
                  <a:lnTo>
                    <a:pt x="598418" y="10668"/>
                  </a:lnTo>
                  <a:lnTo>
                    <a:pt x="883129" y="27765"/>
                  </a:lnTo>
                  <a:lnTo>
                    <a:pt x="1413480" y="78001"/>
                  </a:lnTo>
                  <a:lnTo>
                    <a:pt x="1816273" y="123939"/>
                  </a:lnTo>
                  <a:cubicBezTo>
                    <a:pt x="2009024" y="154049"/>
                    <a:pt x="2104144" y="174635"/>
                    <a:pt x="2284989" y="207127"/>
                  </a:cubicBezTo>
                  <a:cubicBezTo>
                    <a:pt x="2538639" y="259625"/>
                    <a:pt x="3092581" y="385841"/>
                    <a:pt x="3338173" y="438927"/>
                  </a:cubicBezTo>
                  <a:lnTo>
                    <a:pt x="4433588" y="638675"/>
                  </a:lnTo>
                  <a:lnTo>
                    <a:pt x="5088577" y="733459"/>
                  </a:lnTo>
                  <a:cubicBezTo>
                    <a:pt x="5751775" y="836158"/>
                    <a:pt x="5997050" y="824763"/>
                    <a:pt x="6454092" y="867610"/>
                  </a:cubicBezTo>
                  <a:cubicBezTo>
                    <a:pt x="7091298" y="883948"/>
                    <a:pt x="8264657" y="866215"/>
                    <a:pt x="9167135" y="868322"/>
                  </a:cubicBezTo>
                  <a:cubicBezTo>
                    <a:pt x="9171093" y="1622405"/>
                    <a:pt x="9156029" y="2336628"/>
                    <a:pt x="9159987" y="3090711"/>
                  </a:cubicBezTo>
                  <a:lnTo>
                    <a:pt x="0" y="3090711"/>
                  </a:lnTo>
                  <a:lnTo>
                    <a:pt x="0" y="3127"/>
                  </a:lnTo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  <p:sp>
          <p:nvSpPr>
            <p:cNvPr id="15" name="Freeform 14"/>
            <p:cNvSpPr/>
            <p:nvPr userDrawn="1"/>
          </p:nvSpPr>
          <p:spPr>
            <a:xfrm>
              <a:off x="2578967" y="2109794"/>
              <a:ext cx="6573038" cy="747096"/>
            </a:xfrm>
            <a:custGeom>
              <a:avLst/>
              <a:gdLst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34607 w 5264290"/>
                <a:gd name="connsiteY9" fmla="*/ 259608 h 747096"/>
                <a:gd name="connsiteX10" fmla="*/ 349029 w 5264290"/>
                <a:gd name="connsiteY10" fmla="*/ 253839 h 747096"/>
                <a:gd name="connsiteX11" fmla="*/ 372106 w 5264290"/>
                <a:gd name="connsiteY11" fmla="*/ 242301 h 747096"/>
                <a:gd name="connsiteX12" fmla="*/ 409605 w 5264290"/>
                <a:gd name="connsiteY12" fmla="*/ 233648 h 747096"/>
                <a:gd name="connsiteX13" fmla="*/ 438450 w 5264290"/>
                <a:gd name="connsiteY13" fmla="*/ 222109 h 747096"/>
                <a:gd name="connsiteX14" fmla="*/ 478834 w 5264290"/>
                <a:gd name="connsiteY14" fmla="*/ 213456 h 747096"/>
                <a:gd name="connsiteX15" fmla="*/ 527871 w 5264290"/>
                <a:gd name="connsiteY15" fmla="*/ 196148 h 747096"/>
                <a:gd name="connsiteX16" fmla="*/ 576908 w 5264290"/>
                <a:gd name="connsiteY16" fmla="*/ 187495 h 747096"/>
                <a:gd name="connsiteX17" fmla="*/ 611523 w 5264290"/>
                <a:gd name="connsiteY17" fmla="*/ 178841 h 747096"/>
                <a:gd name="connsiteX18" fmla="*/ 651906 w 5264290"/>
                <a:gd name="connsiteY18" fmla="*/ 167303 h 747096"/>
                <a:gd name="connsiteX19" fmla="*/ 689405 w 5264290"/>
                <a:gd name="connsiteY19" fmla="*/ 161534 h 747096"/>
                <a:gd name="connsiteX20" fmla="*/ 729789 w 5264290"/>
                <a:gd name="connsiteY20" fmla="*/ 155765 h 747096"/>
                <a:gd name="connsiteX21" fmla="*/ 761519 w 5264290"/>
                <a:gd name="connsiteY21" fmla="*/ 147111 h 747096"/>
                <a:gd name="connsiteX22" fmla="*/ 799018 w 5264290"/>
                <a:gd name="connsiteY22" fmla="*/ 141342 h 747096"/>
                <a:gd name="connsiteX23" fmla="*/ 819210 w 5264290"/>
                <a:gd name="connsiteY23" fmla="*/ 138458 h 747096"/>
                <a:gd name="connsiteX24" fmla="*/ 856709 w 5264290"/>
                <a:gd name="connsiteY24" fmla="*/ 129804 h 747096"/>
                <a:gd name="connsiteX25" fmla="*/ 911515 w 5264290"/>
                <a:gd name="connsiteY25" fmla="*/ 124035 h 747096"/>
                <a:gd name="connsiteX26" fmla="*/ 954783 w 5264290"/>
                <a:gd name="connsiteY26" fmla="*/ 115381 h 747096"/>
                <a:gd name="connsiteX27" fmla="*/ 1003821 w 5264290"/>
                <a:gd name="connsiteY27" fmla="*/ 112497 h 747096"/>
                <a:gd name="connsiteX28" fmla="*/ 1038435 w 5264290"/>
                <a:gd name="connsiteY28" fmla="*/ 106728 h 747096"/>
                <a:gd name="connsiteX29" fmla="*/ 1078819 w 5264290"/>
                <a:gd name="connsiteY29" fmla="*/ 103843 h 747096"/>
                <a:gd name="connsiteX30" fmla="*/ 1145163 w 5264290"/>
                <a:gd name="connsiteY30" fmla="*/ 95189 h 747096"/>
                <a:gd name="connsiteX31" fmla="*/ 1243238 w 5264290"/>
                <a:gd name="connsiteY31" fmla="*/ 86536 h 747096"/>
                <a:gd name="connsiteX32" fmla="*/ 1375927 w 5264290"/>
                <a:gd name="connsiteY32" fmla="*/ 77882 h 747096"/>
                <a:gd name="connsiteX33" fmla="*/ 1574960 w 5264290"/>
                <a:gd name="connsiteY33" fmla="*/ 63460 h 747096"/>
                <a:gd name="connsiteX34" fmla="*/ 1794185 w 5264290"/>
                <a:gd name="connsiteY34" fmla="*/ 54806 h 747096"/>
                <a:gd name="connsiteX35" fmla="*/ 1996103 w 5264290"/>
                <a:gd name="connsiteY35" fmla="*/ 43268 h 747096"/>
                <a:gd name="connsiteX36" fmla="*/ 2172060 w 5264290"/>
                <a:gd name="connsiteY36" fmla="*/ 34614 h 747096"/>
                <a:gd name="connsiteX37" fmla="*/ 2399939 w 5264290"/>
                <a:gd name="connsiteY37" fmla="*/ 25960 h 747096"/>
                <a:gd name="connsiteX38" fmla="*/ 2723008 w 5264290"/>
                <a:gd name="connsiteY38" fmla="*/ 20191 h 747096"/>
                <a:gd name="connsiteX39" fmla="*/ 2858581 w 5264290"/>
                <a:gd name="connsiteY39" fmla="*/ 17307 h 747096"/>
                <a:gd name="connsiteX40" fmla="*/ 2985501 w 5264290"/>
                <a:gd name="connsiteY40" fmla="*/ 14422 h 747096"/>
                <a:gd name="connsiteX41" fmla="*/ 3115306 w 5264290"/>
                <a:gd name="connsiteY41" fmla="*/ 11538 h 747096"/>
                <a:gd name="connsiteX42" fmla="*/ 3294147 w 5264290"/>
                <a:gd name="connsiteY42" fmla="*/ 8653 h 747096"/>
                <a:gd name="connsiteX43" fmla="*/ 3464335 w 5264290"/>
                <a:gd name="connsiteY43" fmla="*/ 8653 h 747096"/>
                <a:gd name="connsiteX44" fmla="*/ 3669138 w 5264290"/>
                <a:gd name="connsiteY44" fmla="*/ 2884 h 747096"/>
                <a:gd name="connsiteX45" fmla="*/ 5264290 w 5264290"/>
                <a:gd name="connsiteY45" fmla="*/ 0 h 747096"/>
                <a:gd name="connsiteX46" fmla="*/ 5264290 w 5264290"/>
                <a:gd name="connsiteY46" fmla="*/ 744212 h 747096"/>
                <a:gd name="connsiteX47" fmla="*/ 3135498 w 5264290"/>
                <a:gd name="connsiteY47" fmla="*/ 747096 h 747096"/>
                <a:gd name="connsiteX48" fmla="*/ 3005693 w 5264290"/>
                <a:gd name="connsiteY48" fmla="*/ 744212 h 747096"/>
                <a:gd name="connsiteX49" fmla="*/ 2910503 w 5264290"/>
                <a:gd name="connsiteY49" fmla="*/ 747096 h 747096"/>
                <a:gd name="connsiteX50" fmla="*/ 2835505 w 5264290"/>
                <a:gd name="connsiteY50" fmla="*/ 747096 h 747096"/>
                <a:gd name="connsiteX51" fmla="*/ 2777814 w 5264290"/>
                <a:gd name="connsiteY51" fmla="*/ 744212 h 747096"/>
                <a:gd name="connsiteX52" fmla="*/ 2656664 w 5264290"/>
                <a:gd name="connsiteY52" fmla="*/ 741327 h 747096"/>
                <a:gd name="connsiteX53" fmla="*/ 2509552 w 5264290"/>
                <a:gd name="connsiteY53" fmla="*/ 741327 h 747096"/>
                <a:gd name="connsiteX54" fmla="*/ 2414362 w 5264290"/>
                <a:gd name="connsiteY54" fmla="*/ 735558 h 747096"/>
                <a:gd name="connsiteX55" fmla="*/ 2324941 w 5264290"/>
                <a:gd name="connsiteY55" fmla="*/ 729789 h 747096"/>
                <a:gd name="connsiteX56" fmla="*/ 2221098 w 5264290"/>
                <a:gd name="connsiteY56" fmla="*/ 724020 h 747096"/>
                <a:gd name="connsiteX57" fmla="*/ 2146099 w 5264290"/>
                <a:gd name="connsiteY57" fmla="*/ 718251 h 747096"/>
                <a:gd name="connsiteX58" fmla="*/ 2033602 w 5264290"/>
                <a:gd name="connsiteY58" fmla="*/ 706713 h 747096"/>
                <a:gd name="connsiteX59" fmla="*/ 1944181 w 5264290"/>
                <a:gd name="connsiteY59" fmla="*/ 695174 h 747096"/>
                <a:gd name="connsiteX60" fmla="*/ 1840338 w 5264290"/>
                <a:gd name="connsiteY60" fmla="*/ 686521 h 747096"/>
                <a:gd name="connsiteX61" fmla="*/ 1655727 w 5264290"/>
                <a:gd name="connsiteY61" fmla="*/ 669213 h 747096"/>
                <a:gd name="connsiteX62" fmla="*/ 1471116 w 5264290"/>
                <a:gd name="connsiteY62" fmla="*/ 649022 h 747096"/>
                <a:gd name="connsiteX63" fmla="*/ 1277852 w 5264290"/>
                <a:gd name="connsiteY63" fmla="*/ 631714 h 747096"/>
                <a:gd name="connsiteX64" fmla="*/ 1021128 w 5264290"/>
                <a:gd name="connsiteY64" fmla="*/ 602869 h 747096"/>
                <a:gd name="connsiteX65" fmla="*/ 775942 w 5264290"/>
                <a:gd name="connsiteY65" fmla="*/ 571139 h 747096"/>
                <a:gd name="connsiteX66" fmla="*/ 631715 w 5264290"/>
                <a:gd name="connsiteY66" fmla="*/ 548063 h 747096"/>
                <a:gd name="connsiteX67" fmla="*/ 496141 w 5264290"/>
                <a:gd name="connsiteY67" fmla="*/ 522102 h 747096"/>
                <a:gd name="connsiteX68" fmla="*/ 331722 w 5264290"/>
                <a:gd name="connsiteY68" fmla="*/ 496141 h 747096"/>
                <a:gd name="connsiteX69" fmla="*/ 126920 w 5264290"/>
                <a:gd name="connsiteY69" fmla="*/ 461526 h 747096"/>
                <a:gd name="connsiteX70" fmla="*/ 0 w 5264290"/>
                <a:gd name="connsiteY70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34607 w 5264290"/>
                <a:gd name="connsiteY9" fmla="*/ 259608 h 747096"/>
                <a:gd name="connsiteX10" fmla="*/ 349029 w 5264290"/>
                <a:gd name="connsiteY10" fmla="*/ 253839 h 747096"/>
                <a:gd name="connsiteX11" fmla="*/ 372106 w 5264290"/>
                <a:gd name="connsiteY11" fmla="*/ 242301 h 747096"/>
                <a:gd name="connsiteX12" fmla="*/ 409605 w 5264290"/>
                <a:gd name="connsiteY12" fmla="*/ 233648 h 747096"/>
                <a:gd name="connsiteX13" fmla="*/ 438450 w 5264290"/>
                <a:gd name="connsiteY13" fmla="*/ 222109 h 747096"/>
                <a:gd name="connsiteX14" fmla="*/ 478834 w 5264290"/>
                <a:gd name="connsiteY14" fmla="*/ 213456 h 747096"/>
                <a:gd name="connsiteX15" fmla="*/ 527871 w 5264290"/>
                <a:gd name="connsiteY15" fmla="*/ 196148 h 747096"/>
                <a:gd name="connsiteX16" fmla="*/ 576908 w 5264290"/>
                <a:gd name="connsiteY16" fmla="*/ 187495 h 747096"/>
                <a:gd name="connsiteX17" fmla="*/ 611523 w 5264290"/>
                <a:gd name="connsiteY17" fmla="*/ 178841 h 747096"/>
                <a:gd name="connsiteX18" fmla="*/ 651906 w 5264290"/>
                <a:gd name="connsiteY18" fmla="*/ 167303 h 747096"/>
                <a:gd name="connsiteX19" fmla="*/ 689405 w 5264290"/>
                <a:gd name="connsiteY19" fmla="*/ 161534 h 747096"/>
                <a:gd name="connsiteX20" fmla="*/ 729789 w 5264290"/>
                <a:gd name="connsiteY20" fmla="*/ 155765 h 747096"/>
                <a:gd name="connsiteX21" fmla="*/ 761519 w 5264290"/>
                <a:gd name="connsiteY21" fmla="*/ 147111 h 747096"/>
                <a:gd name="connsiteX22" fmla="*/ 799018 w 5264290"/>
                <a:gd name="connsiteY22" fmla="*/ 141342 h 747096"/>
                <a:gd name="connsiteX23" fmla="*/ 819210 w 5264290"/>
                <a:gd name="connsiteY23" fmla="*/ 138458 h 747096"/>
                <a:gd name="connsiteX24" fmla="*/ 856709 w 5264290"/>
                <a:gd name="connsiteY24" fmla="*/ 129804 h 747096"/>
                <a:gd name="connsiteX25" fmla="*/ 911515 w 5264290"/>
                <a:gd name="connsiteY25" fmla="*/ 124035 h 747096"/>
                <a:gd name="connsiteX26" fmla="*/ 1003821 w 5264290"/>
                <a:gd name="connsiteY26" fmla="*/ 112497 h 747096"/>
                <a:gd name="connsiteX27" fmla="*/ 1038435 w 5264290"/>
                <a:gd name="connsiteY27" fmla="*/ 106728 h 747096"/>
                <a:gd name="connsiteX28" fmla="*/ 1078819 w 5264290"/>
                <a:gd name="connsiteY28" fmla="*/ 103843 h 747096"/>
                <a:gd name="connsiteX29" fmla="*/ 1145163 w 5264290"/>
                <a:gd name="connsiteY29" fmla="*/ 95189 h 747096"/>
                <a:gd name="connsiteX30" fmla="*/ 1243238 w 5264290"/>
                <a:gd name="connsiteY30" fmla="*/ 86536 h 747096"/>
                <a:gd name="connsiteX31" fmla="*/ 1375927 w 5264290"/>
                <a:gd name="connsiteY31" fmla="*/ 77882 h 747096"/>
                <a:gd name="connsiteX32" fmla="*/ 1574960 w 5264290"/>
                <a:gd name="connsiteY32" fmla="*/ 63460 h 747096"/>
                <a:gd name="connsiteX33" fmla="*/ 1794185 w 5264290"/>
                <a:gd name="connsiteY33" fmla="*/ 54806 h 747096"/>
                <a:gd name="connsiteX34" fmla="*/ 1996103 w 5264290"/>
                <a:gd name="connsiteY34" fmla="*/ 43268 h 747096"/>
                <a:gd name="connsiteX35" fmla="*/ 2172060 w 5264290"/>
                <a:gd name="connsiteY35" fmla="*/ 34614 h 747096"/>
                <a:gd name="connsiteX36" fmla="*/ 2399939 w 5264290"/>
                <a:gd name="connsiteY36" fmla="*/ 25960 h 747096"/>
                <a:gd name="connsiteX37" fmla="*/ 2723008 w 5264290"/>
                <a:gd name="connsiteY37" fmla="*/ 20191 h 747096"/>
                <a:gd name="connsiteX38" fmla="*/ 2858581 w 5264290"/>
                <a:gd name="connsiteY38" fmla="*/ 17307 h 747096"/>
                <a:gd name="connsiteX39" fmla="*/ 2985501 w 5264290"/>
                <a:gd name="connsiteY39" fmla="*/ 14422 h 747096"/>
                <a:gd name="connsiteX40" fmla="*/ 3115306 w 5264290"/>
                <a:gd name="connsiteY40" fmla="*/ 11538 h 747096"/>
                <a:gd name="connsiteX41" fmla="*/ 3294147 w 5264290"/>
                <a:gd name="connsiteY41" fmla="*/ 8653 h 747096"/>
                <a:gd name="connsiteX42" fmla="*/ 3464335 w 5264290"/>
                <a:gd name="connsiteY42" fmla="*/ 8653 h 747096"/>
                <a:gd name="connsiteX43" fmla="*/ 3669138 w 5264290"/>
                <a:gd name="connsiteY43" fmla="*/ 2884 h 747096"/>
                <a:gd name="connsiteX44" fmla="*/ 5264290 w 5264290"/>
                <a:gd name="connsiteY44" fmla="*/ 0 h 747096"/>
                <a:gd name="connsiteX45" fmla="*/ 5264290 w 5264290"/>
                <a:gd name="connsiteY45" fmla="*/ 744212 h 747096"/>
                <a:gd name="connsiteX46" fmla="*/ 3135498 w 5264290"/>
                <a:gd name="connsiteY46" fmla="*/ 747096 h 747096"/>
                <a:gd name="connsiteX47" fmla="*/ 3005693 w 5264290"/>
                <a:gd name="connsiteY47" fmla="*/ 744212 h 747096"/>
                <a:gd name="connsiteX48" fmla="*/ 2910503 w 5264290"/>
                <a:gd name="connsiteY48" fmla="*/ 747096 h 747096"/>
                <a:gd name="connsiteX49" fmla="*/ 2835505 w 5264290"/>
                <a:gd name="connsiteY49" fmla="*/ 747096 h 747096"/>
                <a:gd name="connsiteX50" fmla="*/ 2777814 w 5264290"/>
                <a:gd name="connsiteY50" fmla="*/ 744212 h 747096"/>
                <a:gd name="connsiteX51" fmla="*/ 2656664 w 5264290"/>
                <a:gd name="connsiteY51" fmla="*/ 741327 h 747096"/>
                <a:gd name="connsiteX52" fmla="*/ 2509552 w 5264290"/>
                <a:gd name="connsiteY52" fmla="*/ 741327 h 747096"/>
                <a:gd name="connsiteX53" fmla="*/ 2414362 w 5264290"/>
                <a:gd name="connsiteY53" fmla="*/ 735558 h 747096"/>
                <a:gd name="connsiteX54" fmla="*/ 2324941 w 5264290"/>
                <a:gd name="connsiteY54" fmla="*/ 729789 h 747096"/>
                <a:gd name="connsiteX55" fmla="*/ 2221098 w 5264290"/>
                <a:gd name="connsiteY55" fmla="*/ 724020 h 747096"/>
                <a:gd name="connsiteX56" fmla="*/ 2146099 w 5264290"/>
                <a:gd name="connsiteY56" fmla="*/ 718251 h 747096"/>
                <a:gd name="connsiteX57" fmla="*/ 2033602 w 5264290"/>
                <a:gd name="connsiteY57" fmla="*/ 706713 h 747096"/>
                <a:gd name="connsiteX58" fmla="*/ 1944181 w 5264290"/>
                <a:gd name="connsiteY58" fmla="*/ 695174 h 747096"/>
                <a:gd name="connsiteX59" fmla="*/ 1840338 w 5264290"/>
                <a:gd name="connsiteY59" fmla="*/ 686521 h 747096"/>
                <a:gd name="connsiteX60" fmla="*/ 1655727 w 5264290"/>
                <a:gd name="connsiteY60" fmla="*/ 669213 h 747096"/>
                <a:gd name="connsiteX61" fmla="*/ 1471116 w 5264290"/>
                <a:gd name="connsiteY61" fmla="*/ 649022 h 747096"/>
                <a:gd name="connsiteX62" fmla="*/ 1277852 w 5264290"/>
                <a:gd name="connsiteY62" fmla="*/ 631714 h 747096"/>
                <a:gd name="connsiteX63" fmla="*/ 1021128 w 5264290"/>
                <a:gd name="connsiteY63" fmla="*/ 602869 h 747096"/>
                <a:gd name="connsiteX64" fmla="*/ 775942 w 5264290"/>
                <a:gd name="connsiteY64" fmla="*/ 571139 h 747096"/>
                <a:gd name="connsiteX65" fmla="*/ 631715 w 5264290"/>
                <a:gd name="connsiteY65" fmla="*/ 548063 h 747096"/>
                <a:gd name="connsiteX66" fmla="*/ 496141 w 5264290"/>
                <a:gd name="connsiteY66" fmla="*/ 522102 h 747096"/>
                <a:gd name="connsiteX67" fmla="*/ 331722 w 5264290"/>
                <a:gd name="connsiteY67" fmla="*/ 496141 h 747096"/>
                <a:gd name="connsiteX68" fmla="*/ 126920 w 5264290"/>
                <a:gd name="connsiteY68" fmla="*/ 461526 h 747096"/>
                <a:gd name="connsiteX69" fmla="*/ 0 w 5264290"/>
                <a:gd name="connsiteY69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34607 w 5264290"/>
                <a:gd name="connsiteY9" fmla="*/ 259608 h 747096"/>
                <a:gd name="connsiteX10" fmla="*/ 349029 w 5264290"/>
                <a:gd name="connsiteY10" fmla="*/ 253839 h 747096"/>
                <a:gd name="connsiteX11" fmla="*/ 372106 w 5264290"/>
                <a:gd name="connsiteY11" fmla="*/ 242301 h 747096"/>
                <a:gd name="connsiteX12" fmla="*/ 409605 w 5264290"/>
                <a:gd name="connsiteY12" fmla="*/ 233648 h 747096"/>
                <a:gd name="connsiteX13" fmla="*/ 438450 w 5264290"/>
                <a:gd name="connsiteY13" fmla="*/ 222109 h 747096"/>
                <a:gd name="connsiteX14" fmla="*/ 478834 w 5264290"/>
                <a:gd name="connsiteY14" fmla="*/ 213456 h 747096"/>
                <a:gd name="connsiteX15" fmla="*/ 527871 w 5264290"/>
                <a:gd name="connsiteY15" fmla="*/ 196148 h 747096"/>
                <a:gd name="connsiteX16" fmla="*/ 576908 w 5264290"/>
                <a:gd name="connsiteY16" fmla="*/ 187495 h 747096"/>
                <a:gd name="connsiteX17" fmla="*/ 611523 w 5264290"/>
                <a:gd name="connsiteY17" fmla="*/ 178841 h 747096"/>
                <a:gd name="connsiteX18" fmla="*/ 651906 w 5264290"/>
                <a:gd name="connsiteY18" fmla="*/ 167303 h 747096"/>
                <a:gd name="connsiteX19" fmla="*/ 689405 w 5264290"/>
                <a:gd name="connsiteY19" fmla="*/ 161534 h 747096"/>
                <a:gd name="connsiteX20" fmla="*/ 729789 w 5264290"/>
                <a:gd name="connsiteY20" fmla="*/ 155765 h 747096"/>
                <a:gd name="connsiteX21" fmla="*/ 761519 w 5264290"/>
                <a:gd name="connsiteY21" fmla="*/ 147111 h 747096"/>
                <a:gd name="connsiteX22" fmla="*/ 799018 w 5264290"/>
                <a:gd name="connsiteY22" fmla="*/ 141342 h 747096"/>
                <a:gd name="connsiteX23" fmla="*/ 819210 w 5264290"/>
                <a:gd name="connsiteY23" fmla="*/ 138458 h 747096"/>
                <a:gd name="connsiteX24" fmla="*/ 856709 w 5264290"/>
                <a:gd name="connsiteY24" fmla="*/ 129804 h 747096"/>
                <a:gd name="connsiteX25" fmla="*/ 911515 w 5264290"/>
                <a:gd name="connsiteY25" fmla="*/ 124035 h 747096"/>
                <a:gd name="connsiteX26" fmla="*/ 1003821 w 5264290"/>
                <a:gd name="connsiteY26" fmla="*/ 112497 h 747096"/>
                <a:gd name="connsiteX27" fmla="*/ 1078819 w 5264290"/>
                <a:gd name="connsiteY27" fmla="*/ 103843 h 747096"/>
                <a:gd name="connsiteX28" fmla="*/ 1145163 w 5264290"/>
                <a:gd name="connsiteY28" fmla="*/ 95189 h 747096"/>
                <a:gd name="connsiteX29" fmla="*/ 1243238 w 5264290"/>
                <a:gd name="connsiteY29" fmla="*/ 86536 h 747096"/>
                <a:gd name="connsiteX30" fmla="*/ 1375927 w 5264290"/>
                <a:gd name="connsiteY30" fmla="*/ 77882 h 747096"/>
                <a:gd name="connsiteX31" fmla="*/ 1574960 w 5264290"/>
                <a:gd name="connsiteY31" fmla="*/ 63460 h 747096"/>
                <a:gd name="connsiteX32" fmla="*/ 1794185 w 5264290"/>
                <a:gd name="connsiteY32" fmla="*/ 54806 h 747096"/>
                <a:gd name="connsiteX33" fmla="*/ 1996103 w 5264290"/>
                <a:gd name="connsiteY33" fmla="*/ 43268 h 747096"/>
                <a:gd name="connsiteX34" fmla="*/ 2172060 w 5264290"/>
                <a:gd name="connsiteY34" fmla="*/ 34614 h 747096"/>
                <a:gd name="connsiteX35" fmla="*/ 2399939 w 5264290"/>
                <a:gd name="connsiteY35" fmla="*/ 25960 h 747096"/>
                <a:gd name="connsiteX36" fmla="*/ 2723008 w 5264290"/>
                <a:gd name="connsiteY36" fmla="*/ 20191 h 747096"/>
                <a:gd name="connsiteX37" fmla="*/ 2858581 w 5264290"/>
                <a:gd name="connsiteY37" fmla="*/ 17307 h 747096"/>
                <a:gd name="connsiteX38" fmla="*/ 2985501 w 5264290"/>
                <a:gd name="connsiteY38" fmla="*/ 14422 h 747096"/>
                <a:gd name="connsiteX39" fmla="*/ 3115306 w 5264290"/>
                <a:gd name="connsiteY39" fmla="*/ 11538 h 747096"/>
                <a:gd name="connsiteX40" fmla="*/ 3294147 w 5264290"/>
                <a:gd name="connsiteY40" fmla="*/ 8653 h 747096"/>
                <a:gd name="connsiteX41" fmla="*/ 3464335 w 5264290"/>
                <a:gd name="connsiteY41" fmla="*/ 8653 h 747096"/>
                <a:gd name="connsiteX42" fmla="*/ 3669138 w 5264290"/>
                <a:gd name="connsiteY42" fmla="*/ 2884 h 747096"/>
                <a:gd name="connsiteX43" fmla="*/ 5264290 w 5264290"/>
                <a:gd name="connsiteY43" fmla="*/ 0 h 747096"/>
                <a:gd name="connsiteX44" fmla="*/ 5264290 w 5264290"/>
                <a:gd name="connsiteY44" fmla="*/ 744212 h 747096"/>
                <a:gd name="connsiteX45" fmla="*/ 3135498 w 5264290"/>
                <a:gd name="connsiteY45" fmla="*/ 747096 h 747096"/>
                <a:gd name="connsiteX46" fmla="*/ 3005693 w 5264290"/>
                <a:gd name="connsiteY46" fmla="*/ 744212 h 747096"/>
                <a:gd name="connsiteX47" fmla="*/ 2910503 w 5264290"/>
                <a:gd name="connsiteY47" fmla="*/ 747096 h 747096"/>
                <a:gd name="connsiteX48" fmla="*/ 2835505 w 5264290"/>
                <a:gd name="connsiteY48" fmla="*/ 747096 h 747096"/>
                <a:gd name="connsiteX49" fmla="*/ 2777814 w 5264290"/>
                <a:gd name="connsiteY49" fmla="*/ 744212 h 747096"/>
                <a:gd name="connsiteX50" fmla="*/ 2656664 w 5264290"/>
                <a:gd name="connsiteY50" fmla="*/ 741327 h 747096"/>
                <a:gd name="connsiteX51" fmla="*/ 2509552 w 5264290"/>
                <a:gd name="connsiteY51" fmla="*/ 741327 h 747096"/>
                <a:gd name="connsiteX52" fmla="*/ 2414362 w 5264290"/>
                <a:gd name="connsiteY52" fmla="*/ 735558 h 747096"/>
                <a:gd name="connsiteX53" fmla="*/ 2324941 w 5264290"/>
                <a:gd name="connsiteY53" fmla="*/ 729789 h 747096"/>
                <a:gd name="connsiteX54" fmla="*/ 2221098 w 5264290"/>
                <a:gd name="connsiteY54" fmla="*/ 724020 h 747096"/>
                <a:gd name="connsiteX55" fmla="*/ 2146099 w 5264290"/>
                <a:gd name="connsiteY55" fmla="*/ 718251 h 747096"/>
                <a:gd name="connsiteX56" fmla="*/ 2033602 w 5264290"/>
                <a:gd name="connsiteY56" fmla="*/ 706713 h 747096"/>
                <a:gd name="connsiteX57" fmla="*/ 1944181 w 5264290"/>
                <a:gd name="connsiteY57" fmla="*/ 695174 h 747096"/>
                <a:gd name="connsiteX58" fmla="*/ 1840338 w 5264290"/>
                <a:gd name="connsiteY58" fmla="*/ 686521 h 747096"/>
                <a:gd name="connsiteX59" fmla="*/ 1655727 w 5264290"/>
                <a:gd name="connsiteY59" fmla="*/ 669213 h 747096"/>
                <a:gd name="connsiteX60" fmla="*/ 1471116 w 5264290"/>
                <a:gd name="connsiteY60" fmla="*/ 649022 h 747096"/>
                <a:gd name="connsiteX61" fmla="*/ 1277852 w 5264290"/>
                <a:gd name="connsiteY61" fmla="*/ 631714 h 747096"/>
                <a:gd name="connsiteX62" fmla="*/ 1021128 w 5264290"/>
                <a:gd name="connsiteY62" fmla="*/ 602869 h 747096"/>
                <a:gd name="connsiteX63" fmla="*/ 775942 w 5264290"/>
                <a:gd name="connsiteY63" fmla="*/ 571139 h 747096"/>
                <a:gd name="connsiteX64" fmla="*/ 631715 w 5264290"/>
                <a:gd name="connsiteY64" fmla="*/ 548063 h 747096"/>
                <a:gd name="connsiteX65" fmla="*/ 496141 w 5264290"/>
                <a:gd name="connsiteY65" fmla="*/ 522102 h 747096"/>
                <a:gd name="connsiteX66" fmla="*/ 331722 w 5264290"/>
                <a:gd name="connsiteY66" fmla="*/ 496141 h 747096"/>
                <a:gd name="connsiteX67" fmla="*/ 126920 w 5264290"/>
                <a:gd name="connsiteY67" fmla="*/ 461526 h 747096"/>
                <a:gd name="connsiteX68" fmla="*/ 0 w 5264290"/>
                <a:gd name="connsiteY68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34607 w 5264290"/>
                <a:gd name="connsiteY9" fmla="*/ 259608 h 747096"/>
                <a:gd name="connsiteX10" fmla="*/ 349029 w 5264290"/>
                <a:gd name="connsiteY10" fmla="*/ 253839 h 747096"/>
                <a:gd name="connsiteX11" fmla="*/ 372106 w 5264290"/>
                <a:gd name="connsiteY11" fmla="*/ 242301 h 747096"/>
                <a:gd name="connsiteX12" fmla="*/ 409605 w 5264290"/>
                <a:gd name="connsiteY12" fmla="*/ 233648 h 747096"/>
                <a:gd name="connsiteX13" fmla="*/ 438450 w 5264290"/>
                <a:gd name="connsiteY13" fmla="*/ 222109 h 747096"/>
                <a:gd name="connsiteX14" fmla="*/ 478834 w 5264290"/>
                <a:gd name="connsiteY14" fmla="*/ 213456 h 747096"/>
                <a:gd name="connsiteX15" fmla="*/ 527871 w 5264290"/>
                <a:gd name="connsiteY15" fmla="*/ 196148 h 747096"/>
                <a:gd name="connsiteX16" fmla="*/ 576908 w 5264290"/>
                <a:gd name="connsiteY16" fmla="*/ 187495 h 747096"/>
                <a:gd name="connsiteX17" fmla="*/ 611523 w 5264290"/>
                <a:gd name="connsiteY17" fmla="*/ 178841 h 747096"/>
                <a:gd name="connsiteX18" fmla="*/ 651906 w 5264290"/>
                <a:gd name="connsiteY18" fmla="*/ 167303 h 747096"/>
                <a:gd name="connsiteX19" fmla="*/ 689405 w 5264290"/>
                <a:gd name="connsiteY19" fmla="*/ 161534 h 747096"/>
                <a:gd name="connsiteX20" fmla="*/ 729789 w 5264290"/>
                <a:gd name="connsiteY20" fmla="*/ 155765 h 747096"/>
                <a:gd name="connsiteX21" fmla="*/ 761519 w 5264290"/>
                <a:gd name="connsiteY21" fmla="*/ 147111 h 747096"/>
                <a:gd name="connsiteX22" fmla="*/ 819210 w 5264290"/>
                <a:gd name="connsiteY22" fmla="*/ 138458 h 747096"/>
                <a:gd name="connsiteX23" fmla="*/ 856709 w 5264290"/>
                <a:gd name="connsiteY23" fmla="*/ 129804 h 747096"/>
                <a:gd name="connsiteX24" fmla="*/ 911515 w 5264290"/>
                <a:gd name="connsiteY24" fmla="*/ 124035 h 747096"/>
                <a:gd name="connsiteX25" fmla="*/ 1003821 w 5264290"/>
                <a:gd name="connsiteY25" fmla="*/ 112497 h 747096"/>
                <a:gd name="connsiteX26" fmla="*/ 1078819 w 5264290"/>
                <a:gd name="connsiteY26" fmla="*/ 103843 h 747096"/>
                <a:gd name="connsiteX27" fmla="*/ 1145163 w 5264290"/>
                <a:gd name="connsiteY27" fmla="*/ 95189 h 747096"/>
                <a:gd name="connsiteX28" fmla="*/ 1243238 w 5264290"/>
                <a:gd name="connsiteY28" fmla="*/ 86536 h 747096"/>
                <a:gd name="connsiteX29" fmla="*/ 1375927 w 5264290"/>
                <a:gd name="connsiteY29" fmla="*/ 77882 h 747096"/>
                <a:gd name="connsiteX30" fmla="*/ 1574960 w 5264290"/>
                <a:gd name="connsiteY30" fmla="*/ 63460 h 747096"/>
                <a:gd name="connsiteX31" fmla="*/ 1794185 w 5264290"/>
                <a:gd name="connsiteY31" fmla="*/ 54806 h 747096"/>
                <a:gd name="connsiteX32" fmla="*/ 1996103 w 5264290"/>
                <a:gd name="connsiteY32" fmla="*/ 43268 h 747096"/>
                <a:gd name="connsiteX33" fmla="*/ 2172060 w 5264290"/>
                <a:gd name="connsiteY33" fmla="*/ 34614 h 747096"/>
                <a:gd name="connsiteX34" fmla="*/ 2399939 w 5264290"/>
                <a:gd name="connsiteY34" fmla="*/ 25960 h 747096"/>
                <a:gd name="connsiteX35" fmla="*/ 2723008 w 5264290"/>
                <a:gd name="connsiteY35" fmla="*/ 20191 h 747096"/>
                <a:gd name="connsiteX36" fmla="*/ 2858581 w 5264290"/>
                <a:gd name="connsiteY36" fmla="*/ 17307 h 747096"/>
                <a:gd name="connsiteX37" fmla="*/ 2985501 w 5264290"/>
                <a:gd name="connsiteY37" fmla="*/ 14422 h 747096"/>
                <a:gd name="connsiteX38" fmla="*/ 3115306 w 5264290"/>
                <a:gd name="connsiteY38" fmla="*/ 11538 h 747096"/>
                <a:gd name="connsiteX39" fmla="*/ 3294147 w 5264290"/>
                <a:gd name="connsiteY39" fmla="*/ 8653 h 747096"/>
                <a:gd name="connsiteX40" fmla="*/ 3464335 w 5264290"/>
                <a:gd name="connsiteY40" fmla="*/ 8653 h 747096"/>
                <a:gd name="connsiteX41" fmla="*/ 3669138 w 5264290"/>
                <a:gd name="connsiteY41" fmla="*/ 2884 h 747096"/>
                <a:gd name="connsiteX42" fmla="*/ 5264290 w 5264290"/>
                <a:gd name="connsiteY42" fmla="*/ 0 h 747096"/>
                <a:gd name="connsiteX43" fmla="*/ 5264290 w 5264290"/>
                <a:gd name="connsiteY43" fmla="*/ 744212 h 747096"/>
                <a:gd name="connsiteX44" fmla="*/ 3135498 w 5264290"/>
                <a:gd name="connsiteY44" fmla="*/ 747096 h 747096"/>
                <a:gd name="connsiteX45" fmla="*/ 3005693 w 5264290"/>
                <a:gd name="connsiteY45" fmla="*/ 744212 h 747096"/>
                <a:gd name="connsiteX46" fmla="*/ 2910503 w 5264290"/>
                <a:gd name="connsiteY46" fmla="*/ 747096 h 747096"/>
                <a:gd name="connsiteX47" fmla="*/ 2835505 w 5264290"/>
                <a:gd name="connsiteY47" fmla="*/ 747096 h 747096"/>
                <a:gd name="connsiteX48" fmla="*/ 2777814 w 5264290"/>
                <a:gd name="connsiteY48" fmla="*/ 744212 h 747096"/>
                <a:gd name="connsiteX49" fmla="*/ 2656664 w 5264290"/>
                <a:gd name="connsiteY49" fmla="*/ 741327 h 747096"/>
                <a:gd name="connsiteX50" fmla="*/ 2509552 w 5264290"/>
                <a:gd name="connsiteY50" fmla="*/ 741327 h 747096"/>
                <a:gd name="connsiteX51" fmla="*/ 2414362 w 5264290"/>
                <a:gd name="connsiteY51" fmla="*/ 735558 h 747096"/>
                <a:gd name="connsiteX52" fmla="*/ 2324941 w 5264290"/>
                <a:gd name="connsiteY52" fmla="*/ 729789 h 747096"/>
                <a:gd name="connsiteX53" fmla="*/ 2221098 w 5264290"/>
                <a:gd name="connsiteY53" fmla="*/ 724020 h 747096"/>
                <a:gd name="connsiteX54" fmla="*/ 2146099 w 5264290"/>
                <a:gd name="connsiteY54" fmla="*/ 718251 h 747096"/>
                <a:gd name="connsiteX55" fmla="*/ 2033602 w 5264290"/>
                <a:gd name="connsiteY55" fmla="*/ 706713 h 747096"/>
                <a:gd name="connsiteX56" fmla="*/ 1944181 w 5264290"/>
                <a:gd name="connsiteY56" fmla="*/ 695174 h 747096"/>
                <a:gd name="connsiteX57" fmla="*/ 1840338 w 5264290"/>
                <a:gd name="connsiteY57" fmla="*/ 686521 h 747096"/>
                <a:gd name="connsiteX58" fmla="*/ 1655727 w 5264290"/>
                <a:gd name="connsiteY58" fmla="*/ 669213 h 747096"/>
                <a:gd name="connsiteX59" fmla="*/ 1471116 w 5264290"/>
                <a:gd name="connsiteY59" fmla="*/ 649022 h 747096"/>
                <a:gd name="connsiteX60" fmla="*/ 1277852 w 5264290"/>
                <a:gd name="connsiteY60" fmla="*/ 631714 h 747096"/>
                <a:gd name="connsiteX61" fmla="*/ 1021128 w 5264290"/>
                <a:gd name="connsiteY61" fmla="*/ 602869 h 747096"/>
                <a:gd name="connsiteX62" fmla="*/ 775942 w 5264290"/>
                <a:gd name="connsiteY62" fmla="*/ 571139 h 747096"/>
                <a:gd name="connsiteX63" fmla="*/ 631715 w 5264290"/>
                <a:gd name="connsiteY63" fmla="*/ 548063 h 747096"/>
                <a:gd name="connsiteX64" fmla="*/ 496141 w 5264290"/>
                <a:gd name="connsiteY64" fmla="*/ 522102 h 747096"/>
                <a:gd name="connsiteX65" fmla="*/ 331722 w 5264290"/>
                <a:gd name="connsiteY65" fmla="*/ 496141 h 747096"/>
                <a:gd name="connsiteX66" fmla="*/ 126920 w 5264290"/>
                <a:gd name="connsiteY66" fmla="*/ 461526 h 747096"/>
                <a:gd name="connsiteX67" fmla="*/ 0 w 5264290"/>
                <a:gd name="connsiteY67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372106 w 5264290"/>
                <a:gd name="connsiteY10" fmla="*/ 242301 h 747096"/>
                <a:gd name="connsiteX11" fmla="*/ 409605 w 5264290"/>
                <a:gd name="connsiteY11" fmla="*/ 233648 h 747096"/>
                <a:gd name="connsiteX12" fmla="*/ 438450 w 5264290"/>
                <a:gd name="connsiteY12" fmla="*/ 222109 h 747096"/>
                <a:gd name="connsiteX13" fmla="*/ 478834 w 5264290"/>
                <a:gd name="connsiteY13" fmla="*/ 213456 h 747096"/>
                <a:gd name="connsiteX14" fmla="*/ 527871 w 5264290"/>
                <a:gd name="connsiteY14" fmla="*/ 196148 h 747096"/>
                <a:gd name="connsiteX15" fmla="*/ 576908 w 5264290"/>
                <a:gd name="connsiteY15" fmla="*/ 187495 h 747096"/>
                <a:gd name="connsiteX16" fmla="*/ 611523 w 5264290"/>
                <a:gd name="connsiteY16" fmla="*/ 178841 h 747096"/>
                <a:gd name="connsiteX17" fmla="*/ 651906 w 5264290"/>
                <a:gd name="connsiteY17" fmla="*/ 167303 h 747096"/>
                <a:gd name="connsiteX18" fmla="*/ 689405 w 5264290"/>
                <a:gd name="connsiteY18" fmla="*/ 161534 h 747096"/>
                <a:gd name="connsiteX19" fmla="*/ 729789 w 5264290"/>
                <a:gd name="connsiteY19" fmla="*/ 155765 h 747096"/>
                <a:gd name="connsiteX20" fmla="*/ 761519 w 5264290"/>
                <a:gd name="connsiteY20" fmla="*/ 147111 h 747096"/>
                <a:gd name="connsiteX21" fmla="*/ 819210 w 5264290"/>
                <a:gd name="connsiteY21" fmla="*/ 138458 h 747096"/>
                <a:gd name="connsiteX22" fmla="*/ 856709 w 5264290"/>
                <a:gd name="connsiteY22" fmla="*/ 129804 h 747096"/>
                <a:gd name="connsiteX23" fmla="*/ 911515 w 5264290"/>
                <a:gd name="connsiteY23" fmla="*/ 124035 h 747096"/>
                <a:gd name="connsiteX24" fmla="*/ 1003821 w 5264290"/>
                <a:gd name="connsiteY24" fmla="*/ 112497 h 747096"/>
                <a:gd name="connsiteX25" fmla="*/ 1078819 w 5264290"/>
                <a:gd name="connsiteY25" fmla="*/ 103843 h 747096"/>
                <a:gd name="connsiteX26" fmla="*/ 1145163 w 5264290"/>
                <a:gd name="connsiteY26" fmla="*/ 95189 h 747096"/>
                <a:gd name="connsiteX27" fmla="*/ 1243238 w 5264290"/>
                <a:gd name="connsiteY27" fmla="*/ 86536 h 747096"/>
                <a:gd name="connsiteX28" fmla="*/ 1375927 w 5264290"/>
                <a:gd name="connsiteY28" fmla="*/ 77882 h 747096"/>
                <a:gd name="connsiteX29" fmla="*/ 1574960 w 5264290"/>
                <a:gd name="connsiteY29" fmla="*/ 63460 h 747096"/>
                <a:gd name="connsiteX30" fmla="*/ 1794185 w 5264290"/>
                <a:gd name="connsiteY30" fmla="*/ 54806 h 747096"/>
                <a:gd name="connsiteX31" fmla="*/ 1996103 w 5264290"/>
                <a:gd name="connsiteY31" fmla="*/ 43268 h 747096"/>
                <a:gd name="connsiteX32" fmla="*/ 2172060 w 5264290"/>
                <a:gd name="connsiteY32" fmla="*/ 34614 h 747096"/>
                <a:gd name="connsiteX33" fmla="*/ 2399939 w 5264290"/>
                <a:gd name="connsiteY33" fmla="*/ 25960 h 747096"/>
                <a:gd name="connsiteX34" fmla="*/ 2723008 w 5264290"/>
                <a:gd name="connsiteY34" fmla="*/ 20191 h 747096"/>
                <a:gd name="connsiteX35" fmla="*/ 2858581 w 5264290"/>
                <a:gd name="connsiteY35" fmla="*/ 17307 h 747096"/>
                <a:gd name="connsiteX36" fmla="*/ 2985501 w 5264290"/>
                <a:gd name="connsiteY36" fmla="*/ 14422 h 747096"/>
                <a:gd name="connsiteX37" fmla="*/ 3115306 w 5264290"/>
                <a:gd name="connsiteY37" fmla="*/ 11538 h 747096"/>
                <a:gd name="connsiteX38" fmla="*/ 3294147 w 5264290"/>
                <a:gd name="connsiteY38" fmla="*/ 8653 h 747096"/>
                <a:gd name="connsiteX39" fmla="*/ 3464335 w 5264290"/>
                <a:gd name="connsiteY39" fmla="*/ 8653 h 747096"/>
                <a:gd name="connsiteX40" fmla="*/ 3669138 w 5264290"/>
                <a:gd name="connsiteY40" fmla="*/ 2884 h 747096"/>
                <a:gd name="connsiteX41" fmla="*/ 5264290 w 5264290"/>
                <a:gd name="connsiteY41" fmla="*/ 0 h 747096"/>
                <a:gd name="connsiteX42" fmla="*/ 5264290 w 5264290"/>
                <a:gd name="connsiteY42" fmla="*/ 744212 h 747096"/>
                <a:gd name="connsiteX43" fmla="*/ 3135498 w 5264290"/>
                <a:gd name="connsiteY43" fmla="*/ 747096 h 747096"/>
                <a:gd name="connsiteX44" fmla="*/ 3005693 w 5264290"/>
                <a:gd name="connsiteY44" fmla="*/ 744212 h 747096"/>
                <a:gd name="connsiteX45" fmla="*/ 2910503 w 5264290"/>
                <a:gd name="connsiteY45" fmla="*/ 747096 h 747096"/>
                <a:gd name="connsiteX46" fmla="*/ 2835505 w 5264290"/>
                <a:gd name="connsiteY46" fmla="*/ 747096 h 747096"/>
                <a:gd name="connsiteX47" fmla="*/ 2777814 w 5264290"/>
                <a:gd name="connsiteY47" fmla="*/ 744212 h 747096"/>
                <a:gd name="connsiteX48" fmla="*/ 2656664 w 5264290"/>
                <a:gd name="connsiteY48" fmla="*/ 741327 h 747096"/>
                <a:gd name="connsiteX49" fmla="*/ 2509552 w 5264290"/>
                <a:gd name="connsiteY49" fmla="*/ 741327 h 747096"/>
                <a:gd name="connsiteX50" fmla="*/ 2414362 w 5264290"/>
                <a:gd name="connsiteY50" fmla="*/ 735558 h 747096"/>
                <a:gd name="connsiteX51" fmla="*/ 2324941 w 5264290"/>
                <a:gd name="connsiteY51" fmla="*/ 729789 h 747096"/>
                <a:gd name="connsiteX52" fmla="*/ 2221098 w 5264290"/>
                <a:gd name="connsiteY52" fmla="*/ 724020 h 747096"/>
                <a:gd name="connsiteX53" fmla="*/ 2146099 w 5264290"/>
                <a:gd name="connsiteY53" fmla="*/ 718251 h 747096"/>
                <a:gd name="connsiteX54" fmla="*/ 2033602 w 5264290"/>
                <a:gd name="connsiteY54" fmla="*/ 706713 h 747096"/>
                <a:gd name="connsiteX55" fmla="*/ 1944181 w 5264290"/>
                <a:gd name="connsiteY55" fmla="*/ 695174 h 747096"/>
                <a:gd name="connsiteX56" fmla="*/ 1840338 w 5264290"/>
                <a:gd name="connsiteY56" fmla="*/ 686521 h 747096"/>
                <a:gd name="connsiteX57" fmla="*/ 1655727 w 5264290"/>
                <a:gd name="connsiteY57" fmla="*/ 669213 h 747096"/>
                <a:gd name="connsiteX58" fmla="*/ 1471116 w 5264290"/>
                <a:gd name="connsiteY58" fmla="*/ 649022 h 747096"/>
                <a:gd name="connsiteX59" fmla="*/ 1277852 w 5264290"/>
                <a:gd name="connsiteY59" fmla="*/ 631714 h 747096"/>
                <a:gd name="connsiteX60" fmla="*/ 1021128 w 5264290"/>
                <a:gd name="connsiteY60" fmla="*/ 602869 h 747096"/>
                <a:gd name="connsiteX61" fmla="*/ 775942 w 5264290"/>
                <a:gd name="connsiteY61" fmla="*/ 571139 h 747096"/>
                <a:gd name="connsiteX62" fmla="*/ 631715 w 5264290"/>
                <a:gd name="connsiteY62" fmla="*/ 548063 h 747096"/>
                <a:gd name="connsiteX63" fmla="*/ 496141 w 5264290"/>
                <a:gd name="connsiteY63" fmla="*/ 522102 h 747096"/>
                <a:gd name="connsiteX64" fmla="*/ 331722 w 5264290"/>
                <a:gd name="connsiteY64" fmla="*/ 496141 h 747096"/>
                <a:gd name="connsiteX65" fmla="*/ 126920 w 5264290"/>
                <a:gd name="connsiteY65" fmla="*/ 461526 h 747096"/>
                <a:gd name="connsiteX66" fmla="*/ 0 w 5264290"/>
                <a:gd name="connsiteY66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09605 w 5264290"/>
                <a:gd name="connsiteY10" fmla="*/ 233648 h 747096"/>
                <a:gd name="connsiteX11" fmla="*/ 438450 w 5264290"/>
                <a:gd name="connsiteY11" fmla="*/ 222109 h 747096"/>
                <a:gd name="connsiteX12" fmla="*/ 478834 w 5264290"/>
                <a:gd name="connsiteY12" fmla="*/ 213456 h 747096"/>
                <a:gd name="connsiteX13" fmla="*/ 527871 w 5264290"/>
                <a:gd name="connsiteY13" fmla="*/ 196148 h 747096"/>
                <a:gd name="connsiteX14" fmla="*/ 576908 w 5264290"/>
                <a:gd name="connsiteY14" fmla="*/ 187495 h 747096"/>
                <a:gd name="connsiteX15" fmla="*/ 611523 w 5264290"/>
                <a:gd name="connsiteY15" fmla="*/ 178841 h 747096"/>
                <a:gd name="connsiteX16" fmla="*/ 651906 w 5264290"/>
                <a:gd name="connsiteY16" fmla="*/ 167303 h 747096"/>
                <a:gd name="connsiteX17" fmla="*/ 689405 w 5264290"/>
                <a:gd name="connsiteY17" fmla="*/ 161534 h 747096"/>
                <a:gd name="connsiteX18" fmla="*/ 729789 w 5264290"/>
                <a:gd name="connsiteY18" fmla="*/ 155765 h 747096"/>
                <a:gd name="connsiteX19" fmla="*/ 761519 w 5264290"/>
                <a:gd name="connsiteY19" fmla="*/ 147111 h 747096"/>
                <a:gd name="connsiteX20" fmla="*/ 819210 w 5264290"/>
                <a:gd name="connsiteY20" fmla="*/ 138458 h 747096"/>
                <a:gd name="connsiteX21" fmla="*/ 856709 w 5264290"/>
                <a:gd name="connsiteY21" fmla="*/ 129804 h 747096"/>
                <a:gd name="connsiteX22" fmla="*/ 911515 w 5264290"/>
                <a:gd name="connsiteY22" fmla="*/ 124035 h 747096"/>
                <a:gd name="connsiteX23" fmla="*/ 1003821 w 5264290"/>
                <a:gd name="connsiteY23" fmla="*/ 112497 h 747096"/>
                <a:gd name="connsiteX24" fmla="*/ 1078819 w 5264290"/>
                <a:gd name="connsiteY24" fmla="*/ 103843 h 747096"/>
                <a:gd name="connsiteX25" fmla="*/ 1145163 w 5264290"/>
                <a:gd name="connsiteY25" fmla="*/ 95189 h 747096"/>
                <a:gd name="connsiteX26" fmla="*/ 1243238 w 5264290"/>
                <a:gd name="connsiteY26" fmla="*/ 86536 h 747096"/>
                <a:gd name="connsiteX27" fmla="*/ 1375927 w 5264290"/>
                <a:gd name="connsiteY27" fmla="*/ 77882 h 747096"/>
                <a:gd name="connsiteX28" fmla="*/ 1574960 w 5264290"/>
                <a:gd name="connsiteY28" fmla="*/ 63460 h 747096"/>
                <a:gd name="connsiteX29" fmla="*/ 1794185 w 5264290"/>
                <a:gd name="connsiteY29" fmla="*/ 54806 h 747096"/>
                <a:gd name="connsiteX30" fmla="*/ 1996103 w 5264290"/>
                <a:gd name="connsiteY30" fmla="*/ 43268 h 747096"/>
                <a:gd name="connsiteX31" fmla="*/ 2172060 w 5264290"/>
                <a:gd name="connsiteY31" fmla="*/ 34614 h 747096"/>
                <a:gd name="connsiteX32" fmla="*/ 2399939 w 5264290"/>
                <a:gd name="connsiteY32" fmla="*/ 25960 h 747096"/>
                <a:gd name="connsiteX33" fmla="*/ 2723008 w 5264290"/>
                <a:gd name="connsiteY33" fmla="*/ 20191 h 747096"/>
                <a:gd name="connsiteX34" fmla="*/ 2858581 w 5264290"/>
                <a:gd name="connsiteY34" fmla="*/ 17307 h 747096"/>
                <a:gd name="connsiteX35" fmla="*/ 2985501 w 5264290"/>
                <a:gd name="connsiteY35" fmla="*/ 14422 h 747096"/>
                <a:gd name="connsiteX36" fmla="*/ 3115306 w 5264290"/>
                <a:gd name="connsiteY36" fmla="*/ 11538 h 747096"/>
                <a:gd name="connsiteX37" fmla="*/ 3294147 w 5264290"/>
                <a:gd name="connsiteY37" fmla="*/ 8653 h 747096"/>
                <a:gd name="connsiteX38" fmla="*/ 3464335 w 5264290"/>
                <a:gd name="connsiteY38" fmla="*/ 8653 h 747096"/>
                <a:gd name="connsiteX39" fmla="*/ 3669138 w 5264290"/>
                <a:gd name="connsiteY39" fmla="*/ 2884 h 747096"/>
                <a:gd name="connsiteX40" fmla="*/ 5264290 w 5264290"/>
                <a:gd name="connsiteY40" fmla="*/ 0 h 747096"/>
                <a:gd name="connsiteX41" fmla="*/ 5264290 w 5264290"/>
                <a:gd name="connsiteY41" fmla="*/ 744212 h 747096"/>
                <a:gd name="connsiteX42" fmla="*/ 3135498 w 5264290"/>
                <a:gd name="connsiteY42" fmla="*/ 747096 h 747096"/>
                <a:gd name="connsiteX43" fmla="*/ 3005693 w 5264290"/>
                <a:gd name="connsiteY43" fmla="*/ 744212 h 747096"/>
                <a:gd name="connsiteX44" fmla="*/ 2910503 w 5264290"/>
                <a:gd name="connsiteY44" fmla="*/ 747096 h 747096"/>
                <a:gd name="connsiteX45" fmla="*/ 2835505 w 5264290"/>
                <a:gd name="connsiteY45" fmla="*/ 747096 h 747096"/>
                <a:gd name="connsiteX46" fmla="*/ 2777814 w 5264290"/>
                <a:gd name="connsiteY46" fmla="*/ 744212 h 747096"/>
                <a:gd name="connsiteX47" fmla="*/ 2656664 w 5264290"/>
                <a:gd name="connsiteY47" fmla="*/ 741327 h 747096"/>
                <a:gd name="connsiteX48" fmla="*/ 2509552 w 5264290"/>
                <a:gd name="connsiteY48" fmla="*/ 741327 h 747096"/>
                <a:gd name="connsiteX49" fmla="*/ 2414362 w 5264290"/>
                <a:gd name="connsiteY49" fmla="*/ 735558 h 747096"/>
                <a:gd name="connsiteX50" fmla="*/ 2324941 w 5264290"/>
                <a:gd name="connsiteY50" fmla="*/ 729789 h 747096"/>
                <a:gd name="connsiteX51" fmla="*/ 2221098 w 5264290"/>
                <a:gd name="connsiteY51" fmla="*/ 724020 h 747096"/>
                <a:gd name="connsiteX52" fmla="*/ 2146099 w 5264290"/>
                <a:gd name="connsiteY52" fmla="*/ 718251 h 747096"/>
                <a:gd name="connsiteX53" fmla="*/ 2033602 w 5264290"/>
                <a:gd name="connsiteY53" fmla="*/ 706713 h 747096"/>
                <a:gd name="connsiteX54" fmla="*/ 1944181 w 5264290"/>
                <a:gd name="connsiteY54" fmla="*/ 695174 h 747096"/>
                <a:gd name="connsiteX55" fmla="*/ 1840338 w 5264290"/>
                <a:gd name="connsiteY55" fmla="*/ 686521 h 747096"/>
                <a:gd name="connsiteX56" fmla="*/ 1655727 w 5264290"/>
                <a:gd name="connsiteY56" fmla="*/ 669213 h 747096"/>
                <a:gd name="connsiteX57" fmla="*/ 1471116 w 5264290"/>
                <a:gd name="connsiteY57" fmla="*/ 649022 h 747096"/>
                <a:gd name="connsiteX58" fmla="*/ 1277852 w 5264290"/>
                <a:gd name="connsiteY58" fmla="*/ 631714 h 747096"/>
                <a:gd name="connsiteX59" fmla="*/ 1021128 w 5264290"/>
                <a:gd name="connsiteY59" fmla="*/ 602869 h 747096"/>
                <a:gd name="connsiteX60" fmla="*/ 775942 w 5264290"/>
                <a:gd name="connsiteY60" fmla="*/ 571139 h 747096"/>
                <a:gd name="connsiteX61" fmla="*/ 631715 w 5264290"/>
                <a:gd name="connsiteY61" fmla="*/ 548063 h 747096"/>
                <a:gd name="connsiteX62" fmla="*/ 496141 w 5264290"/>
                <a:gd name="connsiteY62" fmla="*/ 522102 h 747096"/>
                <a:gd name="connsiteX63" fmla="*/ 331722 w 5264290"/>
                <a:gd name="connsiteY63" fmla="*/ 496141 h 747096"/>
                <a:gd name="connsiteX64" fmla="*/ 126920 w 5264290"/>
                <a:gd name="connsiteY64" fmla="*/ 461526 h 747096"/>
                <a:gd name="connsiteX65" fmla="*/ 0 w 5264290"/>
                <a:gd name="connsiteY65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09605 w 5264290"/>
                <a:gd name="connsiteY10" fmla="*/ 233648 h 747096"/>
                <a:gd name="connsiteX11" fmla="*/ 438450 w 5264290"/>
                <a:gd name="connsiteY11" fmla="*/ 222109 h 747096"/>
                <a:gd name="connsiteX12" fmla="*/ 527871 w 5264290"/>
                <a:gd name="connsiteY12" fmla="*/ 196148 h 747096"/>
                <a:gd name="connsiteX13" fmla="*/ 576908 w 5264290"/>
                <a:gd name="connsiteY13" fmla="*/ 187495 h 747096"/>
                <a:gd name="connsiteX14" fmla="*/ 611523 w 5264290"/>
                <a:gd name="connsiteY14" fmla="*/ 178841 h 747096"/>
                <a:gd name="connsiteX15" fmla="*/ 651906 w 5264290"/>
                <a:gd name="connsiteY15" fmla="*/ 167303 h 747096"/>
                <a:gd name="connsiteX16" fmla="*/ 689405 w 5264290"/>
                <a:gd name="connsiteY16" fmla="*/ 161534 h 747096"/>
                <a:gd name="connsiteX17" fmla="*/ 729789 w 5264290"/>
                <a:gd name="connsiteY17" fmla="*/ 155765 h 747096"/>
                <a:gd name="connsiteX18" fmla="*/ 761519 w 5264290"/>
                <a:gd name="connsiteY18" fmla="*/ 147111 h 747096"/>
                <a:gd name="connsiteX19" fmla="*/ 819210 w 5264290"/>
                <a:gd name="connsiteY19" fmla="*/ 138458 h 747096"/>
                <a:gd name="connsiteX20" fmla="*/ 856709 w 5264290"/>
                <a:gd name="connsiteY20" fmla="*/ 129804 h 747096"/>
                <a:gd name="connsiteX21" fmla="*/ 911515 w 5264290"/>
                <a:gd name="connsiteY21" fmla="*/ 124035 h 747096"/>
                <a:gd name="connsiteX22" fmla="*/ 1003821 w 5264290"/>
                <a:gd name="connsiteY22" fmla="*/ 112497 h 747096"/>
                <a:gd name="connsiteX23" fmla="*/ 1078819 w 5264290"/>
                <a:gd name="connsiteY23" fmla="*/ 103843 h 747096"/>
                <a:gd name="connsiteX24" fmla="*/ 1145163 w 5264290"/>
                <a:gd name="connsiteY24" fmla="*/ 95189 h 747096"/>
                <a:gd name="connsiteX25" fmla="*/ 1243238 w 5264290"/>
                <a:gd name="connsiteY25" fmla="*/ 86536 h 747096"/>
                <a:gd name="connsiteX26" fmla="*/ 1375927 w 5264290"/>
                <a:gd name="connsiteY26" fmla="*/ 77882 h 747096"/>
                <a:gd name="connsiteX27" fmla="*/ 1574960 w 5264290"/>
                <a:gd name="connsiteY27" fmla="*/ 63460 h 747096"/>
                <a:gd name="connsiteX28" fmla="*/ 1794185 w 5264290"/>
                <a:gd name="connsiteY28" fmla="*/ 54806 h 747096"/>
                <a:gd name="connsiteX29" fmla="*/ 1996103 w 5264290"/>
                <a:gd name="connsiteY29" fmla="*/ 43268 h 747096"/>
                <a:gd name="connsiteX30" fmla="*/ 2172060 w 5264290"/>
                <a:gd name="connsiteY30" fmla="*/ 34614 h 747096"/>
                <a:gd name="connsiteX31" fmla="*/ 2399939 w 5264290"/>
                <a:gd name="connsiteY31" fmla="*/ 25960 h 747096"/>
                <a:gd name="connsiteX32" fmla="*/ 2723008 w 5264290"/>
                <a:gd name="connsiteY32" fmla="*/ 20191 h 747096"/>
                <a:gd name="connsiteX33" fmla="*/ 2858581 w 5264290"/>
                <a:gd name="connsiteY33" fmla="*/ 17307 h 747096"/>
                <a:gd name="connsiteX34" fmla="*/ 2985501 w 5264290"/>
                <a:gd name="connsiteY34" fmla="*/ 14422 h 747096"/>
                <a:gd name="connsiteX35" fmla="*/ 3115306 w 5264290"/>
                <a:gd name="connsiteY35" fmla="*/ 11538 h 747096"/>
                <a:gd name="connsiteX36" fmla="*/ 3294147 w 5264290"/>
                <a:gd name="connsiteY36" fmla="*/ 8653 h 747096"/>
                <a:gd name="connsiteX37" fmla="*/ 3464335 w 5264290"/>
                <a:gd name="connsiteY37" fmla="*/ 8653 h 747096"/>
                <a:gd name="connsiteX38" fmla="*/ 3669138 w 5264290"/>
                <a:gd name="connsiteY38" fmla="*/ 2884 h 747096"/>
                <a:gd name="connsiteX39" fmla="*/ 5264290 w 5264290"/>
                <a:gd name="connsiteY39" fmla="*/ 0 h 747096"/>
                <a:gd name="connsiteX40" fmla="*/ 5264290 w 5264290"/>
                <a:gd name="connsiteY40" fmla="*/ 744212 h 747096"/>
                <a:gd name="connsiteX41" fmla="*/ 3135498 w 5264290"/>
                <a:gd name="connsiteY41" fmla="*/ 747096 h 747096"/>
                <a:gd name="connsiteX42" fmla="*/ 3005693 w 5264290"/>
                <a:gd name="connsiteY42" fmla="*/ 744212 h 747096"/>
                <a:gd name="connsiteX43" fmla="*/ 2910503 w 5264290"/>
                <a:gd name="connsiteY43" fmla="*/ 747096 h 747096"/>
                <a:gd name="connsiteX44" fmla="*/ 2835505 w 5264290"/>
                <a:gd name="connsiteY44" fmla="*/ 747096 h 747096"/>
                <a:gd name="connsiteX45" fmla="*/ 2777814 w 5264290"/>
                <a:gd name="connsiteY45" fmla="*/ 744212 h 747096"/>
                <a:gd name="connsiteX46" fmla="*/ 2656664 w 5264290"/>
                <a:gd name="connsiteY46" fmla="*/ 741327 h 747096"/>
                <a:gd name="connsiteX47" fmla="*/ 2509552 w 5264290"/>
                <a:gd name="connsiteY47" fmla="*/ 741327 h 747096"/>
                <a:gd name="connsiteX48" fmla="*/ 2414362 w 5264290"/>
                <a:gd name="connsiteY48" fmla="*/ 735558 h 747096"/>
                <a:gd name="connsiteX49" fmla="*/ 2324941 w 5264290"/>
                <a:gd name="connsiteY49" fmla="*/ 729789 h 747096"/>
                <a:gd name="connsiteX50" fmla="*/ 2221098 w 5264290"/>
                <a:gd name="connsiteY50" fmla="*/ 724020 h 747096"/>
                <a:gd name="connsiteX51" fmla="*/ 2146099 w 5264290"/>
                <a:gd name="connsiteY51" fmla="*/ 718251 h 747096"/>
                <a:gd name="connsiteX52" fmla="*/ 2033602 w 5264290"/>
                <a:gd name="connsiteY52" fmla="*/ 706713 h 747096"/>
                <a:gd name="connsiteX53" fmla="*/ 1944181 w 5264290"/>
                <a:gd name="connsiteY53" fmla="*/ 695174 h 747096"/>
                <a:gd name="connsiteX54" fmla="*/ 1840338 w 5264290"/>
                <a:gd name="connsiteY54" fmla="*/ 686521 h 747096"/>
                <a:gd name="connsiteX55" fmla="*/ 1655727 w 5264290"/>
                <a:gd name="connsiteY55" fmla="*/ 669213 h 747096"/>
                <a:gd name="connsiteX56" fmla="*/ 1471116 w 5264290"/>
                <a:gd name="connsiteY56" fmla="*/ 649022 h 747096"/>
                <a:gd name="connsiteX57" fmla="*/ 1277852 w 5264290"/>
                <a:gd name="connsiteY57" fmla="*/ 631714 h 747096"/>
                <a:gd name="connsiteX58" fmla="*/ 1021128 w 5264290"/>
                <a:gd name="connsiteY58" fmla="*/ 602869 h 747096"/>
                <a:gd name="connsiteX59" fmla="*/ 775942 w 5264290"/>
                <a:gd name="connsiteY59" fmla="*/ 571139 h 747096"/>
                <a:gd name="connsiteX60" fmla="*/ 631715 w 5264290"/>
                <a:gd name="connsiteY60" fmla="*/ 548063 h 747096"/>
                <a:gd name="connsiteX61" fmla="*/ 496141 w 5264290"/>
                <a:gd name="connsiteY61" fmla="*/ 522102 h 747096"/>
                <a:gd name="connsiteX62" fmla="*/ 331722 w 5264290"/>
                <a:gd name="connsiteY62" fmla="*/ 496141 h 747096"/>
                <a:gd name="connsiteX63" fmla="*/ 126920 w 5264290"/>
                <a:gd name="connsiteY63" fmla="*/ 461526 h 747096"/>
                <a:gd name="connsiteX64" fmla="*/ 0 w 5264290"/>
                <a:gd name="connsiteY64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09605 w 5264290"/>
                <a:gd name="connsiteY10" fmla="*/ 233648 h 747096"/>
                <a:gd name="connsiteX11" fmla="*/ 438450 w 5264290"/>
                <a:gd name="connsiteY11" fmla="*/ 222109 h 747096"/>
                <a:gd name="connsiteX12" fmla="*/ 527871 w 5264290"/>
                <a:gd name="connsiteY12" fmla="*/ 196148 h 747096"/>
                <a:gd name="connsiteX13" fmla="*/ 576908 w 5264290"/>
                <a:gd name="connsiteY13" fmla="*/ 187495 h 747096"/>
                <a:gd name="connsiteX14" fmla="*/ 611523 w 5264290"/>
                <a:gd name="connsiteY14" fmla="*/ 178841 h 747096"/>
                <a:gd name="connsiteX15" fmla="*/ 689405 w 5264290"/>
                <a:gd name="connsiteY15" fmla="*/ 161534 h 747096"/>
                <a:gd name="connsiteX16" fmla="*/ 729789 w 5264290"/>
                <a:gd name="connsiteY16" fmla="*/ 155765 h 747096"/>
                <a:gd name="connsiteX17" fmla="*/ 761519 w 5264290"/>
                <a:gd name="connsiteY17" fmla="*/ 147111 h 747096"/>
                <a:gd name="connsiteX18" fmla="*/ 819210 w 5264290"/>
                <a:gd name="connsiteY18" fmla="*/ 138458 h 747096"/>
                <a:gd name="connsiteX19" fmla="*/ 856709 w 5264290"/>
                <a:gd name="connsiteY19" fmla="*/ 129804 h 747096"/>
                <a:gd name="connsiteX20" fmla="*/ 911515 w 5264290"/>
                <a:gd name="connsiteY20" fmla="*/ 124035 h 747096"/>
                <a:gd name="connsiteX21" fmla="*/ 1003821 w 5264290"/>
                <a:gd name="connsiteY21" fmla="*/ 112497 h 747096"/>
                <a:gd name="connsiteX22" fmla="*/ 1078819 w 5264290"/>
                <a:gd name="connsiteY22" fmla="*/ 103843 h 747096"/>
                <a:gd name="connsiteX23" fmla="*/ 1145163 w 5264290"/>
                <a:gd name="connsiteY23" fmla="*/ 95189 h 747096"/>
                <a:gd name="connsiteX24" fmla="*/ 1243238 w 5264290"/>
                <a:gd name="connsiteY24" fmla="*/ 86536 h 747096"/>
                <a:gd name="connsiteX25" fmla="*/ 1375927 w 5264290"/>
                <a:gd name="connsiteY25" fmla="*/ 77882 h 747096"/>
                <a:gd name="connsiteX26" fmla="*/ 1574960 w 5264290"/>
                <a:gd name="connsiteY26" fmla="*/ 63460 h 747096"/>
                <a:gd name="connsiteX27" fmla="*/ 1794185 w 5264290"/>
                <a:gd name="connsiteY27" fmla="*/ 54806 h 747096"/>
                <a:gd name="connsiteX28" fmla="*/ 1996103 w 5264290"/>
                <a:gd name="connsiteY28" fmla="*/ 43268 h 747096"/>
                <a:gd name="connsiteX29" fmla="*/ 2172060 w 5264290"/>
                <a:gd name="connsiteY29" fmla="*/ 34614 h 747096"/>
                <a:gd name="connsiteX30" fmla="*/ 2399939 w 5264290"/>
                <a:gd name="connsiteY30" fmla="*/ 25960 h 747096"/>
                <a:gd name="connsiteX31" fmla="*/ 2723008 w 5264290"/>
                <a:gd name="connsiteY31" fmla="*/ 20191 h 747096"/>
                <a:gd name="connsiteX32" fmla="*/ 2858581 w 5264290"/>
                <a:gd name="connsiteY32" fmla="*/ 17307 h 747096"/>
                <a:gd name="connsiteX33" fmla="*/ 2985501 w 5264290"/>
                <a:gd name="connsiteY33" fmla="*/ 14422 h 747096"/>
                <a:gd name="connsiteX34" fmla="*/ 3115306 w 5264290"/>
                <a:gd name="connsiteY34" fmla="*/ 11538 h 747096"/>
                <a:gd name="connsiteX35" fmla="*/ 3294147 w 5264290"/>
                <a:gd name="connsiteY35" fmla="*/ 8653 h 747096"/>
                <a:gd name="connsiteX36" fmla="*/ 3464335 w 5264290"/>
                <a:gd name="connsiteY36" fmla="*/ 8653 h 747096"/>
                <a:gd name="connsiteX37" fmla="*/ 3669138 w 5264290"/>
                <a:gd name="connsiteY37" fmla="*/ 2884 h 747096"/>
                <a:gd name="connsiteX38" fmla="*/ 5264290 w 5264290"/>
                <a:gd name="connsiteY38" fmla="*/ 0 h 747096"/>
                <a:gd name="connsiteX39" fmla="*/ 5264290 w 5264290"/>
                <a:gd name="connsiteY39" fmla="*/ 744212 h 747096"/>
                <a:gd name="connsiteX40" fmla="*/ 3135498 w 5264290"/>
                <a:gd name="connsiteY40" fmla="*/ 747096 h 747096"/>
                <a:gd name="connsiteX41" fmla="*/ 3005693 w 5264290"/>
                <a:gd name="connsiteY41" fmla="*/ 744212 h 747096"/>
                <a:gd name="connsiteX42" fmla="*/ 2910503 w 5264290"/>
                <a:gd name="connsiteY42" fmla="*/ 747096 h 747096"/>
                <a:gd name="connsiteX43" fmla="*/ 2835505 w 5264290"/>
                <a:gd name="connsiteY43" fmla="*/ 747096 h 747096"/>
                <a:gd name="connsiteX44" fmla="*/ 2777814 w 5264290"/>
                <a:gd name="connsiteY44" fmla="*/ 744212 h 747096"/>
                <a:gd name="connsiteX45" fmla="*/ 2656664 w 5264290"/>
                <a:gd name="connsiteY45" fmla="*/ 741327 h 747096"/>
                <a:gd name="connsiteX46" fmla="*/ 2509552 w 5264290"/>
                <a:gd name="connsiteY46" fmla="*/ 741327 h 747096"/>
                <a:gd name="connsiteX47" fmla="*/ 2414362 w 5264290"/>
                <a:gd name="connsiteY47" fmla="*/ 735558 h 747096"/>
                <a:gd name="connsiteX48" fmla="*/ 2324941 w 5264290"/>
                <a:gd name="connsiteY48" fmla="*/ 729789 h 747096"/>
                <a:gd name="connsiteX49" fmla="*/ 2221098 w 5264290"/>
                <a:gd name="connsiteY49" fmla="*/ 724020 h 747096"/>
                <a:gd name="connsiteX50" fmla="*/ 2146099 w 5264290"/>
                <a:gd name="connsiteY50" fmla="*/ 718251 h 747096"/>
                <a:gd name="connsiteX51" fmla="*/ 2033602 w 5264290"/>
                <a:gd name="connsiteY51" fmla="*/ 706713 h 747096"/>
                <a:gd name="connsiteX52" fmla="*/ 1944181 w 5264290"/>
                <a:gd name="connsiteY52" fmla="*/ 695174 h 747096"/>
                <a:gd name="connsiteX53" fmla="*/ 1840338 w 5264290"/>
                <a:gd name="connsiteY53" fmla="*/ 686521 h 747096"/>
                <a:gd name="connsiteX54" fmla="*/ 1655727 w 5264290"/>
                <a:gd name="connsiteY54" fmla="*/ 669213 h 747096"/>
                <a:gd name="connsiteX55" fmla="*/ 1471116 w 5264290"/>
                <a:gd name="connsiteY55" fmla="*/ 649022 h 747096"/>
                <a:gd name="connsiteX56" fmla="*/ 1277852 w 5264290"/>
                <a:gd name="connsiteY56" fmla="*/ 631714 h 747096"/>
                <a:gd name="connsiteX57" fmla="*/ 1021128 w 5264290"/>
                <a:gd name="connsiteY57" fmla="*/ 602869 h 747096"/>
                <a:gd name="connsiteX58" fmla="*/ 775942 w 5264290"/>
                <a:gd name="connsiteY58" fmla="*/ 571139 h 747096"/>
                <a:gd name="connsiteX59" fmla="*/ 631715 w 5264290"/>
                <a:gd name="connsiteY59" fmla="*/ 548063 h 747096"/>
                <a:gd name="connsiteX60" fmla="*/ 496141 w 5264290"/>
                <a:gd name="connsiteY60" fmla="*/ 522102 h 747096"/>
                <a:gd name="connsiteX61" fmla="*/ 331722 w 5264290"/>
                <a:gd name="connsiteY61" fmla="*/ 496141 h 747096"/>
                <a:gd name="connsiteX62" fmla="*/ 126920 w 5264290"/>
                <a:gd name="connsiteY62" fmla="*/ 461526 h 747096"/>
                <a:gd name="connsiteX63" fmla="*/ 0 w 5264290"/>
                <a:gd name="connsiteY63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09605 w 5264290"/>
                <a:gd name="connsiteY10" fmla="*/ 233648 h 747096"/>
                <a:gd name="connsiteX11" fmla="*/ 438450 w 5264290"/>
                <a:gd name="connsiteY11" fmla="*/ 222109 h 747096"/>
                <a:gd name="connsiteX12" fmla="*/ 527871 w 5264290"/>
                <a:gd name="connsiteY12" fmla="*/ 196148 h 747096"/>
                <a:gd name="connsiteX13" fmla="*/ 576908 w 5264290"/>
                <a:gd name="connsiteY13" fmla="*/ 187495 h 747096"/>
                <a:gd name="connsiteX14" fmla="*/ 611523 w 5264290"/>
                <a:gd name="connsiteY14" fmla="*/ 178841 h 747096"/>
                <a:gd name="connsiteX15" fmla="*/ 689405 w 5264290"/>
                <a:gd name="connsiteY15" fmla="*/ 161534 h 747096"/>
                <a:gd name="connsiteX16" fmla="*/ 761519 w 5264290"/>
                <a:gd name="connsiteY16" fmla="*/ 147111 h 747096"/>
                <a:gd name="connsiteX17" fmla="*/ 819210 w 5264290"/>
                <a:gd name="connsiteY17" fmla="*/ 138458 h 747096"/>
                <a:gd name="connsiteX18" fmla="*/ 856709 w 5264290"/>
                <a:gd name="connsiteY18" fmla="*/ 129804 h 747096"/>
                <a:gd name="connsiteX19" fmla="*/ 911515 w 5264290"/>
                <a:gd name="connsiteY19" fmla="*/ 124035 h 747096"/>
                <a:gd name="connsiteX20" fmla="*/ 1003821 w 5264290"/>
                <a:gd name="connsiteY20" fmla="*/ 112497 h 747096"/>
                <a:gd name="connsiteX21" fmla="*/ 1078819 w 5264290"/>
                <a:gd name="connsiteY21" fmla="*/ 103843 h 747096"/>
                <a:gd name="connsiteX22" fmla="*/ 1145163 w 5264290"/>
                <a:gd name="connsiteY22" fmla="*/ 95189 h 747096"/>
                <a:gd name="connsiteX23" fmla="*/ 1243238 w 5264290"/>
                <a:gd name="connsiteY23" fmla="*/ 86536 h 747096"/>
                <a:gd name="connsiteX24" fmla="*/ 1375927 w 5264290"/>
                <a:gd name="connsiteY24" fmla="*/ 77882 h 747096"/>
                <a:gd name="connsiteX25" fmla="*/ 1574960 w 5264290"/>
                <a:gd name="connsiteY25" fmla="*/ 63460 h 747096"/>
                <a:gd name="connsiteX26" fmla="*/ 1794185 w 5264290"/>
                <a:gd name="connsiteY26" fmla="*/ 54806 h 747096"/>
                <a:gd name="connsiteX27" fmla="*/ 1996103 w 5264290"/>
                <a:gd name="connsiteY27" fmla="*/ 43268 h 747096"/>
                <a:gd name="connsiteX28" fmla="*/ 2172060 w 5264290"/>
                <a:gd name="connsiteY28" fmla="*/ 34614 h 747096"/>
                <a:gd name="connsiteX29" fmla="*/ 2399939 w 5264290"/>
                <a:gd name="connsiteY29" fmla="*/ 25960 h 747096"/>
                <a:gd name="connsiteX30" fmla="*/ 2723008 w 5264290"/>
                <a:gd name="connsiteY30" fmla="*/ 20191 h 747096"/>
                <a:gd name="connsiteX31" fmla="*/ 2858581 w 5264290"/>
                <a:gd name="connsiteY31" fmla="*/ 17307 h 747096"/>
                <a:gd name="connsiteX32" fmla="*/ 2985501 w 5264290"/>
                <a:gd name="connsiteY32" fmla="*/ 14422 h 747096"/>
                <a:gd name="connsiteX33" fmla="*/ 3115306 w 5264290"/>
                <a:gd name="connsiteY33" fmla="*/ 11538 h 747096"/>
                <a:gd name="connsiteX34" fmla="*/ 3294147 w 5264290"/>
                <a:gd name="connsiteY34" fmla="*/ 8653 h 747096"/>
                <a:gd name="connsiteX35" fmla="*/ 3464335 w 5264290"/>
                <a:gd name="connsiteY35" fmla="*/ 8653 h 747096"/>
                <a:gd name="connsiteX36" fmla="*/ 3669138 w 5264290"/>
                <a:gd name="connsiteY36" fmla="*/ 2884 h 747096"/>
                <a:gd name="connsiteX37" fmla="*/ 5264290 w 5264290"/>
                <a:gd name="connsiteY37" fmla="*/ 0 h 747096"/>
                <a:gd name="connsiteX38" fmla="*/ 5264290 w 5264290"/>
                <a:gd name="connsiteY38" fmla="*/ 744212 h 747096"/>
                <a:gd name="connsiteX39" fmla="*/ 3135498 w 5264290"/>
                <a:gd name="connsiteY39" fmla="*/ 747096 h 747096"/>
                <a:gd name="connsiteX40" fmla="*/ 3005693 w 5264290"/>
                <a:gd name="connsiteY40" fmla="*/ 744212 h 747096"/>
                <a:gd name="connsiteX41" fmla="*/ 2910503 w 5264290"/>
                <a:gd name="connsiteY41" fmla="*/ 747096 h 747096"/>
                <a:gd name="connsiteX42" fmla="*/ 2835505 w 5264290"/>
                <a:gd name="connsiteY42" fmla="*/ 747096 h 747096"/>
                <a:gd name="connsiteX43" fmla="*/ 2777814 w 5264290"/>
                <a:gd name="connsiteY43" fmla="*/ 744212 h 747096"/>
                <a:gd name="connsiteX44" fmla="*/ 2656664 w 5264290"/>
                <a:gd name="connsiteY44" fmla="*/ 741327 h 747096"/>
                <a:gd name="connsiteX45" fmla="*/ 2509552 w 5264290"/>
                <a:gd name="connsiteY45" fmla="*/ 741327 h 747096"/>
                <a:gd name="connsiteX46" fmla="*/ 2414362 w 5264290"/>
                <a:gd name="connsiteY46" fmla="*/ 735558 h 747096"/>
                <a:gd name="connsiteX47" fmla="*/ 2324941 w 5264290"/>
                <a:gd name="connsiteY47" fmla="*/ 729789 h 747096"/>
                <a:gd name="connsiteX48" fmla="*/ 2221098 w 5264290"/>
                <a:gd name="connsiteY48" fmla="*/ 724020 h 747096"/>
                <a:gd name="connsiteX49" fmla="*/ 2146099 w 5264290"/>
                <a:gd name="connsiteY49" fmla="*/ 718251 h 747096"/>
                <a:gd name="connsiteX50" fmla="*/ 2033602 w 5264290"/>
                <a:gd name="connsiteY50" fmla="*/ 706713 h 747096"/>
                <a:gd name="connsiteX51" fmla="*/ 1944181 w 5264290"/>
                <a:gd name="connsiteY51" fmla="*/ 695174 h 747096"/>
                <a:gd name="connsiteX52" fmla="*/ 1840338 w 5264290"/>
                <a:gd name="connsiteY52" fmla="*/ 686521 h 747096"/>
                <a:gd name="connsiteX53" fmla="*/ 1655727 w 5264290"/>
                <a:gd name="connsiteY53" fmla="*/ 669213 h 747096"/>
                <a:gd name="connsiteX54" fmla="*/ 1471116 w 5264290"/>
                <a:gd name="connsiteY54" fmla="*/ 649022 h 747096"/>
                <a:gd name="connsiteX55" fmla="*/ 1277852 w 5264290"/>
                <a:gd name="connsiteY55" fmla="*/ 631714 h 747096"/>
                <a:gd name="connsiteX56" fmla="*/ 1021128 w 5264290"/>
                <a:gd name="connsiteY56" fmla="*/ 602869 h 747096"/>
                <a:gd name="connsiteX57" fmla="*/ 775942 w 5264290"/>
                <a:gd name="connsiteY57" fmla="*/ 571139 h 747096"/>
                <a:gd name="connsiteX58" fmla="*/ 631715 w 5264290"/>
                <a:gd name="connsiteY58" fmla="*/ 548063 h 747096"/>
                <a:gd name="connsiteX59" fmla="*/ 496141 w 5264290"/>
                <a:gd name="connsiteY59" fmla="*/ 522102 h 747096"/>
                <a:gd name="connsiteX60" fmla="*/ 331722 w 5264290"/>
                <a:gd name="connsiteY60" fmla="*/ 496141 h 747096"/>
                <a:gd name="connsiteX61" fmla="*/ 126920 w 5264290"/>
                <a:gd name="connsiteY61" fmla="*/ 461526 h 747096"/>
                <a:gd name="connsiteX62" fmla="*/ 0 w 5264290"/>
                <a:gd name="connsiteY62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09605 w 5264290"/>
                <a:gd name="connsiteY10" fmla="*/ 233648 h 747096"/>
                <a:gd name="connsiteX11" fmla="*/ 438450 w 5264290"/>
                <a:gd name="connsiteY11" fmla="*/ 222109 h 747096"/>
                <a:gd name="connsiteX12" fmla="*/ 527871 w 5264290"/>
                <a:gd name="connsiteY12" fmla="*/ 196148 h 747096"/>
                <a:gd name="connsiteX13" fmla="*/ 611523 w 5264290"/>
                <a:gd name="connsiteY13" fmla="*/ 178841 h 747096"/>
                <a:gd name="connsiteX14" fmla="*/ 689405 w 5264290"/>
                <a:gd name="connsiteY14" fmla="*/ 161534 h 747096"/>
                <a:gd name="connsiteX15" fmla="*/ 761519 w 5264290"/>
                <a:gd name="connsiteY15" fmla="*/ 147111 h 747096"/>
                <a:gd name="connsiteX16" fmla="*/ 819210 w 5264290"/>
                <a:gd name="connsiteY16" fmla="*/ 138458 h 747096"/>
                <a:gd name="connsiteX17" fmla="*/ 856709 w 5264290"/>
                <a:gd name="connsiteY17" fmla="*/ 129804 h 747096"/>
                <a:gd name="connsiteX18" fmla="*/ 911515 w 5264290"/>
                <a:gd name="connsiteY18" fmla="*/ 124035 h 747096"/>
                <a:gd name="connsiteX19" fmla="*/ 1003821 w 5264290"/>
                <a:gd name="connsiteY19" fmla="*/ 112497 h 747096"/>
                <a:gd name="connsiteX20" fmla="*/ 1078819 w 5264290"/>
                <a:gd name="connsiteY20" fmla="*/ 103843 h 747096"/>
                <a:gd name="connsiteX21" fmla="*/ 1145163 w 5264290"/>
                <a:gd name="connsiteY21" fmla="*/ 95189 h 747096"/>
                <a:gd name="connsiteX22" fmla="*/ 1243238 w 5264290"/>
                <a:gd name="connsiteY22" fmla="*/ 86536 h 747096"/>
                <a:gd name="connsiteX23" fmla="*/ 1375927 w 5264290"/>
                <a:gd name="connsiteY23" fmla="*/ 77882 h 747096"/>
                <a:gd name="connsiteX24" fmla="*/ 1574960 w 5264290"/>
                <a:gd name="connsiteY24" fmla="*/ 63460 h 747096"/>
                <a:gd name="connsiteX25" fmla="*/ 1794185 w 5264290"/>
                <a:gd name="connsiteY25" fmla="*/ 54806 h 747096"/>
                <a:gd name="connsiteX26" fmla="*/ 1996103 w 5264290"/>
                <a:gd name="connsiteY26" fmla="*/ 43268 h 747096"/>
                <a:gd name="connsiteX27" fmla="*/ 2172060 w 5264290"/>
                <a:gd name="connsiteY27" fmla="*/ 34614 h 747096"/>
                <a:gd name="connsiteX28" fmla="*/ 2399939 w 5264290"/>
                <a:gd name="connsiteY28" fmla="*/ 25960 h 747096"/>
                <a:gd name="connsiteX29" fmla="*/ 2723008 w 5264290"/>
                <a:gd name="connsiteY29" fmla="*/ 20191 h 747096"/>
                <a:gd name="connsiteX30" fmla="*/ 2858581 w 5264290"/>
                <a:gd name="connsiteY30" fmla="*/ 17307 h 747096"/>
                <a:gd name="connsiteX31" fmla="*/ 2985501 w 5264290"/>
                <a:gd name="connsiteY31" fmla="*/ 14422 h 747096"/>
                <a:gd name="connsiteX32" fmla="*/ 3115306 w 5264290"/>
                <a:gd name="connsiteY32" fmla="*/ 11538 h 747096"/>
                <a:gd name="connsiteX33" fmla="*/ 3294147 w 5264290"/>
                <a:gd name="connsiteY33" fmla="*/ 8653 h 747096"/>
                <a:gd name="connsiteX34" fmla="*/ 3464335 w 5264290"/>
                <a:gd name="connsiteY34" fmla="*/ 8653 h 747096"/>
                <a:gd name="connsiteX35" fmla="*/ 3669138 w 5264290"/>
                <a:gd name="connsiteY35" fmla="*/ 2884 h 747096"/>
                <a:gd name="connsiteX36" fmla="*/ 5264290 w 5264290"/>
                <a:gd name="connsiteY36" fmla="*/ 0 h 747096"/>
                <a:gd name="connsiteX37" fmla="*/ 5264290 w 5264290"/>
                <a:gd name="connsiteY37" fmla="*/ 744212 h 747096"/>
                <a:gd name="connsiteX38" fmla="*/ 3135498 w 5264290"/>
                <a:gd name="connsiteY38" fmla="*/ 747096 h 747096"/>
                <a:gd name="connsiteX39" fmla="*/ 3005693 w 5264290"/>
                <a:gd name="connsiteY39" fmla="*/ 744212 h 747096"/>
                <a:gd name="connsiteX40" fmla="*/ 2910503 w 5264290"/>
                <a:gd name="connsiteY40" fmla="*/ 747096 h 747096"/>
                <a:gd name="connsiteX41" fmla="*/ 2835505 w 5264290"/>
                <a:gd name="connsiteY41" fmla="*/ 747096 h 747096"/>
                <a:gd name="connsiteX42" fmla="*/ 2777814 w 5264290"/>
                <a:gd name="connsiteY42" fmla="*/ 744212 h 747096"/>
                <a:gd name="connsiteX43" fmla="*/ 2656664 w 5264290"/>
                <a:gd name="connsiteY43" fmla="*/ 741327 h 747096"/>
                <a:gd name="connsiteX44" fmla="*/ 2509552 w 5264290"/>
                <a:gd name="connsiteY44" fmla="*/ 741327 h 747096"/>
                <a:gd name="connsiteX45" fmla="*/ 2414362 w 5264290"/>
                <a:gd name="connsiteY45" fmla="*/ 735558 h 747096"/>
                <a:gd name="connsiteX46" fmla="*/ 2324941 w 5264290"/>
                <a:gd name="connsiteY46" fmla="*/ 729789 h 747096"/>
                <a:gd name="connsiteX47" fmla="*/ 2221098 w 5264290"/>
                <a:gd name="connsiteY47" fmla="*/ 724020 h 747096"/>
                <a:gd name="connsiteX48" fmla="*/ 2146099 w 5264290"/>
                <a:gd name="connsiteY48" fmla="*/ 718251 h 747096"/>
                <a:gd name="connsiteX49" fmla="*/ 2033602 w 5264290"/>
                <a:gd name="connsiteY49" fmla="*/ 706713 h 747096"/>
                <a:gd name="connsiteX50" fmla="*/ 1944181 w 5264290"/>
                <a:gd name="connsiteY50" fmla="*/ 695174 h 747096"/>
                <a:gd name="connsiteX51" fmla="*/ 1840338 w 5264290"/>
                <a:gd name="connsiteY51" fmla="*/ 686521 h 747096"/>
                <a:gd name="connsiteX52" fmla="*/ 1655727 w 5264290"/>
                <a:gd name="connsiteY52" fmla="*/ 669213 h 747096"/>
                <a:gd name="connsiteX53" fmla="*/ 1471116 w 5264290"/>
                <a:gd name="connsiteY53" fmla="*/ 649022 h 747096"/>
                <a:gd name="connsiteX54" fmla="*/ 1277852 w 5264290"/>
                <a:gd name="connsiteY54" fmla="*/ 631714 h 747096"/>
                <a:gd name="connsiteX55" fmla="*/ 1021128 w 5264290"/>
                <a:gd name="connsiteY55" fmla="*/ 602869 h 747096"/>
                <a:gd name="connsiteX56" fmla="*/ 775942 w 5264290"/>
                <a:gd name="connsiteY56" fmla="*/ 571139 h 747096"/>
                <a:gd name="connsiteX57" fmla="*/ 631715 w 5264290"/>
                <a:gd name="connsiteY57" fmla="*/ 548063 h 747096"/>
                <a:gd name="connsiteX58" fmla="*/ 496141 w 5264290"/>
                <a:gd name="connsiteY58" fmla="*/ 522102 h 747096"/>
                <a:gd name="connsiteX59" fmla="*/ 331722 w 5264290"/>
                <a:gd name="connsiteY59" fmla="*/ 496141 h 747096"/>
                <a:gd name="connsiteX60" fmla="*/ 126920 w 5264290"/>
                <a:gd name="connsiteY60" fmla="*/ 461526 h 747096"/>
                <a:gd name="connsiteX61" fmla="*/ 0 w 5264290"/>
                <a:gd name="connsiteY61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38450 w 5264290"/>
                <a:gd name="connsiteY10" fmla="*/ 222109 h 747096"/>
                <a:gd name="connsiteX11" fmla="*/ 527871 w 5264290"/>
                <a:gd name="connsiteY11" fmla="*/ 196148 h 747096"/>
                <a:gd name="connsiteX12" fmla="*/ 611523 w 5264290"/>
                <a:gd name="connsiteY12" fmla="*/ 178841 h 747096"/>
                <a:gd name="connsiteX13" fmla="*/ 689405 w 5264290"/>
                <a:gd name="connsiteY13" fmla="*/ 161534 h 747096"/>
                <a:gd name="connsiteX14" fmla="*/ 761519 w 5264290"/>
                <a:gd name="connsiteY14" fmla="*/ 147111 h 747096"/>
                <a:gd name="connsiteX15" fmla="*/ 819210 w 5264290"/>
                <a:gd name="connsiteY15" fmla="*/ 138458 h 747096"/>
                <a:gd name="connsiteX16" fmla="*/ 856709 w 5264290"/>
                <a:gd name="connsiteY16" fmla="*/ 129804 h 747096"/>
                <a:gd name="connsiteX17" fmla="*/ 911515 w 5264290"/>
                <a:gd name="connsiteY17" fmla="*/ 124035 h 747096"/>
                <a:gd name="connsiteX18" fmla="*/ 1003821 w 5264290"/>
                <a:gd name="connsiteY18" fmla="*/ 112497 h 747096"/>
                <a:gd name="connsiteX19" fmla="*/ 1078819 w 5264290"/>
                <a:gd name="connsiteY19" fmla="*/ 103843 h 747096"/>
                <a:gd name="connsiteX20" fmla="*/ 1145163 w 5264290"/>
                <a:gd name="connsiteY20" fmla="*/ 95189 h 747096"/>
                <a:gd name="connsiteX21" fmla="*/ 1243238 w 5264290"/>
                <a:gd name="connsiteY21" fmla="*/ 86536 h 747096"/>
                <a:gd name="connsiteX22" fmla="*/ 1375927 w 5264290"/>
                <a:gd name="connsiteY22" fmla="*/ 77882 h 747096"/>
                <a:gd name="connsiteX23" fmla="*/ 1574960 w 5264290"/>
                <a:gd name="connsiteY23" fmla="*/ 63460 h 747096"/>
                <a:gd name="connsiteX24" fmla="*/ 1794185 w 5264290"/>
                <a:gd name="connsiteY24" fmla="*/ 54806 h 747096"/>
                <a:gd name="connsiteX25" fmla="*/ 1996103 w 5264290"/>
                <a:gd name="connsiteY25" fmla="*/ 43268 h 747096"/>
                <a:gd name="connsiteX26" fmla="*/ 2172060 w 5264290"/>
                <a:gd name="connsiteY26" fmla="*/ 34614 h 747096"/>
                <a:gd name="connsiteX27" fmla="*/ 2399939 w 5264290"/>
                <a:gd name="connsiteY27" fmla="*/ 25960 h 747096"/>
                <a:gd name="connsiteX28" fmla="*/ 2723008 w 5264290"/>
                <a:gd name="connsiteY28" fmla="*/ 20191 h 747096"/>
                <a:gd name="connsiteX29" fmla="*/ 2858581 w 5264290"/>
                <a:gd name="connsiteY29" fmla="*/ 17307 h 747096"/>
                <a:gd name="connsiteX30" fmla="*/ 2985501 w 5264290"/>
                <a:gd name="connsiteY30" fmla="*/ 14422 h 747096"/>
                <a:gd name="connsiteX31" fmla="*/ 3115306 w 5264290"/>
                <a:gd name="connsiteY31" fmla="*/ 11538 h 747096"/>
                <a:gd name="connsiteX32" fmla="*/ 3294147 w 5264290"/>
                <a:gd name="connsiteY32" fmla="*/ 8653 h 747096"/>
                <a:gd name="connsiteX33" fmla="*/ 3464335 w 5264290"/>
                <a:gd name="connsiteY33" fmla="*/ 8653 h 747096"/>
                <a:gd name="connsiteX34" fmla="*/ 3669138 w 5264290"/>
                <a:gd name="connsiteY34" fmla="*/ 2884 h 747096"/>
                <a:gd name="connsiteX35" fmla="*/ 5264290 w 5264290"/>
                <a:gd name="connsiteY35" fmla="*/ 0 h 747096"/>
                <a:gd name="connsiteX36" fmla="*/ 5264290 w 5264290"/>
                <a:gd name="connsiteY36" fmla="*/ 744212 h 747096"/>
                <a:gd name="connsiteX37" fmla="*/ 3135498 w 5264290"/>
                <a:gd name="connsiteY37" fmla="*/ 747096 h 747096"/>
                <a:gd name="connsiteX38" fmla="*/ 3005693 w 5264290"/>
                <a:gd name="connsiteY38" fmla="*/ 744212 h 747096"/>
                <a:gd name="connsiteX39" fmla="*/ 2910503 w 5264290"/>
                <a:gd name="connsiteY39" fmla="*/ 747096 h 747096"/>
                <a:gd name="connsiteX40" fmla="*/ 2835505 w 5264290"/>
                <a:gd name="connsiteY40" fmla="*/ 747096 h 747096"/>
                <a:gd name="connsiteX41" fmla="*/ 2777814 w 5264290"/>
                <a:gd name="connsiteY41" fmla="*/ 744212 h 747096"/>
                <a:gd name="connsiteX42" fmla="*/ 2656664 w 5264290"/>
                <a:gd name="connsiteY42" fmla="*/ 741327 h 747096"/>
                <a:gd name="connsiteX43" fmla="*/ 2509552 w 5264290"/>
                <a:gd name="connsiteY43" fmla="*/ 741327 h 747096"/>
                <a:gd name="connsiteX44" fmla="*/ 2414362 w 5264290"/>
                <a:gd name="connsiteY44" fmla="*/ 735558 h 747096"/>
                <a:gd name="connsiteX45" fmla="*/ 2324941 w 5264290"/>
                <a:gd name="connsiteY45" fmla="*/ 729789 h 747096"/>
                <a:gd name="connsiteX46" fmla="*/ 2221098 w 5264290"/>
                <a:gd name="connsiteY46" fmla="*/ 724020 h 747096"/>
                <a:gd name="connsiteX47" fmla="*/ 2146099 w 5264290"/>
                <a:gd name="connsiteY47" fmla="*/ 718251 h 747096"/>
                <a:gd name="connsiteX48" fmla="*/ 2033602 w 5264290"/>
                <a:gd name="connsiteY48" fmla="*/ 706713 h 747096"/>
                <a:gd name="connsiteX49" fmla="*/ 1944181 w 5264290"/>
                <a:gd name="connsiteY49" fmla="*/ 695174 h 747096"/>
                <a:gd name="connsiteX50" fmla="*/ 1840338 w 5264290"/>
                <a:gd name="connsiteY50" fmla="*/ 686521 h 747096"/>
                <a:gd name="connsiteX51" fmla="*/ 1655727 w 5264290"/>
                <a:gd name="connsiteY51" fmla="*/ 669213 h 747096"/>
                <a:gd name="connsiteX52" fmla="*/ 1471116 w 5264290"/>
                <a:gd name="connsiteY52" fmla="*/ 649022 h 747096"/>
                <a:gd name="connsiteX53" fmla="*/ 1277852 w 5264290"/>
                <a:gd name="connsiteY53" fmla="*/ 631714 h 747096"/>
                <a:gd name="connsiteX54" fmla="*/ 1021128 w 5264290"/>
                <a:gd name="connsiteY54" fmla="*/ 602869 h 747096"/>
                <a:gd name="connsiteX55" fmla="*/ 775942 w 5264290"/>
                <a:gd name="connsiteY55" fmla="*/ 571139 h 747096"/>
                <a:gd name="connsiteX56" fmla="*/ 631715 w 5264290"/>
                <a:gd name="connsiteY56" fmla="*/ 548063 h 747096"/>
                <a:gd name="connsiteX57" fmla="*/ 496141 w 5264290"/>
                <a:gd name="connsiteY57" fmla="*/ 522102 h 747096"/>
                <a:gd name="connsiteX58" fmla="*/ 331722 w 5264290"/>
                <a:gd name="connsiteY58" fmla="*/ 496141 h 747096"/>
                <a:gd name="connsiteX59" fmla="*/ 126920 w 5264290"/>
                <a:gd name="connsiteY59" fmla="*/ 461526 h 747096"/>
                <a:gd name="connsiteX60" fmla="*/ 0 w 5264290"/>
                <a:gd name="connsiteY60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38450 w 5264290"/>
                <a:gd name="connsiteY10" fmla="*/ 222109 h 747096"/>
                <a:gd name="connsiteX11" fmla="*/ 527871 w 5264290"/>
                <a:gd name="connsiteY11" fmla="*/ 196148 h 747096"/>
                <a:gd name="connsiteX12" fmla="*/ 611523 w 5264290"/>
                <a:gd name="connsiteY12" fmla="*/ 178841 h 747096"/>
                <a:gd name="connsiteX13" fmla="*/ 689405 w 5264290"/>
                <a:gd name="connsiteY13" fmla="*/ 161534 h 747096"/>
                <a:gd name="connsiteX14" fmla="*/ 761519 w 5264290"/>
                <a:gd name="connsiteY14" fmla="*/ 147111 h 747096"/>
                <a:gd name="connsiteX15" fmla="*/ 819210 w 5264290"/>
                <a:gd name="connsiteY15" fmla="*/ 138458 h 747096"/>
                <a:gd name="connsiteX16" fmla="*/ 856709 w 5264290"/>
                <a:gd name="connsiteY16" fmla="*/ 129804 h 747096"/>
                <a:gd name="connsiteX17" fmla="*/ 911515 w 5264290"/>
                <a:gd name="connsiteY17" fmla="*/ 124035 h 747096"/>
                <a:gd name="connsiteX18" fmla="*/ 1003821 w 5264290"/>
                <a:gd name="connsiteY18" fmla="*/ 112497 h 747096"/>
                <a:gd name="connsiteX19" fmla="*/ 1078819 w 5264290"/>
                <a:gd name="connsiteY19" fmla="*/ 103843 h 747096"/>
                <a:gd name="connsiteX20" fmla="*/ 1145163 w 5264290"/>
                <a:gd name="connsiteY20" fmla="*/ 95189 h 747096"/>
                <a:gd name="connsiteX21" fmla="*/ 1243238 w 5264290"/>
                <a:gd name="connsiteY21" fmla="*/ 86536 h 747096"/>
                <a:gd name="connsiteX22" fmla="*/ 1375927 w 5264290"/>
                <a:gd name="connsiteY22" fmla="*/ 77882 h 747096"/>
                <a:gd name="connsiteX23" fmla="*/ 1574960 w 5264290"/>
                <a:gd name="connsiteY23" fmla="*/ 63460 h 747096"/>
                <a:gd name="connsiteX24" fmla="*/ 1794185 w 5264290"/>
                <a:gd name="connsiteY24" fmla="*/ 54806 h 747096"/>
                <a:gd name="connsiteX25" fmla="*/ 1996103 w 5264290"/>
                <a:gd name="connsiteY25" fmla="*/ 43268 h 747096"/>
                <a:gd name="connsiteX26" fmla="*/ 2172060 w 5264290"/>
                <a:gd name="connsiteY26" fmla="*/ 34614 h 747096"/>
                <a:gd name="connsiteX27" fmla="*/ 2399939 w 5264290"/>
                <a:gd name="connsiteY27" fmla="*/ 25960 h 747096"/>
                <a:gd name="connsiteX28" fmla="*/ 2723008 w 5264290"/>
                <a:gd name="connsiteY28" fmla="*/ 20191 h 747096"/>
                <a:gd name="connsiteX29" fmla="*/ 2858581 w 5264290"/>
                <a:gd name="connsiteY29" fmla="*/ 17307 h 747096"/>
                <a:gd name="connsiteX30" fmla="*/ 2985501 w 5264290"/>
                <a:gd name="connsiteY30" fmla="*/ 14422 h 747096"/>
                <a:gd name="connsiteX31" fmla="*/ 3115306 w 5264290"/>
                <a:gd name="connsiteY31" fmla="*/ 11538 h 747096"/>
                <a:gd name="connsiteX32" fmla="*/ 3294147 w 5264290"/>
                <a:gd name="connsiteY32" fmla="*/ 8653 h 747096"/>
                <a:gd name="connsiteX33" fmla="*/ 3464335 w 5264290"/>
                <a:gd name="connsiteY33" fmla="*/ 8653 h 747096"/>
                <a:gd name="connsiteX34" fmla="*/ 3669138 w 5264290"/>
                <a:gd name="connsiteY34" fmla="*/ 2884 h 747096"/>
                <a:gd name="connsiteX35" fmla="*/ 5264290 w 5264290"/>
                <a:gd name="connsiteY35" fmla="*/ 0 h 747096"/>
                <a:gd name="connsiteX36" fmla="*/ 5264290 w 5264290"/>
                <a:gd name="connsiteY36" fmla="*/ 744212 h 747096"/>
                <a:gd name="connsiteX37" fmla="*/ 3135498 w 5264290"/>
                <a:gd name="connsiteY37" fmla="*/ 747096 h 747096"/>
                <a:gd name="connsiteX38" fmla="*/ 3005693 w 5264290"/>
                <a:gd name="connsiteY38" fmla="*/ 744212 h 747096"/>
                <a:gd name="connsiteX39" fmla="*/ 2910503 w 5264290"/>
                <a:gd name="connsiteY39" fmla="*/ 747096 h 747096"/>
                <a:gd name="connsiteX40" fmla="*/ 2835505 w 5264290"/>
                <a:gd name="connsiteY40" fmla="*/ 747096 h 747096"/>
                <a:gd name="connsiteX41" fmla="*/ 2777814 w 5264290"/>
                <a:gd name="connsiteY41" fmla="*/ 744212 h 747096"/>
                <a:gd name="connsiteX42" fmla="*/ 2509552 w 5264290"/>
                <a:gd name="connsiteY42" fmla="*/ 741327 h 747096"/>
                <a:gd name="connsiteX43" fmla="*/ 2414362 w 5264290"/>
                <a:gd name="connsiteY43" fmla="*/ 735558 h 747096"/>
                <a:gd name="connsiteX44" fmla="*/ 2324941 w 5264290"/>
                <a:gd name="connsiteY44" fmla="*/ 729789 h 747096"/>
                <a:gd name="connsiteX45" fmla="*/ 2221098 w 5264290"/>
                <a:gd name="connsiteY45" fmla="*/ 724020 h 747096"/>
                <a:gd name="connsiteX46" fmla="*/ 2146099 w 5264290"/>
                <a:gd name="connsiteY46" fmla="*/ 718251 h 747096"/>
                <a:gd name="connsiteX47" fmla="*/ 2033602 w 5264290"/>
                <a:gd name="connsiteY47" fmla="*/ 706713 h 747096"/>
                <a:gd name="connsiteX48" fmla="*/ 1944181 w 5264290"/>
                <a:gd name="connsiteY48" fmla="*/ 695174 h 747096"/>
                <a:gd name="connsiteX49" fmla="*/ 1840338 w 5264290"/>
                <a:gd name="connsiteY49" fmla="*/ 686521 h 747096"/>
                <a:gd name="connsiteX50" fmla="*/ 1655727 w 5264290"/>
                <a:gd name="connsiteY50" fmla="*/ 669213 h 747096"/>
                <a:gd name="connsiteX51" fmla="*/ 1471116 w 5264290"/>
                <a:gd name="connsiteY51" fmla="*/ 649022 h 747096"/>
                <a:gd name="connsiteX52" fmla="*/ 1277852 w 5264290"/>
                <a:gd name="connsiteY52" fmla="*/ 631714 h 747096"/>
                <a:gd name="connsiteX53" fmla="*/ 1021128 w 5264290"/>
                <a:gd name="connsiteY53" fmla="*/ 602869 h 747096"/>
                <a:gd name="connsiteX54" fmla="*/ 775942 w 5264290"/>
                <a:gd name="connsiteY54" fmla="*/ 571139 h 747096"/>
                <a:gd name="connsiteX55" fmla="*/ 631715 w 5264290"/>
                <a:gd name="connsiteY55" fmla="*/ 548063 h 747096"/>
                <a:gd name="connsiteX56" fmla="*/ 496141 w 5264290"/>
                <a:gd name="connsiteY56" fmla="*/ 522102 h 747096"/>
                <a:gd name="connsiteX57" fmla="*/ 331722 w 5264290"/>
                <a:gd name="connsiteY57" fmla="*/ 496141 h 747096"/>
                <a:gd name="connsiteX58" fmla="*/ 126920 w 5264290"/>
                <a:gd name="connsiteY58" fmla="*/ 461526 h 747096"/>
                <a:gd name="connsiteX59" fmla="*/ 0 w 5264290"/>
                <a:gd name="connsiteY59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38450 w 5264290"/>
                <a:gd name="connsiteY10" fmla="*/ 222109 h 747096"/>
                <a:gd name="connsiteX11" fmla="*/ 527871 w 5264290"/>
                <a:gd name="connsiteY11" fmla="*/ 196148 h 747096"/>
                <a:gd name="connsiteX12" fmla="*/ 611523 w 5264290"/>
                <a:gd name="connsiteY12" fmla="*/ 178841 h 747096"/>
                <a:gd name="connsiteX13" fmla="*/ 689405 w 5264290"/>
                <a:gd name="connsiteY13" fmla="*/ 161534 h 747096"/>
                <a:gd name="connsiteX14" fmla="*/ 761519 w 5264290"/>
                <a:gd name="connsiteY14" fmla="*/ 147111 h 747096"/>
                <a:gd name="connsiteX15" fmla="*/ 819210 w 5264290"/>
                <a:gd name="connsiteY15" fmla="*/ 138458 h 747096"/>
                <a:gd name="connsiteX16" fmla="*/ 856709 w 5264290"/>
                <a:gd name="connsiteY16" fmla="*/ 129804 h 747096"/>
                <a:gd name="connsiteX17" fmla="*/ 911515 w 5264290"/>
                <a:gd name="connsiteY17" fmla="*/ 124035 h 747096"/>
                <a:gd name="connsiteX18" fmla="*/ 1003821 w 5264290"/>
                <a:gd name="connsiteY18" fmla="*/ 112497 h 747096"/>
                <a:gd name="connsiteX19" fmla="*/ 1078819 w 5264290"/>
                <a:gd name="connsiteY19" fmla="*/ 103843 h 747096"/>
                <a:gd name="connsiteX20" fmla="*/ 1145163 w 5264290"/>
                <a:gd name="connsiteY20" fmla="*/ 95189 h 747096"/>
                <a:gd name="connsiteX21" fmla="*/ 1243238 w 5264290"/>
                <a:gd name="connsiteY21" fmla="*/ 86536 h 747096"/>
                <a:gd name="connsiteX22" fmla="*/ 1375927 w 5264290"/>
                <a:gd name="connsiteY22" fmla="*/ 77882 h 747096"/>
                <a:gd name="connsiteX23" fmla="*/ 1574960 w 5264290"/>
                <a:gd name="connsiteY23" fmla="*/ 63460 h 747096"/>
                <a:gd name="connsiteX24" fmla="*/ 1794185 w 5264290"/>
                <a:gd name="connsiteY24" fmla="*/ 54806 h 747096"/>
                <a:gd name="connsiteX25" fmla="*/ 1996103 w 5264290"/>
                <a:gd name="connsiteY25" fmla="*/ 43268 h 747096"/>
                <a:gd name="connsiteX26" fmla="*/ 2172060 w 5264290"/>
                <a:gd name="connsiteY26" fmla="*/ 34614 h 747096"/>
                <a:gd name="connsiteX27" fmla="*/ 2399939 w 5264290"/>
                <a:gd name="connsiteY27" fmla="*/ 25960 h 747096"/>
                <a:gd name="connsiteX28" fmla="*/ 2723008 w 5264290"/>
                <a:gd name="connsiteY28" fmla="*/ 20191 h 747096"/>
                <a:gd name="connsiteX29" fmla="*/ 2858581 w 5264290"/>
                <a:gd name="connsiteY29" fmla="*/ 17307 h 747096"/>
                <a:gd name="connsiteX30" fmla="*/ 2985501 w 5264290"/>
                <a:gd name="connsiteY30" fmla="*/ 14422 h 747096"/>
                <a:gd name="connsiteX31" fmla="*/ 3115306 w 5264290"/>
                <a:gd name="connsiteY31" fmla="*/ 11538 h 747096"/>
                <a:gd name="connsiteX32" fmla="*/ 3294147 w 5264290"/>
                <a:gd name="connsiteY32" fmla="*/ 8653 h 747096"/>
                <a:gd name="connsiteX33" fmla="*/ 3464335 w 5264290"/>
                <a:gd name="connsiteY33" fmla="*/ 8653 h 747096"/>
                <a:gd name="connsiteX34" fmla="*/ 3669138 w 5264290"/>
                <a:gd name="connsiteY34" fmla="*/ 2884 h 747096"/>
                <a:gd name="connsiteX35" fmla="*/ 5264290 w 5264290"/>
                <a:gd name="connsiteY35" fmla="*/ 0 h 747096"/>
                <a:gd name="connsiteX36" fmla="*/ 5264290 w 5264290"/>
                <a:gd name="connsiteY36" fmla="*/ 744212 h 747096"/>
                <a:gd name="connsiteX37" fmla="*/ 3135498 w 5264290"/>
                <a:gd name="connsiteY37" fmla="*/ 747096 h 747096"/>
                <a:gd name="connsiteX38" fmla="*/ 2910503 w 5264290"/>
                <a:gd name="connsiteY38" fmla="*/ 747096 h 747096"/>
                <a:gd name="connsiteX39" fmla="*/ 2835505 w 5264290"/>
                <a:gd name="connsiteY39" fmla="*/ 747096 h 747096"/>
                <a:gd name="connsiteX40" fmla="*/ 2777814 w 5264290"/>
                <a:gd name="connsiteY40" fmla="*/ 744212 h 747096"/>
                <a:gd name="connsiteX41" fmla="*/ 2509552 w 5264290"/>
                <a:gd name="connsiteY41" fmla="*/ 741327 h 747096"/>
                <a:gd name="connsiteX42" fmla="*/ 2414362 w 5264290"/>
                <a:gd name="connsiteY42" fmla="*/ 735558 h 747096"/>
                <a:gd name="connsiteX43" fmla="*/ 2324941 w 5264290"/>
                <a:gd name="connsiteY43" fmla="*/ 729789 h 747096"/>
                <a:gd name="connsiteX44" fmla="*/ 2221098 w 5264290"/>
                <a:gd name="connsiteY44" fmla="*/ 724020 h 747096"/>
                <a:gd name="connsiteX45" fmla="*/ 2146099 w 5264290"/>
                <a:gd name="connsiteY45" fmla="*/ 718251 h 747096"/>
                <a:gd name="connsiteX46" fmla="*/ 2033602 w 5264290"/>
                <a:gd name="connsiteY46" fmla="*/ 706713 h 747096"/>
                <a:gd name="connsiteX47" fmla="*/ 1944181 w 5264290"/>
                <a:gd name="connsiteY47" fmla="*/ 695174 h 747096"/>
                <a:gd name="connsiteX48" fmla="*/ 1840338 w 5264290"/>
                <a:gd name="connsiteY48" fmla="*/ 686521 h 747096"/>
                <a:gd name="connsiteX49" fmla="*/ 1655727 w 5264290"/>
                <a:gd name="connsiteY49" fmla="*/ 669213 h 747096"/>
                <a:gd name="connsiteX50" fmla="*/ 1471116 w 5264290"/>
                <a:gd name="connsiteY50" fmla="*/ 649022 h 747096"/>
                <a:gd name="connsiteX51" fmla="*/ 1277852 w 5264290"/>
                <a:gd name="connsiteY51" fmla="*/ 631714 h 747096"/>
                <a:gd name="connsiteX52" fmla="*/ 1021128 w 5264290"/>
                <a:gd name="connsiteY52" fmla="*/ 602869 h 747096"/>
                <a:gd name="connsiteX53" fmla="*/ 775942 w 5264290"/>
                <a:gd name="connsiteY53" fmla="*/ 571139 h 747096"/>
                <a:gd name="connsiteX54" fmla="*/ 631715 w 5264290"/>
                <a:gd name="connsiteY54" fmla="*/ 548063 h 747096"/>
                <a:gd name="connsiteX55" fmla="*/ 496141 w 5264290"/>
                <a:gd name="connsiteY55" fmla="*/ 522102 h 747096"/>
                <a:gd name="connsiteX56" fmla="*/ 331722 w 5264290"/>
                <a:gd name="connsiteY56" fmla="*/ 496141 h 747096"/>
                <a:gd name="connsiteX57" fmla="*/ 126920 w 5264290"/>
                <a:gd name="connsiteY57" fmla="*/ 461526 h 747096"/>
                <a:gd name="connsiteX58" fmla="*/ 0 w 5264290"/>
                <a:gd name="connsiteY58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38450 w 5264290"/>
                <a:gd name="connsiteY10" fmla="*/ 222109 h 747096"/>
                <a:gd name="connsiteX11" fmla="*/ 527871 w 5264290"/>
                <a:gd name="connsiteY11" fmla="*/ 196148 h 747096"/>
                <a:gd name="connsiteX12" fmla="*/ 611523 w 5264290"/>
                <a:gd name="connsiteY12" fmla="*/ 178841 h 747096"/>
                <a:gd name="connsiteX13" fmla="*/ 689405 w 5264290"/>
                <a:gd name="connsiteY13" fmla="*/ 161534 h 747096"/>
                <a:gd name="connsiteX14" fmla="*/ 761519 w 5264290"/>
                <a:gd name="connsiteY14" fmla="*/ 147111 h 747096"/>
                <a:gd name="connsiteX15" fmla="*/ 819210 w 5264290"/>
                <a:gd name="connsiteY15" fmla="*/ 138458 h 747096"/>
                <a:gd name="connsiteX16" fmla="*/ 856709 w 5264290"/>
                <a:gd name="connsiteY16" fmla="*/ 129804 h 747096"/>
                <a:gd name="connsiteX17" fmla="*/ 911515 w 5264290"/>
                <a:gd name="connsiteY17" fmla="*/ 124035 h 747096"/>
                <a:gd name="connsiteX18" fmla="*/ 1003821 w 5264290"/>
                <a:gd name="connsiteY18" fmla="*/ 112497 h 747096"/>
                <a:gd name="connsiteX19" fmla="*/ 1078819 w 5264290"/>
                <a:gd name="connsiteY19" fmla="*/ 103843 h 747096"/>
                <a:gd name="connsiteX20" fmla="*/ 1145163 w 5264290"/>
                <a:gd name="connsiteY20" fmla="*/ 95189 h 747096"/>
                <a:gd name="connsiteX21" fmla="*/ 1243238 w 5264290"/>
                <a:gd name="connsiteY21" fmla="*/ 86536 h 747096"/>
                <a:gd name="connsiteX22" fmla="*/ 1375927 w 5264290"/>
                <a:gd name="connsiteY22" fmla="*/ 77882 h 747096"/>
                <a:gd name="connsiteX23" fmla="*/ 1574960 w 5264290"/>
                <a:gd name="connsiteY23" fmla="*/ 63460 h 747096"/>
                <a:gd name="connsiteX24" fmla="*/ 1794185 w 5264290"/>
                <a:gd name="connsiteY24" fmla="*/ 54806 h 747096"/>
                <a:gd name="connsiteX25" fmla="*/ 1996103 w 5264290"/>
                <a:gd name="connsiteY25" fmla="*/ 43268 h 747096"/>
                <a:gd name="connsiteX26" fmla="*/ 2172060 w 5264290"/>
                <a:gd name="connsiteY26" fmla="*/ 34614 h 747096"/>
                <a:gd name="connsiteX27" fmla="*/ 2399939 w 5264290"/>
                <a:gd name="connsiteY27" fmla="*/ 25960 h 747096"/>
                <a:gd name="connsiteX28" fmla="*/ 2723008 w 5264290"/>
                <a:gd name="connsiteY28" fmla="*/ 20191 h 747096"/>
                <a:gd name="connsiteX29" fmla="*/ 2858581 w 5264290"/>
                <a:gd name="connsiteY29" fmla="*/ 17307 h 747096"/>
                <a:gd name="connsiteX30" fmla="*/ 2985501 w 5264290"/>
                <a:gd name="connsiteY30" fmla="*/ 14422 h 747096"/>
                <a:gd name="connsiteX31" fmla="*/ 3115306 w 5264290"/>
                <a:gd name="connsiteY31" fmla="*/ 11538 h 747096"/>
                <a:gd name="connsiteX32" fmla="*/ 3294147 w 5264290"/>
                <a:gd name="connsiteY32" fmla="*/ 8653 h 747096"/>
                <a:gd name="connsiteX33" fmla="*/ 3464335 w 5264290"/>
                <a:gd name="connsiteY33" fmla="*/ 8653 h 747096"/>
                <a:gd name="connsiteX34" fmla="*/ 3669138 w 5264290"/>
                <a:gd name="connsiteY34" fmla="*/ 2884 h 747096"/>
                <a:gd name="connsiteX35" fmla="*/ 5264290 w 5264290"/>
                <a:gd name="connsiteY35" fmla="*/ 0 h 747096"/>
                <a:gd name="connsiteX36" fmla="*/ 5264290 w 5264290"/>
                <a:gd name="connsiteY36" fmla="*/ 744212 h 747096"/>
                <a:gd name="connsiteX37" fmla="*/ 3135498 w 5264290"/>
                <a:gd name="connsiteY37" fmla="*/ 747096 h 747096"/>
                <a:gd name="connsiteX38" fmla="*/ 2910503 w 5264290"/>
                <a:gd name="connsiteY38" fmla="*/ 747096 h 747096"/>
                <a:gd name="connsiteX39" fmla="*/ 2835505 w 5264290"/>
                <a:gd name="connsiteY39" fmla="*/ 747096 h 747096"/>
                <a:gd name="connsiteX40" fmla="*/ 2509552 w 5264290"/>
                <a:gd name="connsiteY40" fmla="*/ 741327 h 747096"/>
                <a:gd name="connsiteX41" fmla="*/ 2414362 w 5264290"/>
                <a:gd name="connsiteY41" fmla="*/ 735558 h 747096"/>
                <a:gd name="connsiteX42" fmla="*/ 2324941 w 5264290"/>
                <a:gd name="connsiteY42" fmla="*/ 729789 h 747096"/>
                <a:gd name="connsiteX43" fmla="*/ 2221098 w 5264290"/>
                <a:gd name="connsiteY43" fmla="*/ 724020 h 747096"/>
                <a:gd name="connsiteX44" fmla="*/ 2146099 w 5264290"/>
                <a:gd name="connsiteY44" fmla="*/ 718251 h 747096"/>
                <a:gd name="connsiteX45" fmla="*/ 2033602 w 5264290"/>
                <a:gd name="connsiteY45" fmla="*/ 706713 h 747096"/>
                <a:gd name="connsiteX46" fmla="*/ 1944181 w 5264290"/>
                <a:gd name="connsiteY46" fmla="*/ 695174 h 747096"/>
                <a:gd name="connsiteX47" fmla="*/ 1840338 w 5264290"/>
                <a:gd name="connsiteY47" fmla="*/ 686521 h 747096"/>
                <a:gd name="connsiteX48" fmla="*/ 1655727 w 5264290"/>
                <a:gd name="connsiteY48" fmla="*/ 669213 h 747096"/>
                <a:gd name="connsiteX49" fmla="*/ 1471116 w 5264290"/>
                <a:gd name="connsiteY49" fmla="*/ 649022 h 747096"/>
                <a:gd name="connsiteX50" fmla="*/ 1277852 w 5264290"/>
                <a:gd name="connsiteY50" fmla="*/ 631714 h 747096"/>
                <a:gd name="connsiteX51" fmla="*/ 1021128 w 5264290"/>
                <a:gd name="connsiteY51" fmla="*/ 602869 h 747096"/>
                <a:gd name="connsiteX52" fmla="*/ 775942 w 5264290"/>
                <a:gd name="connsiteY52" fmla="*/ 571139 h 747096"/>
                <a:gd name="connsiteX53" fmla="*/ 631715 w 5264290"/>
                <a:gd name="connsiteY53" fmla="*/ 548063 h 747096"/>
                <a:gd name="connsiteX54" fmla="*/ 496141 w 5264290"/>
                <a:gd name="connsiteY54" fmla="*/ 522102 h 747096"/>
                <a:gd name="connsiteX55" fmla="*/ 331722 w 5264290"/>
                <a:gd name="connsiteY55" fmla="*/ 496141 h 747096"/>
                <a:gd name="connsiteX56" fmla="*/ 126920 w 5264290"/>
                <a:gd name="connsiteY56" fmla="*/ 461526 h 747096"/>
                <a:gd name="connsiteX57" fmla="*/ 0 w 5264290"/>
                <a:gd name="connsiteY57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38450 w 5264290"/>
                <a:gd name="connsiteY10" fmla="*/ 222109 h 747096"/>
                <a:gd name="connsiteX11" fmla="*/ 527871 w 5264290"/>
                <a:gd name="connsiteY11" fmla="*/ 196148 h 747096"/>
                <a:gd name="connsiteX12" fmla="*/ 611523 w 5264290"/>
                <a:gd name="connsiteY12" fmla="*/ 178841 h 747096"/>
                <a:gd name="connsiteX13" fmla="*/ 689405 w 5264290"/>
                <a:gd name="connsiteY13" fmla="*/ 161534 h 747096"/>
                <a:gd name="connsiteX14" fmla="*/ 761519 w 5264290"/>
                <a:gd name="connsiteY14" fmla="*/ 147111 h 747096"/>
                <a:gd name="connsiteX15" fmla="*/ 819210 w 5264290"/>
                <a:gd name="connsiteY15" fmla="*/ 138458 h 747096"/>
                <a:gd name="connsiteX16" fmla="*/ 856709 w 5264290"/>
                <a:gd name="connsiteY16" fmla="*/ 129804 h 747096"/>
                <a:gd name="connsiteX17" fmla="*/ 911515 w 5264290"/>
                <a:gd name="connsiteY17" fmla="*/ 124035 h 747096"/>
                <a:gd name="connsiteX18" fmla="*/ 1003821 w 5264290"/>
                <a:gd name="connsiteY18" fmla="*/ 112497 h 747096"/>
                <a:gd name="connsiteX19" fmla="*/ 1078819 w 5264290"/>
                <a:gd name="connsiteY19" fmla="*/ 103843 h 747096"/>
                <a:gd name="connsiteX20" fmla="*/ 1145163 w 5264290"/>
                <a:gd name="connsiteY20" fmla="*/ 95189 h 747096"/>
                <a:gd name="connsiteX21" fmla="*/ 1243238 w 5264290"/>
                <a:gd name="connsiteY21" fmla="*/ 86536 h 747096"/>
                <a:gd name="connsiteX22" fmla="*/ 1375927 w 5264290"/>
                <a:gd name="connsiteY22" fmla="*/ 77882 h 747096"/>
                <a:gd name="connsiteX23" fmla="*/ 1574960 w 5264290"/>
                <a:gd name="connsiteY23" fmla="*/ 63460 h 747096"/>
                <a:gd name="connsiteX24" fmla="*/ 1794185 w 5264290"/>
                <a:gd name="connsiteY24" fmla="*/ 54806 h 747096"/>
                <a:gd name="connsiteX25" fmla="*/ 1996103 w 5264290"/>
                <a:gd name="connsiteY25" fmla="*/ 43268 h 747096"/>
                <a:gd name="connsiteX26" fmla="*/ 2172060 w 5264290"/>
                <a:gd name="connsiteY26" fmla="*/ 34614 h 747096"/>
                <a:gd name="connsiteX27" fmla="*/ 2399939 w 5264290"/>
                <a:gd name="connsiteY27" fmla="*/ 25960 h 747096"/>
                <a:gd name="connsiteX28" fmla="*/ 2723008 w 5264290"/>
                <a:gd name="connsiteY28" fmla="*/ 20191 h 747096"/>
                <a:gd name="connsiteX29" fmla="*/ 2858581 w 5264290"/>
                <a:gd name="connsiteY29" fmla="*/ 17307 h 747096"/>
                <a:gd name="connsiteX30" fmla="*/ 2985501 w 5264290"/>
                <a:gd name="connsiteY30" fmla="*/ 14422 h 747096"/>
                <a:gd name="connsiteX31" fmla="*/ 3115306 w 5264290"/>
                <a:gd name="connsiteY31" fmla="*/ 11538 h 747096"/>
                <a:gd name="connsiteX32" fmla="*/ 3294147 w 5264290"/>
                <a:gd name="connsiteY32" fmla="*/ 8653 h 747096"/>
                <a:gd name="connsiteX33" fmla="*/ 3464335 w 5264290"/>
                <a:gd name="connsiteY33" fmla="*/ 8653 h 747096"/>
                <a:gd name="connsiteX34" fmla="*/ 3669138 w 5264290"/>
                <a:gd name="connsiteY34" fmla="*/ 2884 h 747096"/>
                <a:gd name="connsiteX35" fmla="*/ 5264290 w 5264290"/>
                <a:gd name="connsiteY35" fmla="*/ 0 h 747096"/>
                <a:gd name="connsiteX36" fmla="*/ 5264290 w 5264290"/>
                <a:gd name="connsiteY36" fmla="*/ 744212 h 747096"/>
                <a:gd name="connsiteX37" fmla="*/ 3135498 w 5264290"/>
                <a:gd name="connsiteY37" fmla="*/ 747096 h 747096"/>
                <a:gd name="connsiteX38" fmla="*/ 2910503 w 5264290"/>
                <a:gd name="connsiteY38" fmla="*/ 747096 h 747096"/>
                <a:gd name="connsiteX39" fmla="*/ 2835505 w 5264290"/>
                <a:gd name="connsiteY39" fmla="*/ 747096 h 747096"/>
                <a:gd name="connsiteX40" fmla="*/ 2509552 w 5264290"/>
                <a:gd name="connsiteY40" fmla="*/ 741327 h 747096"/>
                <a:gd name="connsiteX41" fmla="*/ 2414362 w 5264290"/>
                <a:gd name="connsiteY41" fmla="*/ 735558 h 747096"/>
                <a:gd name="connsiteX42" fmla="*/ 2324941 w 5264290"/>
                <a:gd name="connsiteY42" fmla="*/ 729789 h 747096"/>
                <a:gd name="connsiteX43" fmla="*/ 2221098 w 5264290"/>
                <a:gd name="connsiteY43" fmla="*/ 724020 h 747096"/>
                <a:gd name="connsiteX44" fmla="*/ 2033602 w 5264290"/>
                <a:gd name="connsiteY44" fmla="*/ 706713 h 747096"/>
                <a:gd name="connsiteX45" fmla="*/ 1944181 w 5264290"/>
                <a:gd name="connsiteY45" fmla="*/ 695174 h 747096"/>
                <a:gd name="connsiteX46" fmla="*/ 1840338 w 5264290"/>
                <a:gd name="connsiteY46" fmla="*/ 686521 h 747096"/>
                <a:gd name="connsiteX47" fmla="*/ 1655727 w 5264290"/>
                <a:gd name="connsiteY47" fmla="*/ 669213 h 747096"/>
                <a:gd name="connsiteX48" fmla="*/ 1471116 w 5264290"/>
                <a:gd name="connsiteY48" fmla="*/ 649022 h 747096"/>
                <a:gd name="connsiteX49" fmla="*/ 1277852 w 5264290"/>
                <a:gd name="connsiteY49" fmla="*/ 631714 h 747096"/>
                <a:gd name="connsiteX50" fmla="*/ 1021128 w 5264290"/>
                <a:gd name="connsiteY50" fmla="*/ 602869 h 747096"/>
                <a:gd name="connsiteX51" fmla="*/ 775942 w 5264290"/>
                <a:gd name="connsiteY51" fmla="*/ 571139 h 747096"/>
                <a:gd name="connsiteX52" fmla="*/ 631715 w 5264290"/>
                <a:gd name="connsiteY52" fmla="*/ 548063 h 747096"/>
                <a:gd name="connsiteX53" fmla="*/ 496141 w 5264290"/>
                <a:gd name="connsiteY53" fmla="*/ 522102 h 747096"/>
                <a:gd name="connsiteX54" fmla="*/ 331722 w 5264290"/>
                <a:gd name="connsiteY54" fmla="*/ 496141 h 747096"/>
                <a:gd name="connsiteX55" fmla="*/ 126920 w 5264290"/>
                <a:gd name="connsiteY55" fmla="*/ 461526 h 747096"/>
                <a:gd name="connsiteX56" fmla="*/ 0 w 5264290"/>
                <a:gd name="connsiteY56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38450 w 5264290"/>
                <a:gd name="connsiteY10" fmla="*/ 222109 h 747096"/>
                <a:gd name="connsiteX11" fmla="*/ 527871 w 5264290"/>
                <a:gd name="connsiteY11" fmla="*/ 196148 h 747096"/>
                <a:gd name="connsiteX12" fmla="*/ 611523 w 5264290"/>
                <a:gd name="connsiteY12" fmla="*/ 178841 h 747096"/>
                <a:gd name="connsiteX13" fmla="*/ 689405 w 5264290"/>
                <a:gd name="connsiteY13" fmla="*/ 161534 h 747096"/>
                <a:gd name="connsiteX14" fmla="*/ 761519 w 5264290"/>
                <a:gd name="connsiteY14" fmla="*/ 147111 h 747096"/>
                <a:gd name="connsiteX15" fmla="*/ 819210 w 5264290"/>
                <a:gd name="connsiteY15" fmla="*/ 138458 h 747096"/>
                <a:gd name="connsiteX16" fmla="*/ 856709 w 5264290"/>
                <a:gd name="connsiteY16" fmla="*/ 129804 h 747096"/>
                <a:gd name="connsiteX17" fmla="*/ 911515 w 5264290"/>
                <a:gd name="connsiteY17" fmla="*/ 124035 h 747096"/>
                <a:gd name="connsiteX18" fmla="*/ 1003821 w 5264290"/>
                <a:gd name="connsiteY18" fmla="*/ 112497 h 747096"/>
                <a:gd name="connsiteX19" fmla="*/ 1078819 w 5264290"/>
                <a:gd name="connsiteY19" fmla="*/ 103843 h 747096"/>
                <a:gd name="connsiteX20" fmla="*/ 1145163 w 5264290"/>
                <a:gd name="connsiteY20" fmla="*/ 95189 h 747096"/>
                <a:gd name="connsiteX21" fmla="*/ 1243238 w 5264290"/>
                <a:gd name="connsiteY21" fmla="*/ 86536 h 747096"/>
                <a:gd name="connsiteX22" fmla="*/ 1375927 w 5264290"/>
                <a:gd name="connsiteY22" fmla="*/ 77882 h 747096"/>
                <a:gd name="connsiteX23" fmla="*/ 1574960 w 5264290"/>
                <a:gd name="connsiteY23" fmla="*/ 63460 h 747096"/>
                <a:gd name="connsiteX24" fmla="*/ 1794185 w 5264290"/>
                <a:gd name="connsiteY24" fmla="*/ 54806 h 747096"/>
                <a:gd name="connsiteX25" fmla="*/ 1996103 w 5264290"/>
                <a:gd name="connsiteY25" fmla="*/ 43268 h 747096"/>
                <a:gd name="connsiteX26" fmla="*/ 2172060 w 5264290"/>
                <a:gd name="connsiteY26" fmla="*/ 34614 h 747096"/>
                <a:gd name="connsiteX27" fmla="*/ 2399939 w 5264290"/>
                <a:gd name="connsiteY27" fmla="*/ 25960 h 747096"/>
                <a:gd name="connsiteX28" fmla="*/ 2723008 w 5264290"/>
                <a:gd name="connsiteY28" fmla="*/ 20191 h 747096"/>
                <a:gd name="connsiteX29" fmla="*/ 2858581 w 5264290"/>
                <a:gd name="connsiteY29" fmla="*/ 17307 h 747096"/>
                <a:gd name="connsiteX30" fmla="*/ 2985501 w 5264290"/>
                <a:gd name="connsiteY30" fmla="*/ 14422 h 747096"/>
                <a:gd name="connsiteX31" fmla="*/ 3115306 w 5264290"/>
                <a:gd name="connsiteY31" fmla="*/ 11538 h 747096"/>
                <a:gd name="connsiteX32" fmla="*/ 3294147 w 5264290"/>
                <a:gd name="connsiteY32" fmla="*/ 8653 h 747096"/>
                <a:gd name="connsiteX33" fmla="*/ 3464335 w 5264290"/>
                <a:gd name="connsiteY33" fmla="*/ 8653 h 747096"/>
                <a:gd name="connsiteX34" fmla="*/ 3669138 w 5264290"/>
                <a:gd name="connsiteY34" fmla="*/ 2884 h 747096"/>
                <a:gd name="connsiteX35" fmla="*/ 5264290 w 5264290"/>
                <a:gd name="connsiteY35" fmla="*/ 0 h 747096"/>
                <a:gd name="connsiteX36" fmla="*/ 5264290 w 5264290"/>
                <a:gd name="connsiteY36" fmla="*/ 744212 h 747096"/>
                <a:gd name="connsiteX37" fmla="*/ 3135498 w 5264290"/>
                <a:gd name="connsiteY37" fmla="*/ 747096 h 747096"/>
                <a:gd name="connsiteX38" fmla="*/ 2910503 w 5264290"/>
                <a:gd name="connsiteY38" fmla="*/ 747096 h 747096"/>
                <a:gd name="connsiteX39" fmla="*/ 2835505 w 5264290"/>
                <a:gd name="connsiteY39" fmla="*/ 747096 h 747096"/>
                <a:gd name="connsiteX40" fmla="*/ 2509552 w 5264290"/>
                <a:gd name="connsiteY40" fmla="*/ 741327 h 747096"/>
                <a:gd name="connsiteX41" fmla="*/ 2414362 w 5264290"/>
                <a:gd name="connsiteY41" fmla="*/ 735558 h 747096"/>
                <a:gd name="connsiteX42" fmla="*/ 2324941 w 5264290"/>
                <a:gd name="connsiteY42" fmla="*/ 729789 h 747096"/>
                <a:gd name="connsiteX43" fmla="*/ 2221098 w 5264290"/>
                <a:gd name="connsiteY43" fmla="*/ 724020 h 747096"/>
                <a:gd name="connsiteX44" fmla="*/ 2033602 w 5264290"/>
                <a:gd name="connsiteY44" fmla="*/ 706713 h 747096"/>
                <a:gd name="connsiteX45" fmla="*/ 1944181 w 5264290"/>
                <a:gd name="connsiteY45" fmla="*/ 695174 h 747096"/>
                <a:gd name="connsiteX46" fmla="*/ 1840338 w 5264290"/>
                <a:gd name="connsiteY46" fmla="*/ 686521 h 747096"/>
                <a:gd name="connsiteX47" fmla="*/ 1655727 w 5264290"/>
                <a:gd name="connsiteY47" fmla="*/ 669213 h 747096"/>
                <a:gd name="connsiteX48" fmla="*/ 1471116 w 5264290"/>
                <a:gd name="connsiteY48" fmla="*/ 649022 h 747096"/>
                <a:gd name="connsiteX49" fmla="*/ 1277852 w 5264290"/>
                <a:gd name="connsiteY49" fmla="*/ 631714 h 747096"/>
                <a:gd name="connsiteX50" fmla="*/ 1021128 w 5264290"/>
                <a:gd name="connsiteY50" fmla="*/ 602869 h 747096"/>
                <a:gd name="connsiteX51" fmla="*/ 775942 w 5264290"/>
                <a:gd name="connsiteY51" fmla="*/ 571139 h 747096"/>
                <a:gd name="connsiteX52" fmla="*/ 496141 w 5264290"/>
                <a:gd name="connsiteY52" fmla="*/ 522102 h 747096"/>
                <a:gd name="connsiteX53" fmla="*/ 331722 w 5264290"/>
                <a:gd name="connsiteY53" fmla="*/ 496141 h 747096"/>
                <a:gd name="connsiteX54" fmla="*/ 126920 w 5264290"/>
                <a:gd name="connsiteY54" fmla="*/ 461526 h 747096"/>
                <a:gd name="connsiteX55" fmla="*/ 0 w 5264290"/>
                <a:gd name="connsiteY55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38450 w 5264290"/>
                <a:gd name="connsiteY10" fmla="*/ 222109 h 747096"/>
                <a:gd name="connsiteX11" fmla="*/ 527871 w 5264290"/>
                <a:gd name="connsiteY11" fmla="*/ 196148 h 747096"/>
                <a:gd name="connsiteX12" fmla="*/ 611523 w 5264290"/>
                <a:gd name="connsiteY12" fmla="*/ 178841 h 747096"/>
                <a:gd name="connsiteX13" fmla="*/ 689405 w 5264290"/>
                <a:gd name="connsiteY13" fmla="*/ 161534 h 747096"/>
                <a:gd name="connsiteX14" fmla="*/ 761519 w 5264290"/>
                <a:gd name="connsiteY14" fmla="*/ 147111 h 747096"/>
                <a:gd name="connsiteX15" fmla="*/ 819210 w 5264290"/>
                <a:gd name="connsiteY15" fmla="*/ 138458 h 747096"/>
                <a:gd name="connsiteX16" fmla="*/ 856709 w 5264290"/>
                <a:gd name="connsiteY16" fmla="*/ 129804 h 747096"/>
                <a:gd name="connsiteX17" fmla="*/ 911515 w 5264290"/>
                <a:gd name="connsiteY17" fmla="*/ 124035 h 747096"/>
                <a:gd name="connsiteX18" fmla="*/ 1003821 w 5264290"/>
                <a:gd name="connsiteY18" fmla="*/ 112497 h 747096"/>
                <a:gd name="connsiteX19" fmla="*/ 1078819 w 5264290"/>
                <a:gd name="connsiteY19" fmla="*/ 103843 h 747096"/>
                <a:gd name="connsiteX20" fmla="*/ 1145163 w 5264290"/>
                <a:gd name="connsiteY20" fmla="*/ 95189 h 747096"/>
                <a:gd name="connsiteX21" fmla="*/ 1243238 w 5264290"/>
                <a:gd name="connsiteY21" fmla="*/ 86536 h 747096"/>
                <a:gd name="connsiteX22" fmla="*/ 1375927 w 5264290"/>
                <a:gd name="connsiteY22" fmla="*/ 77882 h 747096"/>
                <a:gd name="connsiteX23" fmla="*/ 1574960 w 5264290"/>
                <a:gd name="connsiteY23" fmla="*/ 63460 h 747096"/>
                <a:gd name="connsiteX24" fmla="*/ 1794185 w 5264290"/>
                <a:gd name="connsiteY24" fmla="*/ 54806 h 747096"/>
                <a:gd name="connsiteX25" fmla="*/ 1996103 w 5264290"/>
                <a:gd name="connsiteY25" fmla="*/ 43268 h 747096"/>
                <a:gd name="connsiteX26" fmla="*/ 2172060 w 5264290"/>
                <a:gd name="connsiteY26" fmla="*/ 34614 h 747096"/>
                <a:gd name="connsiteX27" fmla="*/ 2399939 w 5264290"/>
                <a:gd name="connsiteY27" fmla="*/ 25960 h 747096"/>
                <a:gd name="connsiteX28" fmla="*/ 2723008 w 5264290"/>
                <a:gd name="connsiteY28" fmla="*/ 20191 h 747096"/>
                <a:gd name="connsiteX29" fmla="*/ 2858581 w 5264290"/>
                <a:gd name="connsiteY29" fmla="*/ 17307 h 747096"/>
                <a:gd name="connsiteX30" fmla="*/ 2985501 w 5264290"/>
                <a:gd name="connsiteY30" fmla="*/ 14422 h 747096"/>
                <a:gd name="connsiteX31" fmla="*/ 3115306 w 5264290"/>
                <a:gd name="connsiteY31" fmla="*/ 11538 h 747096"/>
                <a:gd name="connsiteX32" fmla="*/ 3294147 w 5264290"/>
                <a:gd name="connsiteY32" fmla="*/ 8653 h 747096"/>
                <a:gd name="connsiteX33" fmla="*/ 3464335 w 5264290"/>
                <a:gd name="connsiteY33" fmla="*/ 8653 h 747096"/>
                <a:gd name="connsiteX34" fmla="*/ 3669138 w 5264290"/>
                <a:gd name="connsiteY34" fmla="*/ 2884 h 747096"/>
                <a:gd name="connsiteX35" fmla="*/ 5264290 w 5264290"/>
                <a:gd name="connsiteY35" fmla="*/ 0 h 747096"/>
                <a:gd name="connsiteX36" fmla="*/ 5264290 w 5264290"/>
                <a:gd name="connsiteY36" fmla="*/ 744212 h 747096"/>
                <a:gd name="connsiteX37" fmla="*/ 3135498 w 5264290"/>
                <a:gd name="connsiteY37" fmla="*/ 747096 h 747096"/>
                <a:gd name="connsiteX38" fmla="*/ 2910503 w 5264290"/>
                <a:gd name="connsiteY38" fmla="*/ 747096 h 747096"/>
                <a:gd name="connsiteX39" fmla="*/ 2835505 w 5264290"/>
                <a:gd name="connsiteY39" fmla="*/ 747096 h 747096"/>
                <a:gd name="connsiteX40" fmla="*/ 2509552 w 5264290"/>
                <a:gd name="connsiteY40" fmla="*/ 741327 h 747096"/>
                <a:gd name="connsiteX41" fmla="*/ 2414362 w 5264290"/>
                <a:gd name="connsiteY41" fmla="*/ 735558 h 747096"/>
                <a:gd name="connsiteX42" fmla="*/ 2324941 w 5264290"/>
                <a:gd name="connsiteY42" fmla="*/ 729789 h 747096"/>
                <a:gd name="connsiteX43" fmla="*/ 2221098 w 5264290"/>
                <a:gd name="connsiteY43" fmla="*/ 724020 h 747096"/>
                <a:gd name="connsiteX44" fmla="*/ 2033602 w 5264290"/>
                <a:gd name="connsiteY44" fmla="*/ 706713 h 747096"/>
                <a:gd name="connsiteX45" fmla="*/ 1944181 w 5264290"/>
                <a:gd name="connsiteY45" fmla="*/ 695174 h 747096"/>
                <a:gd name="connsiteX46" fmla="*/ 1840338 w 5264290"/>
                <a:gd name="connsiteY46" fmla="*/ 686521 h 747096"/>
                <a:gd name="connsiteX47" fmla="*/ 1655727 w 5264290"/>
                <a:gd name="connsiteY47" fmla="*/ 669213 h 747096"/>
                <a:gd name="connsiteX48" fmla="*/ 1471116 w 5264290"/>
                <a:gd name="connsiteY48" fmla="*/ 649022 h 747096"/>
                <a:gd name="connsiteX49" fmla="*/ 1277852 w 5264290"/>
                <a:gd name="connsiteY49" fmla="*/ 631714 h 747096"/>
                <a:gd name="connsiteX50" fmla="*/ 1021128 w 5264290"/>
                <a:gd name="connsiteY50" fmla="*/ 602869 h 747096"/>
                <a:gd name="connsiteX51" fmla="*/ 775942 w 5264290"/>
                <a:gd name="connsiteY51" fmla="*/ 571139 h 747096"/>
                <a:gd name="connsiteX52" fmla="*/ 496141 w 5264290"/>
                <a:gd name="connsiteY52" fmla="*/ 522102 h 747096"/>
                <a:gd name="connsiteX53" fmla="*/ 331722 w 5264290"/>
                <a:gd name="connsiteY53" fmla="*/ 496141 h 747096"/>
                <a:gd name="connsiteX54" fmla="*/ 135573 w 5264290"/>
                <a:gd name="connsiteY54" fmla="*/ 455757 h 747096"/>
                <a:gd name="connsiteX55" fmla="*/ 0 w 5264290"/>
                <a:gd name="connsiteY55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302877 w 5264290"/>
                <a:gd name="connsiteY7" fmla="*/ 268262 h 747096"/>
                <a:gd name="connsiteX8" fmla="*/ 349029 w 5264290"/>
                <a:gd name="connsiteY8" fmla="*/ 253839 h 747096"/>
                <a:gd name="connsiteX9" fmla="*/ 438450 w 5264290"/>
                <a:gd name="connsiteY9" fmla="*/ 222109 h 747096"/>
                <a:gd name="connsiteX10" fmla="*/ 527871 w 5264290"/>
                <a:gd name="connsiteY10" fmla="*/ 196148 h 747096"/>
                <a:gd name="connsiteX11" fmla="*/ 611523 w 5264290"/>
                <a:gd name="connsiteY11" fmla="*/ 178841 h 747096"/>
                <a:gd name="connsiteX12" fmla="*/ 689405 w 5264290"/>
                <a:gd name="connsiteY12" fmla="*/ 161534 h 747096"/>
                <a:gd name="connsiteX13" fmla="*/ 761519 w 5264290"/>
                <a:gd name="connsiteY13" fmla="*/ 147111 h 747096"/>
                <a:gd name="connsiteX14" fmla="*/ 819210 w 5264290"/>
                <a:gd name="connsiteY14" fmla="*/ 138458 h 747096"/>
                <a:gd name="connsiteX15" fmla="*/ 856709 w 5264290"/>
                <a:gd name="connsiteY15" fmla="*/ 129804 h 747096"/>
                <a:gd name="connsiteX16" fmla="*/ 911515 w 5264290"/>
                <a:gd name="connsiteY16" fmla="*/ 124035 h 747096"/>
                <a:gd name="connsiteX17" fmla="*/ 1003821 w 5264290"/>
                <a:gd name="connsiteY17" fmla="*/ 112497 h 747096"/>
                <a:gd name="connsiteX18" fmla="*/ 1078819 w 5264290"/>
                <a:gd name="connsiteY18" fmla="*/ 103843 h 747096"/>
                <a:gd name="connsiteX19" fmla="*/ 1145163 w 5264290"/>
                <a:gd name="connsiteY19" fmla="*/ 95189 h 747096"/>
                <a:gd name="connsiteX20" fmla="*/ 1243238 w 5264290"/>
                <a:gd name="connsiteY20" fmla="*/ 86536 h 747096"/>
                <a:gd name="connsiteX21" fmla="*/ 1375927 w 5264290"/>
                <a:gd name="connsiteY21" fmla="*/ 77882 h 747096"/>
                <a:gd name="connsiteX22" fmla="*/ 1574960 w 5264290"/>
                <a:gd name="connsiteY22" fmla="*/ 63460 h 747096"/>
                <a:gd name="connsiteX23" fmla="*/ 1794185 w 5264290"/>
                <a:gd name="connsiteY23" fmla="*/ 54806 h 747096"/>
                <a:gd name="connsiteX24" fmla="*/ 1996103 w 5264290"/>
                <a:gd name="connsiteY24" fmla="*/ 43268 h 747096"/>
                <a:gd name="connsiteX25" fmla="*/ 2172060 w 5264290"/>
                <a:gd name="connsiteY25" fmla="*/ 34614 h 747096"/>
                <a:gd name="connsiteX26" fmla="*/ 2399939 w 5264290"/>
                <a:gd name="connsiteY26" fmla="*/ 25960 h 747096"/>
                <a:gd name="connsiteX27" fmla="*/ 2723008 w 5264290"/>
                <a:gd name="connsiteY27" fmla="*/ 20191 h 747096"/>
                <a:gd name="connsiteX28" fmla="*/ 2858581 w 5264290"/>
                <a:gd name="connsiteY28" fmla="*/ 17307 h 747096"/>
                <a:gd name="connsiteX29" fmla="*/ 2985501 w 5264290"/>
                <a:gd name="connsiteY29" fmla="*/ 14422 h 747096"/>
                <a:gd name="connsiteX30" fmla="*/ 3115306 w 5264290"/>
                <a:gd name="connsiteY30" fmla="*/ 11538 h 747096"/>
                <a:gd name="connsiteX31" fmla="*/ 3294147 w 5264290"/>
                <a:gd name="connsiteY31" fmla="*/ 8653 h 747096"/>
                <a:gd name="connsiteX32" fmla="*/ 3464335 w 5264290"/>
                <a:gd name="connsiteY32" fmla="*/ 8653 h 747096"/>
                <a:gd name="connsiteX33" fmla="*/ 3669138 w 5264290"/>
                <a:gd name="connsiteY33" fmla="*/ 2884 h 747096"/>
                <a:gd name="connsiteX34" fmla="*/ 5264290 w 5264290"/>
                <a:gd name="connsiteY34" fmla="*/ 0 h 747096"/>
                <a:gd name="connsiteX35" fmla="*/ 5264290 w 5264290"/>
                <a:gd name="connsiteY35" fmla="*/ 744212 h 747096"/>
                <a:gd name="connsiteX36" fmla="*/ 3135498 w 5264290"/>
                <a:gd name="connsiteY36" fmla="*/ 747096 h 747096"/>
                <a:gd name="connsiteX37" fmla="*/ 2910503 w 5264290"/>
                <a:gd name="connsiteY37" fmla="*/ 747096 h 747096"/>
                <a:gd name="connsiteX38" fmla="*/ 2835505 w 5264290"/>
                <a:gd name="connsiteY38" fmla="*/ 747096 h 747096"/>
                <a:gd name="connsiteX39" fmla="*/ 2509552 w 5264290"/>
                <a:gd name="connsiteY39" fmla="*/ 741327 h 747096"/>
                <a:gd name="connsiteX40" fmla="*/ 2414362 w 5264290"/>
                <a:gd name="connsiteY40" fmla="*/ 735558 h 747096"/>
                <a:gd name="connsiteX41" fmla="*/ 2324941 w 5264290"/>
                <a:gd name="connsiteY41" fmla="*/ 729789 h 747096"/>
                <a:gd name="connsiteX42" fmla="*/ 2221098 w 5264290"/>
                <a:gd name="connsiteY42" fmla="*/ 724020 h 747096"/>
                <a:gd name="connsiteX43" fmla="*/ 2033602 w 5264290"/>
                <a:gd name="connsiteY43" fmla="*/ 706713 h 747096"/>
                <a:gd name="connsiteX44" fmla="*/ 1944181 w 5264290"/>
                <a:gd name="connsiteY44" fmla="*/ 695174 h 747096"/>
                <a:gd name="connsiteX45" fmla="*/ 1840338 w 5264290"/>
                <a:gd name="connsiteY45" fmla="*/ 686521 h 747096"/>
                <a:gd name="connsiteX46" fmla="*/ 1655727 w 5264290"/>
                <a:gd name="connsiteY46" fmla="*/ 669213 h 747096"/>
                <a:gd name="connsiteX47" fmla="*/ 1471116 w 5264290"/>
                <a:gd name="connsiteY47" fmla="*/ 649022 h 747096"/>
                <a:gd name="connsiteX48" fmla="*/ 1277852 w 5264290"/>
                <a:gd name="connsiteY48" fmla="*/ 631714 h 747096"/>
                <a:gd name="connsiteX49" fmla="*/ 1021128 w 5264290"/>
                <a:gd name="connsiteY49" fmla="*/ 602869 h 747096"/>
                <a:gd name="connsiteX50" fmla="*/ 775942 w 5264290"/>
                <a:gd name="connsiteY50" fmla="*/ 571139 h 747096"/>
                <a:gd name="connsiteX51" fmla="*/ 496141 w 5264290"/>
                <a:gd name="connsiteY51" fmla="*/ 522102 h 747096"/>
                <a:gd name="connsiteX52" fmla="*/ 331722 w 5264290"/>
                <a:gd name="connsiteY52" fmla="*/ 496141 h 747096"/>
                <a:gd name="connsiteX53" fmla="*/ 135573 w 5264290"/>
                <a:gd name="connsiteY53" fmla="*/ 455757 h 747096"/>
                <a:gd name="connsiteX54" fmla="*/ 0 w 5264290"/>
                <a:gd name="connsiteY54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349029 w 5264290"/>
                <a:gd name="connsiteY7" fmla="*/ 253839 h 747096"/>
                <a:gd name="connsiteX8" fmla="*/ 438450 w 5264290"/>
                <a:gd name="connsiteY8" fmla="*/ 222109 h 747096"/>
                <a:gd name="connsiteX9" fmla="*/ 527871 w 5264290"/>
                <a:gd name="connsiteY9" fmla="*/ 196148 h 747096"/>
                <a:gd name="connsiteX10" fmla="*/ 611523 w 5264290"/>
                <a:gd name="connsiteY10" fmla="*/ 178841 h 747096"/>
                <a:gd name="connsiteX11" fmla="*/ 689405 w 5264290"/>
                <a:gd name="connsiteY11" fmla="*/ 161534 h 747096"/>
                <a:gd name="connsiteX12" fmla="*/ 761519 w 5264290"/>
                <a:gd name="connsiteY12" fmla="*/ 147111 h 747096"/>
                <a:gd name="connsiteX13" fmla="*/ 819210 w 5264290"/>
                <a:gd name="connsiteY13" fmla="*/ 138458 h 747096"/>
                <a:gd name="connsiteX14" fmla="*/ 856709 w 5264290"/>
                <a:gd name="connsiteY14" fmla="*/ 129804 h 747096"/>
                <a:gd name="connsiteX15" fmla="*/ 911515 w 5264290"/>
                <a:gd name="connsiteY15" fmla="*/ 124035 h 747096"/>
                <a:gd name="connsiteX16" fmla="*/ 1003821 w 5264290"/>
                <a:gd name="connsiteY16" fmla="*/ 112497 h 747096"/>
                <a:gd name="connsiteX17" fmla="*/ 1078819 w 5264290"/>
                <a:gd name="connsiteY17" fmla="*/ 103843 h 747096"/>
                <a:gd name="connsiteX18" fmla="*/ 1145163 w 5264290"/>
                <a:gd name="connsiteY18" fmla="*/ 95189 h 747096"/>
                <a:gd name="connsiteX19" fmla="*/ 1243238 w 5264290"/>
                <a:gd name="connsiteY19" fmla="*/ 86536 h 747096"/>
                <a:gd name="connsiteX20" fmla="*/ 1375927 w 5264290"/>
                <a:gd name="connsiteY20" fmla="*/ 77882 h 747096"/>
                <a:gd name="connsiteX21" fmla="*/ 1574960 w 5264290"/>
                <a:gd name="connsiteY21" fmla="*/ 63460 h 747096"/>
                <a:gd name="connsiteX22" fmla="*/ 1794185 w 5264290"/>
                <a:gd name="connsiteY22" fmla="*/ 54806 h 747096"/>
                <a:gd name="connsiteX23" fmla="*/ 1996103 w 5264290"/>
                <a:gd name="connsiteY23" fmla="*/ 43268 h 747096"/>
                <a:gd name="connsiteX24" fmla="*/ 2172060 w 5264290"/>
                <a:gd name="connsiteY24" fmla="*/ 34614 h 747096"/>
                <a:gd name="connsiteX25" fmla="*/ 2399939 w 5264290"/>
                <a:gd name="connsiteY25" fmla="*/ 25960 h 747096"/>
                <a:gd name="connsiteX26" fmla="*/ 2723008 w 5264290"/>
                <a:gd name="connsiteY26" fmla="*/ 20191 h 747096"/>
                <a:gd name="connsiteX27" fmla="*/ 2858581 w 5264290"/>
                <a:gd name="connsiteY27" fmla="*/ 17307 h 747096"/>
                <a:gd name="connsiteX28" fmla="*/ 2985501 w 5264290"/>
                <a:gd name="connsiteY28" fmla="*/ 14422 h 747096"/>
                <a:gd name="connsiteX29" fmla="*/ 3115306 w 5264290"/>
                <a:gd name="connsiteY29" fmla="*/ 11538 h 747096"/>
                <a:gd name="connsiteX30" fmla="*/ 3294147 w 5264290"/>
                <a:gd name="connsiteY30" fmla="*/ 8653 h 747096"/>
                <a:gd name="connsiteX31" fmla="*/ 3464335 w 5264290"/>
                <a:gd name="connsiteY31" fmla="*/ 8653 h 747096"/>
                <a:gd name="connsiteX32" fmla="*/ 3669138 w 5264290"/>
                <a:gd name="connsiteY32" fmla="*/ 2884 h 747096"/>
                <a:gd name="connsiteX33" fmla="*/ 5264290 w 5264290"/>
                <a:gd name="connsiteY33" fmla="*/ 0 h 747096"/>
                <a:gd name="connsiteX34" fmla="*/ 5264290 w 5264290"/>
                <a:gd name="connsiteY34" fmla="*/ 744212 h 747096"/>
                <a:gd name="connsiteX35" fmla="*/ 3135498 w 5264290"/>
                <a:gd name="connsiteY35" fmla="*/ 747096 h 747096"/>
                <a:gd name="connsiteX36" fmla="*/ 2910503 w 5264290"/>
                <a:gd name="connsiteY36" fmla="*/ 747096 h 747096"/>
                <a:gd name="connsiteX37" fmla="*/ 2835505 w 5264290"/>
                <a:gd name="connsiteY37" fmla="*/ 747096 h 747096"/>
                <a:gd name="connsiteX38" fmla="*/ 2509552 w 5264290"/>
                <a:gd name="connsiteY38" fmla="*/ 741327 h 747096"/>
                <a:gd name="connsiteX39" fmla="*/ 2414362 w 5264290"/>
                <a:gd name="connsiteY39" fmla="*/ 735558 h 747096"/>
                <a:gd name="connsiteX40" fmla="*/ 2324941 w 5264290"/>
                <a:gd name="connsiteY40" fmla="*/ 729789 h 747096"/>
                <a:gd name="connsiteX41" fmla="*/ 2221098 w 5264290"/>
                <a:gd name="connsiteY41" fmla="*/ 724020 h 747096"/>
                <a:gd name="connsiteX42" fmla="*/ 2033602 w 5264290"/>
                <a:gd name="connsiteY42" fmla="*/ 706713 h 747096"/>
                <a:gd name="connsiteX43" fmla="*/ 1944181 w 5264290"/>
                <a:gd name="connsiteY43" fmla="*/ 695174 h 747096"/>
                <a:gd name="connsiteX44" fmla="*/ 1840338 w 5264290"/>
                <a:gd name="connsiteY44" fmla="*/ 686521 h 747096"/>
                <a:gd name="connsiteX45" fmla="*/ 1655727 w 5264290"/>
                <a:gd name="connsiteY45" fmla="*/ 669213 h 747096"/>
                <a:gd name="connsiteX46" fmla="*/ 1471116 w 5264290"/>
                <a:gd name="connsiteY46" fmla="*/ 649022 h 747096"/>
                <a:gd name="connsiteX47" fmla="*/ 1277852 w 5264290"/>
                <a:gd name="connsiteY47" fmla="*/ 631714 h 747096"/>
                <a:gd name="connsiteX48" fmla="*/ 1021128 w 5264290"/>
                <a:gd name="connsiteY48" fmla="*/ 602869 h 747096"/>
                <a:gd name="connsiteX49" fmla="*/ 775942 w 5264290"/>
                <a:gd name="connsiteY49" fmla="*/ 571139 h 747096"/>
                <a:gd name="connsiteX50" fmla="*/ 496141 w 5264290"/>
                <a:gd name="connsiteY50" fmla="*/ 522102 h 747096"/>
                <a:gd name="connsiteX51" fmla="*/ 331722 w 5264290"/>
                <a:gd name="connsiteY51" fmla="*/ 496141 h 747096"/>
                <a:gd name="connsiteX52" fmla="*/ 135573 w 5264290"/>
                <a:gd name="connsiteY52" fmla="*/ 455757 h 747096"/>
                <a:gd name="connsiteX53" fmla="*/ 0 w 5264290"/>
                <a:gd name="connsiteY53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349029 w 5264290"/>
                <a:gd name="connsiteY7" fmla="*/ 253839 h 747096"/>
                <a:gd name="connsiteX8" fmla="*/ 438450 w 5264290"/>
                <a:gd name="connsiteY8" fmla="*/ 222109 h 747096"/>
                <a:gd name="connsiteX9" fmla="*/ 527871 w 5264290"/>
                <a:gd name="connsiteY9" fmla="*/ 196148 h 747096"/>
                <a:gd name="connsiteX10" fmla="*/ 611523 w 5264290"/>
                <a:gd name="connsiteY10" fmla="*/ 178841 h 747096"/>
                <a:gd name="connsiteX11" fmla="*/ 689405 w 5264290"/>
                <a:gd name="connsiteY11" fmla="*/ 161534 h 747096"/>
                <a:gd name="connsiteX12" fmla="*/ 761519 w 5264290"/>
                <a:gd name="connsiteY12" fmla="*/ 147111 h 747096"/>
                <a:gd name="connsiteX13" fmla="*/ 819210 w 5264290"/>
                <a:gd name="connsiteY13" fmla="*/ 138458 h 747096"/>
                <a:gd name="connsiteX14" fmla="*/ 911515 w 5264290"/>
                <a:gd name="connsiteY14" fmla="*/ 124035 h 747096"/>
                <a:gd name="connsiteX15" fmla="*/ 1003821 w 5264290"/>
                <a:gd name="connsiteY15" fmla="*/ 112497 h 747096"/>
                <a:gd name="connsiteX16" fmla="*/ 1078819 w 5264290"/>
                <a:gd name="connsiteY16" fmla="*/ 103843 h 747096"/>
                <a:gd name="connsiteX17" fmla="*/ 1145163 w 5264290"/>
                <a:gd name="connsiteY17" fmla="*/ 95189 h 747096"/>
                <a:gd name="connsiteX18" fmla="*/ 1243238 w 5264290"/>
                <a:gd name="connsiteY18" fmla="*/ 86536 h 747096"/>
                <a:gd name="connsiteX19" fmla="*/ 1375927 w 5264290"/>
                <a:gd name="connsiteY19" fmla="*/ 77882 h 747096"/>
                <a:gd name="connsiteX20" fmla="*/ 1574960 w 5264290"/>
                <a:gd name="connsiteY20" fmla="*/ 63460 h 747096"/>
                <a:gd name="connsiteX21" fmla="*/ 1794185 w 5264290"/>
                <a:gd name="connsiteY21" fmla="*/ 54806 h 747096"/>
                <a:gd name="connsiteX22" fmla="*/ 1996103 w 5264290"/>
                <a:gd name="connsiteY22" fmla="*/ 43268 h 747096"/>
                <a:gd name="connsiteX23" fmla="*/ 2172060 w 5264290"/>
                <a:gd name="connsiteY23" fmla="*/ 34614 h 747096"/>
                <a:gd name="connsiteX24" fmla="*/ 2399939 w 5264290"/>
                <a:gd name="connsiteY24" fmla="*/ 25960 h 747096"/>
                <a:gd name="connsiteX25" fmla="*/ 2723008 w 5264290"/>
                <a:gd name="connsiteY25" fmla="*/ 20191 h 747096"/>
                <a:gd name="connsiteX26" fmla="*/ 2858581 w 5264290"/>
                <a:gd name="connsiteY26" fmla="*/ 17307 h 747096"/>
                <a:gd name="connsiteX27" fmla="*/ 2985501 w 5264290"/>
                <a:gd name="connsiteY27" fmla="*/ 14422 h 747096"/>
                <a:gd name="connsiteX28" fmla="*/ 3115306 w 5264290"/>
                <a:gd name="connsiteY28" fmla="*/ 11538 h 747096"/>
                <a:gd name="connsiteX29" fmla="*/ 3294147 w 5264290"/>
                <a:gd name="connsiteY29" fmla="*/ 8653 h 747096"/>
                <a:gd name="connsiteX30" fmla="*/ 3464335 w 5264290"/>
                <a:gd name="connsiteY30" fmla="*/ 8653 h 747096"/>
                <a:gd name="connsiteX31" fmla="*/ 3669138 w 5264290"/>
                <a:gd name="connsiteY31" fmla="*/ 2884 h 747096"/>
                <a:gd name="connsiteX32" fmla="*/ 5264290 w 5264290"/>
                <a:gd name="connsiteY32" fmla="*/ 0 h 747096"/>
                <a:gd name="connsiteX33" fmla="*/ 5264290 w 5264290"/>
                <a:gd name="connsiteY33" fmla="*/ 744212 h 747096"/>
                <a:gd name="connsiteX34" fmla="*/ 3135498 w 5264290"/>
                <a:gd name="connsiteY34" fmla="*/ 747096 h 747096"/>
                <a:gd name="connsiteX35" fmla="*/ 2910503 w 5264290"/>
                <a:gd name="connsiteY35" fmla="*/ 747096 h 747096"/>
                <a:gd name="connsiteX36" fmla="*/ 2835505 w 5264290"/>
                <a:gd name="connsiteY36" fmla="*/ 747096 h 747096"/>
                <a:gd name="connsiteX37" fmla="*/ 2509552 w 5264290"/>
                <a:gd name="connsiteY37" fmla="*/ 741327 h 747096"/>
                <a:gd name="connsiteX38" fmla="*/ 2414362 w 5264290"/>
                <a:gd name="connsiteY38" fmla="*/ 735558 h 747096"/>
                <a:gd name="connsiteX39" fmla="*/ 2324941 w 5264290"/>
                <a:gd name="connsiteY39" fmla="*/ 729789 h 747096"/>
                <a:gd name="connsiteX40" fmla="*/ 2221098 w 5264290"/>
                <a:gd name="connsiteY40" fmla="*/ 724020 h 747096"/>
                <a:gd name="connsiteX41" fmla="*/ 2033602 w 5264290"/>
                <a:gd name="connsiteY41" fmla="*/ 706713 h 747096"/>
                <a:gd name="connsiteX42" fmla="*/ 1944181 w 5264290"/>
                <a:gd name="connsiteY42" fmla="*/ 695174 h 747096"/>
                <a:gd name="connsiteX43" fmla="*/ 1840338 w 5264290"/>
                <a:gd name="connsiteY43" fmla="*/ 686521 h 747096"/>
                <a:gd name="connsiteX44" fmla="*/ 1655727 w 5264290"/>
                <a:gd name="connsiteY44" fmla="*/ 669213 h 747096"/>
                <a:gd name="connsiteX45" fmla="*/ 1471116 w 5264290"/>
                <a:gd name="connsiteY45" fmla="*/ 649022 h 747096"/>
                <a:gd name="connsiteX46" fmla="*/ 1277852 w 5264290"/>
                <a:gd name="connsiteY46" fmla="*/ 631714 h 747096"/>
                <a:gd name="connsiteX47" fmla="*/ 1021128 w 5264290"/>
                <a:gd name="connsiteY47" fmla="*/ 602869 h 747096"/>
                <a:gd name="connsiteX48" fmla="*/ 775942 w 5264290"/>
                <a:gd name="connsiteY48" fmla="*/ 571139 h 747096"/>
                <a:gd name="connsiteX49" fmla="*/ 496141 w 5264290"/>
                <a:gd name="connsiteY49" fmla="*/ 522102 h 747096"/>
                <a:gd name="connsiteX50" fmla="*/ 331722 w 5264290"/>
                <a:gd name="connsiteY50" fmla="*/ 496141 h 747096"/>
                <a:gd name="connsiteX51" fmla="*/ 135573 w 5264290"/>
                <a:gd name="connsiteY51" fmla="*/ 455757 h 747096"/>
                <a:gd name="connsiteX52" fmla="*/ 0 w 5264290"/>
                <a:gd name="connsiteY52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349029 w 5264290"/>
                <a:gd name="connsiteY7" fmla="*/ 253839 h 747096"/>
                <a:gd name="connsiteX8" fmla="*/ 438450 w 5264290"/>
                <a:gd name="connsiteY8" fmla="*/ 222109 h 747096"/>
                <a:gd name="connsiteX9" fmla="*/ 527871 w 5264290"/>
                <a:gd name="connsiteY9" fmla="*/ 196148 h 747096"/>
                <a:gd name="connsiteX10" fmla="*/ 611523 w 5264290"/>
                <a:gd name="connsiteY10" fmla="*/ 178841 h 747096"/>
                <a:gd name="connsiteX11" fmla="*/ 689405 w 5264290"/>
                <a:gd name="connsiteY11" fmla="*/ 161534 h 747096"/>
                <a:gd name="connsiteX12" fmla="*/ 761519 w 5264290"/>
                <a:gd name="connsiteY12" fmla="*/ 147111 h 747096"/>
                <a:gd name="connsiteX13" fmla="*/ 819210 w 5264290"/>
                <a:gd name="connsiteY13" fmla="*/ 138458 h 747096"/>
                <a:gd name="connsiteX14" fmla="*/ 911515 w 5264290"/>
                <a:gd name="connsiteY14" fmla="*/ 124035 h 747096"/>
                <a:gd name="connsiteX15" fmla="*/ 1003821 w 5264290"/>
                <a:gd name="connsiteY15" fmla="*/ 112497 h 747096"/>
                <a:gd name="connsiteX16" fmla="*/ 1078819 w 5264290"/>
                <a:gd name="connsiteY16" fmla="*/ 103843 h 747096"/>
                <a:gd name="connsiteX17" fmla="*/ 1145163 w 5264290"/>
                <a:gd name="connsiteY17" fmla="*/ 95189 h 747096"/>
                <a:gd name="connsiteX18" fmla="*/ 1243238 w 5264290"/>
                <a:gd name="connsiteY18" fmla="*/ 86536 h 747096"/>
                <a:gd name="connsiteX19" fmla="*/ 1375927 w 5264290"/>
                <a:gd name="connsiteY19" fmla="*/ 77882 h 747096"/>
                <a:gd name="connsiteX20" fmla="*/ 1574960 w 5264290"/>
                <a:gd name="connsiteY20" fmla="*/ 63460 h 747096"/>
                <a:gd name="connsiteX21" fmla="*/ 1794185 w 5264290"/>
                <a:gd name="connsiteY21" fmla="*/ 54806 h 747096"/>
                <a:gd name="connsiteX22" fmla="*/ 1996103 w 5264290"/>
                <a:gd name="connsiteY22" fmla="*/ 43268 h 747096"/>
                <a:gd name="connsiteX23" fmla="*/ 2172060 w 5264290"/>
                <a:gd name="connsiteY23" fmla="*/ 34614 h 747096"/>
                <a:gd name="connsiteX24" fmla="*/ 2399939 w 5264290"/>
                <a:gd name="connsiteY24" fmla="*/ 25960 h 747096"/>
                <a:gd name="connsiteX25" fmla="*/ 2723008 w 5264290"/>
                <a:gd name="connsiteY25" fmla="*/ 20191 h 747096"/>
                <a:gd name="connsiteX26" fmla="*/ 2858581 w 5264290"/>
                <a:gd name="connsiteY26" fmla="*/ 17307 h 747096"/>
                <a:gd name="connsiteX27" fmla="*/ 2985501 w 5264290"/>
                <a:gd name="connsiteY27" fmla="*/ 14422 h 747096"/>
                <a:gd name="connsiteX28" fmla="*/ 3115306 w 5264290"/>
                <a:gd name="connsiteY28" fmla="*/ 11538 h 747096"/>
                <a:gd name="connsiteX29" fmla="*/ 3294147 w 5264290"/>
                <a:gd name="connsiteY29" fmla="*/ 8653 h 747096"/>
                <a:gd name="connsiteX30" fmla="*/ 3464335 w 5264290"/>
                <a:gd name="connsiteY30" fmla="*/ 8653 h 747096"/>
                <a:gd name="connsiteX31" fmla="*/ 3680676 w 5264290"/>
                <a:gd name="connsiteY31" fmla="*/ 11537 h 747096"/>
                <a:gd name="connsiteX32" fmla="*/ 5264290 w 5264290"/>
                <a:gd name="connsiteY32" fmla="*/ 0 h 747096"/>
                <a:gd name="connsiteX33" fmla="*/ 5264290 w 5264290"/>
                <a:gd name="connsiteY33" fmla="*/ 744212 h 747096"/>
                <a:gd name="connsiteX34" fmla="*/ 3135498 w 5264290"/>
                <a:gd name="connsiteY34" fmla="*/ 747096 h 747096"/>
                <a:gd name="connsiteX35" fmla="*/ 2910503 w 5264290"/>
                <a:gd name="connsiteY35" fmla="*/ 747096 h 747096"/>
                <a:gd name="connsiteX36" fmla="*/ 2835505 w 5264290"/>
                <a:gd name="connsiteY36" fmla="*/ 747096 h 747096"/>
                <a:gd name="connsiteX37" fmla="*/ 2509552 w 5264290"/>
                <a:gd name="connsiteY37" fmla="*/ 741327 h 747096"/>
                <a:gd name="connsiteX38" fmla="*/ 2414362 w 5264290"/>
                <a:gd name="connsiteY38" fmla="*/ 735558 h 747096"/>
                <a:gd name="connsiteX39" fmla="*/ 2324941 w 5264290"/>
                <a:gd name="connsiteY39" fmla="*/ 729789 h 747096"/>
                <a:gd name="connsiteX40" fmla="*/ 2221098 w 5264290"/>
                <a:gd name="connsiteY40" fmla="*/ 724020 h 747096"/>
                <a:gd name="connsiteX41" fmla="*/ 2033602 w 5264290"/>
                <a:gd name="connsiteY41" fmla="*/ 706713 h 747096"/>
                <a:gd name="connsiteX42" fmla="*/ 1944181 w 5264290"/>
                <a:gd name="connsiteY42" fmla="*/ 695174 h 747096"/>
                <a:gd name="connsiteX43" fmla="*/ 1840338 w 5264290"/>
                <a:gd name="connsiteY43" fmla="*/ 686521 h 747096"/>
                <a:gd name="connsiteX44" fmla="*/ 1655727 w 5264290"/>
                <a:gd name="connsiteY44" fmla="*/ 669213 h 747096"/>
                <a:gd name="connsiteX45" fmla="*/ 1471116 w 5264290"/>
                <a:gd name="connsiteY45" fmla="*/ 649022 h 747096"/>
                <a:gd name="connsiteX46" fmla="*/ 1277852 w 5264290"/>
                <a:gd name="connsiteY46" fmla="*/ 631714 h 747096"/>
                <a:gd name="connsiteX47" fmla="*/ 1021128 w 5264290"/>
                <a:gd name="connsiteY47" fmla="*/ 602869 h 747096"/>
                <a:gd name="connsiteX48" fmla="*/ 775942 w 5264290"/>
                <a:gd name="connsiteY48" fmla="*/ 571139 h 747096"/>
                <a:gd name="connsiteX49" fmla="*/ 496141 w 5264290"/>
                <a:gd name="connsiteY49" fmla="*/ 522102 h 747096"/>
                <a:gd name="connsiteX50" fmla="*/ 331722 w 5264290"/>
                <a:gd name="connsiteY50" fmla="*/ 496141 h 747096"/>
                <a:gd name="connsiteX51" fmla="*/ 135573 w 5264290"/>
                <a:gd name="connsiteY51" fmla="*/ 455757 h 747096"/>
                <a:gd name="connsiteX52" fmla="*/ 0 w 5264290"/>
                <a:gd name="connsiteY52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349029 w 5264290"/>
                <a:gd name="connsiteY7" fmla="*/ 253839 h 747096"/>
                <a:gd name="connsiteX8" fmla="*/ 438450 w 5264290"/>
                <a:gd name="connsiteY8" fmla="*/ 222109 h 747096"/>
                <a:gd name="connsiteX9" fmla="*/ 527871 w 5264290"/>
                <a:gd name="connsiteY9" fmla="*/ 196148 h 747096"/>
                <a:gd name="connsiteX10" fmla="*/ 611523 w 5264290"/>
                <a:gd name="connsiteY10" fmla="*/ 178841 h 747096"/>
                <a:gd name="connsiteX11" fmla="*/ 689405 w 5264290"/>
                <a:gd name="connsiteY11" fmla="*/ 161534 h 747096"/>
                <a:gd name="connsiteX12" fmla="*/ 761519 w 5264290"/>
                <a:gd name="connsiteY12" fmla="*/ 147111 h 747096"/>
                <a:gd name="connsiteX13" fmla="*/ 819210 w 5264290"/>
                <a:gd name="connsiteY13" fmla="*/ 138458 h 747096"/>
                <a:gd name="connsiteX14" fmla="*/ 911515 w 5264290"/>
                <a:gd name="connsiteY14" fmla="*/ 124035 h 747096"/>
                <a:gd name="connsiteX15" fmla="*/ 1003821 w 5264290"/>
                <a:gd name="connsiteY15" fmla="*/ 112497 h 747096"/>
                <a:gd name="connsiteX16" fmla="*/ 1078819 w 5264290"/>
                <a:gd name="connsiteY16" fmla="*/ 103843 h 747096"/>
                <a:gd name="connsiteX17" fmla="*/ 1145163 w 5264290"/>
                <a:gd name="connsiteY17" fmla="*/ 95189 h 747096"/>
                <a:gd name="connsiteX18" fmla="*/ 1243238 w 5264290"/>
                <a:gd name="connsiteY18" fmla="*/ 86536 h 747096"/>
                <a:gd name="connsiteX19" fmla="*/ 1375927 w 5264290"/>
                <a:gd name="connsiteY19" fmla="*/ 77882 h 747096"/>
                <a:gd name="connsiteX20" fmla="*/ 1574960 w 5264290"/>
                <a:gd name="connsiteY20" fmla="*/ 63460 h 747096"/>
                <a:gd name="connsiteX21" fmla="*/ 1794185 w 5264290"/>
                <a:gd name="connsiteY21" fmla="*/ 54806 h 747096"/>
                <a:gd name="connsiteX22" fmla="*/ 1996103 w 5264290"/>
                <a:gd name="connsiteY22" fmla="*/ 43268 h 747096"/>
                <a:gd name="connsiteX23" fmla="*/ 2172060 w 5264290"/>
                <a:gd name="connsiteY23" fmla="*/ 34614 h 747096"/>
                <a:gd name="connsiteX24" fmla="*/ 2399939 w 5264290"/>
                <a:gd name="connsiteY24" fmla="*/ 25960 h 747096"/>
                <a:gd name="connsiteX25" fmla="*/ 2723008 w 5264290"/>
                <a:gd name="connsiteY25" fmla="*/ 20191 h 747096"/>
                <a:gd name="connsiteX26" fmla="*/ 2858581 w 5264290"/>
                <a:gd name="connsiteY26" fmla="*/ 17307 h 747096"/>
                <a:gd name="connsiteX27" fmla="*/ 2985501 w 5264290"/>
                <a:gd name="connsiteY27" fmla="*/ 14422 h 747096"/>
                <a:gd name="connsiteX28" fmla="*/ 3115306 w 5264290"/>
                <a:gd name="connsiteY28" fmla="*/ 11538 h 747096"/>
                <a:gd name="connsiteX29" fmla="*/ 3294147 w 5264290"/>
                <a:gd name="connsiteY29" fmla="*/ 8653 h 747096"/>
                <a:gd name="connsiteX30" fmla="*/ 3464335 w 5264290"/>
                <a:gd name="connsiteY30" fmla="*/ 8653 h 747096"/>
                <a:gd name="connsiteX31" fmla="*/ 3680676 w 5264290"/>
                <a:gd name="connsiteY31" fmla="*/ 11537 h 747096"/>
                <a:gd name="connsiteX32" fmla="*/ 5264290 w 5264290"/>
                <a:gd name="connsiteY32" fmla="*/ 0 h 747096"/>
                <a:gd name="connsiteX33" fmla="*/ 5264290 w 5264290"/>
                <a:gd name="connsiteY33" fmla="*/ 744212 h 747096"/>
                <a:gd name="connsiteX34" fmla="*/ 3135498 w 5264290"/>
                <a:gd name="connsiteY34" fmla="*/ 747096 h 747096"/>
                <a:gd name="connsiteX35" fmla="*/ 2910503 w 5264290"/>
                <a:gd name="connsiteY35" fmla="*/ 747096 h 747096"/>
                <a:gd name="connsiteX36" fmla="*/ 2835505 w 5264290"/>
                <a:gd name="connsiteY36" fmla="*/ 747096 h 747096"/>
                <a:gd name="connsiteX37" fmla="*/ 2509552 w 5264290"/>
                <a:gd name="connsiteY37" fmla="*/ 741327 h 747096"/>
                <a:gd name="connsiteX38" fmla="*/ 2414362 w 5264290"/>
                <a:gd name="connsiteY38" fmla="*/ 735558 h 747096"/>
                <a:gd name="connsiteX39" fmla="*/ 2324941 w 5264290"/>
                <a:gd name="connsiteY39" fmla="*/ 729789 h 747096"/>
                <a:gd name="connsiteX40" fmla="*/ 2221098 w 5264290"/>
                <a:gd name="connsiteY40" fmla="*/ 724020 h 747096"/>
                <a:gd name="connsiteX41" fmla="*/ 2033602 w 5264290"/>
                <a:gd name="connsiteY41" fmla="*/ 706713 h 747096"/>
                <a:gd name="connsiteX42" fmla="*/ 1840338 w 5264290"/>
                <a:gd name="connsiteY42" fmla="*/ 686521 h 747096"/>
                <a:gd name="connsiteX43" fmla="*/ 1655727 w 5264290"/>
                <a:gd name="connsiteY43" fmla="*/ 669213 h 747096"/>
                <a:gd name="connsiteX44" fmla="*/ 1471116 w 5264290"/>
                <a:gd name="connsiteY44" fmla="*/ 649022 h 747096"/>
                <a:gd name="connsiteX45" fmla="*/ 1277852 w 5264290"/>
                <a:gd name="connsiteY45" fmla="*/ 631714 h 747096"/>
                <a:gd name="connsiteX46" fmla="*/ 1021128 w 5264290"/>
                <a:gd name="connsiteY46" fmla="*/ 602869 h 747096"/>
                <a:gd name="connsiteX47" fmla="*/ 775942 w 5264290"/>
                <a:gd name="connsiteY47" fmla="*/ 571139 h 747096"/>
                <a:gd name="connsiteX48" fmla="*/ 496141 w 5264290"/>
                <a:gd name="connsiteY48" fmla="*/ 522102 h 747096"/>
                <a:gd name="connsiteX49" fmla="*/ 331722 w 5264290"/>
                <a:gd name="connsiteY49" fmla="*/ 496141 h 747096"/>
                <a:gd name="connsiteX50" fmla="*/ 135573 w 5264290"/>
                <a:gd name="connsiteY50" fmla="*/ 455757 h 747096"/>
                <a:gd name="connsiteX51" fmla="*/ 0 w 5264290"/>
                <a:gd name="connsiteY51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349029 w 5264290"/>
                <a:gd name="connsiteY7" fmla="*/ 253839 h 747096"/>
                <a:gd name="connsiteX8" fmla="*/ 438450 w 5264290"/>
                <a:gd name="connsiteY8" fmla="*/ 222109 h 747096"/>
                <a:gd name="connsiteX9" fmla="*/ 527871 w 5264290"/>
                <a:gd name="connsiteY9" fmla="*/ 196148 h 747096"/>
                <a:gd name="connsiteX10" fmla="*/ 611523 w 5264290"/>
                <a:gd name="connsiteY10" fmla="*/ 178841 h 747096"/>
                <a:gd name="connsiteX11" fmla="*/ 689405 w 5264290"/>
                <a:gd name="connsiteY11" fmla="*/ 161534 h 747096"/>
                <a:gd name="connsiteX12" fmla="*/ 761519 w 5264290"/>
                <a:gd name="connsiteY12" fmla="*/ 147111 h 747096"/>
                <a:gd name="connsiteX13" fmla="*/ 819210 w 5264290"/>
                <a:gd name="connsiteY13" fmla="*/ 138458 h 747096"/>
                <a:gd name="connsiteX14" fmla="*/ 911515 w 5264290"/>
                <a:gd name="connsiteY14" fmla="*/ 124035 h 747096"/>
                <a:gd name="connsiteX15" fmla="*/ 1003821 w 5264290"/>
                <a:gd name="connsiteY15" fmla="*/ 112497 h 747096"/>
                <a:gd name="connsiteX16" fmla="*/ 1078819 w 5264290"/>
                <a:gd name="connsiteY16" fmla="*/ 103843 h 747096"/>
                <a:gd name="connsiteX17" fmla="*/ 1145163 w 5264290"/>
                <a:gd name="connsiteY17" fmla="*/ 95189 h 747096"/>
                <a:gd name="connsiteX18" fmla="*/ 1243238 w 5264290"/>
                <a:gd name="connsiteY18" fmla="*/ 86536 h 747096"/>
                <a:gd name="connsiteX19" fmla="*/ 1375927 w 5264290"/>
                <a:gd name="connsiteY19" fmla="*/ 77882 h 747096"/>
                <a:gd name="connsiteX20" fmla="*/ 1574960 w 5264290"/>
                <a:gd name="connsiteY20" fmla="*/ 63460 h 747096"/>
                <a:gd name="connsiteX21" fmla="*/ 1794185 w 5264290"/>
                <a:gd name="connsiteY21" fmla="*/ 54806 h 747096"/>
                <a:gd name="connsiteX22" fmla="*/ 1996103 w 5264290"/>
                <a:gd name="connsiteY22" fmla="*/ 43268 h 747096"/>
                <a:gd name="connsiteX23" fmla="*/ 2172060 w 5264290"/>
                <a:gd name="connsiteY23" fmla="*/ 34614 h 747096"/>
                <a:gd name="connsiteX24" fmla="*/ 2399939 w 5264290"/>
                <a:gd name="connsiteY24" fmla="*/ 25960 h 747096"/>
                <a:gd name="connsiteX25" fmla="*/ 2723008 w 5264290"/>
                <a:gd name="connsiteY25" fmla="*/ 20191 h 747096"/>
                <a:gd name="connsiteX26" fmla="*/ 2858581 w 5264290"/>
                <a:gd name="connsiteY26" fmla="*/ 17307 h 747096"/>
                <a:gd name="connsiteX27" fmla="*/ 2985501 w 5264290"/>
                <a:gd name="connsiteY27" fmla="*/ 14422 h 747096"/>
                <a:gd name="connsiteX28" fmla="*/ 3115306 w 5264290"/>
                <a:gd name="connsiteY28" fmla="*/ 11538 h 747096"/>
                <a:gd name="connsiteX29" fmla="*/ 3294147 w 5264290"/>
                <a:gd name="connsiteY29" fmla="*/ 8653 h 747096"/>
                <a:gd name="connsiteX30" fmla="*/ 3464335 w 5264290"/>
                <a:gd name="connsiteY30" fmla="*/ 8653 h 747096"/>
                <a:gd name="connsiteX31" fmla="*/ 3680676 w 5264290"/>
                <a:gd name="connsiteY31" fmla="*/ 11537 h 747096"/>
                <a:gd name="connsiteX32" fmla="*/ 5264290 w 5264290"/>
                <a:gd name="connsiteY32" fmla="*/ 0 h 747096"/>
                <a:gd name="connsiteX33" fmla="*/ 5264290 w 5264290"/>
                <a:gd name="connsiteY33" fmla="*/ 744212 h 747096"/>
                <a:gd name="connsiteX34" fmla="*/ 3135498 w 5264290"/>
                <a:gd name="connsiteY34" fmla="*/ 747096 h 747096"/>
                <a:gd name="connsiteX35" fmla="*/ 2910503 w 5264290"/>
                <a:gd name="connsiteY35" fmla="*/ 747096 h 747096"/>
                <a:gd name="connsiteX36" fmla="*/ 2835505 w 5264290"/>
                <a:gd name="connsiteY36" fmla="*/ 747096 h 747096"/>
                <a:gd name="connsiteX37" fmla="*/ 2509552 w 5264290"/>
                <a:gd name="connsiteY37" fmla="*/ 741327 h 747096"/>
                <a:gd name="connsiteX38" fmla="*/ 2414362 w 5264290"/>
                <a:gd name="connsiteY38" fmla="*/ 735558 h 747096"/>
                <a:gd name="connsiteX39" fmla="*/ 2324941 w 5264290"/>
                <a:gd name="connsiteY39" fmla="*/ 729789 h 747096"/>
                <a:gd name="connsiteX40" fmla="*/ 2221098 w 5264290"/>
                <a:gd name="connsiteY40" fmla="*/ 724020 h 747096"/>
                <a:gd name="connsiteX41" fmla="*/ 2033602 w 5264290"/>
                <a:gd name="connsiteY41" fmla="*/ 706713 h 747096"/>
                <a:gd name="connsiteX42" fmla="*/ 1840338 w 5264290"/>
                <a:gd name="connsiteY42" fmla="*/ 686521 h 747096"/>
                <a:gd name="connsiteX43" fmla="*/ 1655727 w 5264290"/>
                <a:gd name="connsiteY43" fmla="*/ 669213 h 747096"/>
                <a:gd name="connsiteX44" fmla="*/ 1471116 w 5264290"/>
                <a:gd name="connsiteY44" fmla="*/ 649022 h 747096"/>
                <a:gd name="connsiteX45" fmla="*/ 1277852 w 5264290"/>
                <a:gd name="connsiteY45" fmla="*/ 631714 h 747096"/>
                <a:gd name="connsiteX46" fmla="*/ 1021128 w 5264290"/>
                <a:gd name="connsiteY46" fmla="*/ 602869 h 747096"/>
                <a:gd name="connsiteX47" fmla="*/ 496141 w 5264290"/>
                <a:gd name="connsiteY47" fmla="*/ 522102 h 747096"/>
                <a:gd name="connsiteX48" fmla="*/ 331722 w 5264290"/>
                <a:gd name="connsiteY48" fmla="*/ 496141 h 747096"/>
                <a:gd name="connsiteX49" fmla="*/ 135573 w 5264290"/>
                <a:gd name="connsiteY49" fmla="*/ 455757 h 747096"/>
                <a:gd name="connsiteX50" fmla="*/ 0 w 5264290"/>
                <a:gd name="connsiteY50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349029 w 5264290"/>
                <a:gd name="connsiteY7" fmla="*/ 253839 h 747096"/>
                <a:gd name="connsiteX8" fmla="*/ 438450 w 5264290"/>
                <a:gd name="connsiteY8" fmla="*/ 222109 h 747096"/>
                <a:gd name="connsiteX9" fmla="*/ 611523 w 5264290"/>
                <a:gd name="connsiteY9" fmla="*/ 178841 h 747096"/>
                <a:gd name="connsiteX10" fmla="*/ 689405 w 5264290"/>
                <a:gd name="connsiteY10" fmla="*/ 161534 h 747096"/>
                <a:gd name="connsiteX11" fmla="*/ 761519 w 5264290"/>
                <a:gd name="connsiteY11" fmla="*/ 147111 h 747096"/>
                <a:gd name="connsiteX12" fmla="*/ 819210 w 5264290"/>
                <a:gd name="connsiteY12" fmla="*/ 138458 h 747096"/>
                <a:gd name="connsiteX13" fmla="*/ 911515 w 5264290"/>
                <a:gd name="connsiteY13" fmla="*/ 124035 h 747096"/>
                <a:gd name="connsiteX14" fmla="*/ 1003821 w 5264290"/>
                <a:gd name="connsiteY14" fmla="*/ 112497 h 747096"/>
                <a:gd name="connsiteX15" fmla="*/ 1078819 w 5264290"/>
                <a:gd name="connsiteY15" fmla="*/ 103843 h 747096"/>
                <a:gd name="connsiteX16" fmla="*/ 1145163 w 5264290"/>
                <a:gd name="connsiteY16" fmla="*/ 95189 h 747096"/>
                <a:gd name="connsiteX17" fmla="*/ 1243238 w 5264290"/>
                <a:gd name="connsiteY17" fmla="*/ 86536 h 747096"/>
                <a:gd name="connsiteX18" fmla="*/ 1375927 w 5264290"/>
                <a:gd name="connsiteY18" fmla="*/ 77882 h 747096"/>
                <a:gd name="connsiteX19" fmla="*/ 1574960 w 5264290"/>
                <a:gd name="connsiteY19" fmla="*/ 63460 h 747096"/>
                <a:gd name="connsiteX20" fmla="*/ 1794185 w 5264290"/>
                <a:gd name="connsiteY20" fmla="*/ 54806 h 747096"/>
                <a:gd name="connsiteX21" fmla="*/ 1996103 w 5264290"/>
                <a:gd name="connsiteY21" fmla="*/ 43268 h 747096"/>
                <a:gd name="connsiteX22" fmla="*/ 2172060 w 5264290"/>
                <a:gd name="connsiteY22" fmla="*/ 34614 h 747096"/>
                <a:gd name="connsiteX23" fmla="*/ 2399939 w 5264290"/>
                <a:gd name="connsiteY23" fmla="*/ 25960 h 747096"/>
                <a:gd name="connsiteX24" fmla="*/ 2723008 w 5264290"/>
                <a:gd name="connsiteY24" fmla="*/ 20191 h 747096"/>
                <a:gd name="connsiteX25" fmla="*/ 2858581 w 5264290"/>
                <a:gd name="connsiteY25" fmla="*/ 17307 h 747096"/>
                <a:gd name="connsiteX26" fmla="*/ 2985501 w 5264290"/>
                <a:gd name="connsiteY26" fmla="*/ 14422 h 747096"/>
                <a:gd name="connsiteX27" fmla="*/ 3115306 w 5264290"/>
                <a:gd name="connsiteY27" fmla="*/ 11538 h 747096"/>
                <a:gd name="connsiteX28" fmla="*/ 3294147 w 5264290"/>
                <a:gd name="connsiteY28" fmla="*/ 8653 h 747096"/>
                <a:gd name="connsiteX29" fmla="*/ 3464335 w 5264290"/>
                <a:gd name="connsiteY29" fmla="*/ 8653 h 747096"/>
                <a:gd name="connsiteX30" fmla="*/ 3680676 w 5264290"/>
                <a:gd name="connsiteY30" fmla="*/ 11537 h 747096"/>
                <a:gd name="connsiteX31" fmla="*/ 5264290 w 5264290"/>
                <a:gd name="connsiteY31" fmla="*/ 0 h 747096"/>
                <a:gd name="connsiteX32" fmla="*/ 5264290 w 5264290"/>
                <a:gd name="connsiteY32" fmla="*/ 744212 h 747096"/>
                <a:gd name="connsiteX33" fmla="*/ 3135498 w 5264290"/>
                <a:gd name="connsiteY33" fmla="*/ 747096 h 747096"/>
                <a:gd name="connsiteX34" fmla="*/ 2910503 w 5264290"/>
                <a:gd name="connsiteY34" fmla="*/ 747096 h 747096"/>
                <a:gd name="connsiteX35" fmla="*/ 2835505 w 5264290"/>
                <a:gd name="connsiteY35" fmla="*/ 747096 h 747096"/>
                <a:gd name="connsiteX36" fmla="*/ 2509552 w 5264290"/>
                <a:gd name="connsiteY36" fmla="*/ 741327 h 747096"/>
                <a:gd name="connsiteX37" fmla="*/ 2414362 w 5264290"/>
                <a:gd name="connsiteY37" fmla="*/ 735558 h 747096"/>
                <a:gd name="connsiteX38" fmla="*/ 2324941 w 5264290"/>
                <a:gd name="connsiteY38" fmla="*/ 729789 h 747096"/>
                <a:gd name="connsiteX39" fmla="*/ 2221098 w 5264290"/>
                <a:gd name="connsiteY39" fmla="*/ 724020 h 747096"/>
                <a:gd name="connsiteX40" fmla="*/ 2033602 w 5264290"/>
                <a:gd name="connsiteY40" fmla="*/ 706713 h 747096"/>
                <a:gd name="connsiteX41" fmla="*/ 1840338 w 5264290"/>
                <a:gd name="connsiteY41" fmla="*/ 686521 h 747096"/>
                <a:gd name="connsiteX42" fmla="*/ 1655727 w 5264290"/>
                <a:gd name="connsiteY42" fmla="*/ 669213 h 747096"/>
                <a:gd name="connsiteX43" fmla="*/ 1471116 w 5264290"/>
                <a:gd name="connsiteY43" fmla="*/ 649022 h 747096"/>
                <a:gd name="connsiteX44" fmla="*/ 1277852 w 5264290"/>
                <a:gd name="connsiteY44" fmla="*/ 631714 h 747096"/>
                <a:gd name="connsiteX45" fmla="*/ 1021128 w 5264290"/>
                <a:gd name="connsiteY45" fmla="*/ 602869 h 747096"/>
                <a:gd name="connsiteX46" fmla="*/ 496141 w 5264290"/>
                <a:gd name="connsiteY46" fmla="*/ 522102 h 747096"/>
                <a:gd name="connsiteX47" fmla="*/ 331722 w 5264290"/>
                <a:gd name="connsiteY47" fmla="*/ 496141 h 747096"/>
                <a:gd name="connsiteX48" fmla="*/ 135573 w 5264290"/>
                <a:gd name="connsiteY48" fmla="*/ 455757 h 747096"/>
                <a:gd name="connsiteX49" fmla="*/ 0 w 5264290"/>
                <a:gd name="connsiteY49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349029 w 5264290"/>
                <a:gd name="connsiteY7" fmla="*/ 253839 h 747096"/>
                <a:gd name="connsiteX8" fmla="*/ 611523 w 5264290"/>
                <a:gd name="connsiteY8" fmla="*/ 178841 h 747096"/>
                <a:gd name="connsiteX9" fmla="*/ 689405 w 5264290"/>
                <a:gd name="connsiteY9" fmla="*/ 161534 h 747096"/>
                <a:gd name="connsiteX10" fmla="*/ 761519 w 5264290"/>
                <a:gd name="connsiteY10" fmla="*/ 147111 h 747096"/>
                <a:gd name="connsiteX11" fmla="*/ 819210 w 5264290"/>
                <a:gd name="connsiteY11" fmla="*/ 138458 h 747096"/>
                <a:gd name="connsiteX12" fmla="*/ 911515 w 5264290"/>
                <a:gd name="connsiteY12" fmla="*/ 124035 h 747096"/>
                <a:gd name="connsiteX13" fmla="*/ 1003821 w 5264290"/>
                <a:gd name="connsiteY13" fmla="*/ 112497 h 747096"/>
                <a:gd name="connsiteX14" fmla="*/ 1078819 w 5264290"/>
                <a:gd name="connsiteY14" fmla="*/ 103843 h 747096"/>
                <a:gd name="connsiteX15" fmla="*/ 1145163 w 5264290"/>
                <a:gd name="connsiteY15" fmla="*/ 95189 h 747096"/>
                <a:gd name="connsiteX16" fmla="*/ 1243238 w 5264290"/>
                <a:gd name="connsiteY16" fmla="*/ 86536 h 747096"/>
                <a:gd name="connsiteX17" fmla="*/ 1375927 w 5264290"/>
                <a:gd name="connsiteY17" fmla="*/ 77882 h 747096"/>
                <a:gd name="connsiteX18" fmla="*/ 1574960 w 5264290"/>
                <a:gd name="connsiteY18" fmla="*/ 63460 h 747096"/>
                <a:gd name="connsiteX19" fmla="*/ 1794185 w 5264290"/>
                <a:gd name="connsiteY19" fmla="*/ 54806 h 747096"/>
                <a:gd name="connsiteX20" fmla="*/ 1996103 w 5264290"/>
                <a:gd name="connsiteY20" fmla="*/ 43268 h 747096"/>
                <a:gd name="connsiteX21" fmla="*/ 2172060 w 5264290"/>
                <a:gd name="connsiteY21" fmla="*/ 34614 h 747096"/>
                <a:gd name="connsiteX22" fmla="*/ 2399939 w 5264290"/>
                <a:gd name="connsiteY22" fmla="*/ 25960 h 747096"/>
                <a:gd name="connsiteX23" fmla="*/ 2723008 w 5264290"/>
                <a:gd name="connsiteY23" fmla="*/ 20191 h 747096"/>
                <a:gd name="connsiteX24" fmla="*/ 2858581 w 5264290"/>
                <a:gd name="connsiteY24" fmla="*/ 17307 h 747096"/>
                <a:gd name="connsiteX25" fmla="*/ 2985501 w 5264290"/>
                <a:gd name="connsiteY25" fmla="*/ 14422 h 747096"/>
                <a:gd name="connsiteX26" fmla="*/ 3115306 w 5264290"/>
                <a:gd name="connsiteY26" fmla="*/ 11538 h 747096"/>
                <a:gd name="connsiteX27" fmla="*/ 3294147 w 5264290"/>
                <a:gd name="connsiteY27" fmla="*/ 8653 h 747096"/>
                <a:gd name="connsiteX28" fmla="*/ 3464335 w 5264290"/>
                <a:gd name="connsiteY28" fmla="*/ 8653 h 747096"/>
                <a:gd name="connsiteX29" fmla="*/ 3680676 w 5264290"/>
                <a:gd name="connsiteY29" fmla="*/ 11537 h 747096"/>
                <a:gd name="connsiteX30" fmla="*/ 5264290 w 5264290"/>
                <a:gd name="connsiteY30" fmla="*/ 0 h 747096"/>
                <a:gd name="connsiteX31" fmla="*/ 5264290 w 5264290"/>
                <a:gd name="connsiteY31" fmla="*/ 744212 h 747096"/>
                <a:gd name="connsiteX32" fmla="*/ 3135498 w 5264290"/>
                <a:gd name="connsiteY32" fmla="*/ 747096 h 747096"/>
                <a:gd name="connsiteX33" fmla="*/ 2910503 w 5264290"/>
                <a:gd name="connsiteY33" fmla="*/ 747096 h 747096"/>
                <a:gd name="connsiteX34" fmla="*/ 2835505 w 5264290"/>
                <a:gd name="connsiteY34" fmla="*/ 747096 h 747096"/>
                <a:gd name="connsiteX35" fmla="*/ 2509552 w 5264290"/>
                <a:gd name="connsiteY35" fmla="*/ 741327 h 747096"/>
                <a:gd name="connsiteX36" fmla="*/ 2414362 w 5264290"/>
                <a:gd name="connsiteY36" fmla="*/ 735558 h 747096"/>
                <a:gd name="connsiteX37" fmla="*/ 2324941 w 5264290"/>
                <a:gd name="connsiteY37" fmla="*/ 729789 h 747096"/>
                <a:gd name="connsiteX38" fmla="*/ 2221098 w 5264290"/>
                <a:gd name="connsiteY38" fmla="*/ 724020 h 747096"/>
                <a:gd name="connsiteX39" fmla="*/ 2033602 w 5264290"/>
                <a:gd name="connsiteY39" fmla="*/ 706713 h 747096"/>
                <a:gd name="connsiteX40" fmla="*/ 1840338 w 5264290"/>
                <a:gd name="connsiteY40" fmla="*/ 686521 h 747096"/>
                <a:gd name="connsiteX41" fmla="*/ 1655727 w 5264290"/>
                <a:gd name="connsiteY41" fmla="*/ 669213 h 747096"/>
                <a:gd name="connsiteX42" fmla="*/ 1471116 w 5264290"/>
                <a:gd name="connsiteY42" fmla="*/ 649022 h 747096"/>
                <a:gd name="connsiteX43" fmla="*/ 1277852 w 5264290"/>
                <a:gd name="connsiteY43" fmla="*/ 631714 h 747096"/>
                <a:gd name="connsiteX44" fmla="*/ 1021128 w 5264290"/>
                <a:gd name="connsiteY44" fmla="*/ 602869 h 747096"/>
                <a:gd name="connsiteX45" fmla="*/ 496141 w 5264290"/>
                <a:gd name="connsiteY45" fmla="*/ 522102 h 747096"/>
                <a:gd name="connsiteX46" fmla="*/ 331722 w 5264290"/>
                <a:gd name="connsiteY46" fmla="*/ 496141 h 747096"/>
                <a:gd name="connsiteX47" fmla="*/ 135573 w 5264290"/>
                <a:gd name="connsiteY47" fmla="*/ 455757 h 747096"/>
                <a:gd name="connsiteX48" fmla="*/ 0 w 5264290"/>
                <a:gd name="connsiteY48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406720 w 5264290"/>
                <a:gd name="connsiteY7" fmla="*/ 242301 h 747096"/>
                <a:gd name="connsiteX8" fmla="*/ 611523 w 5264290"/>
                <a:gd name="connsiteY8" fmla="*/ 178841 h 747096"/>
                <a:gd name="connsiteX9" fmla="*/ 689405 w 5264290"/>
                <a:gd name="connsiteY9" fmla="*/ 161534 h 747096"/>
                <a:gd name="connsiteX10" fmla="*/ 761519 w 5264290"/>
                <a:gd name="connsiteY10" fmla="*/ 147111 h 747096"/>
                <a:gd name="connsiteX11" fmla="*/ 819210 w 5264290"/>
                <a:gd name="connsiteY11" fmla="*/ 138458 h 747096"/>
                <a:gd name="connsiteX12" fmla="*/ 911515 w 5264290"/>
                <a:gd name="connsiteY12" fmla="*/ 124035 h 747096"/>
                <a:gd name="connsiteX13" fmla="*/ 1003821 w 5264290"/>
                <a:gd name="connsiteY13" fmla="*/ 112497 h 747096"/>
                <a:gd name="connsiteX14" fmla="*/ 1078819 w 5264290"/>
                <a:gd name="connsiteY14" fmla="*/ 103843 h 747096"/>
                <a:gd name="connsiteX15" fmla="*/ 1145163 w 5264290"/>
                <a:gd name="connsiteY15" fmla="*/ 95189 h 747096"/>
                <a:gd name="connsiteX16" fmla="*/ 1243238 w 5264290"/>
                <a:gd name="connsiteY16" fmla="*/ 86536 h 747096"/>
                <a:gd name="connsiteX17" fmla="*/ 1375927 w 5264290"/>
                <a:gd name="connsiteY17" fmla="*/ 77882 h 747096"/>
                <a:gd name="connsiteX18" fmla="*/ 1574960 w 5264290"/>
                <a:gd name="connsiteY18" fmla="*/ 63460 h 747096"/>
                <a:gd name="connsiteX19" fmla="*/ 1794185 w 5264290"/>
                <a:gd name="connsiteY19" fmla="*/ 54806 h 747096"/>
                <a:gd name="connsiteX20" fmla="*/ 1996103 w 5264290"/>
                <a:gd name="connsiteY20" fmla="*/ 43268 h 747096"/>
                <a:gd name="connsiteX21" fmla="*/ 2172060 w 5264290"/>
                <a:gd name="connsiteY21" fmla="*/ 34614 h 747096"/>
                <a:gd name="connsiteX22" fmla="*/ 2399939 w 5264290"/>
                <a:gd name="connsiteY22" fmla="*/ 25960 h 747096"/>
                <a:gd name="connsiteX23" fmla="*/ 2723008 w 5264290"/>
                <a:gd name="connsiteY23" fmla="*/ 20191 h 747096"/>
                <a:gd name="connsiteX24" fmla="*/ 2858581 w 5264290"/>
                <a:gd name="connsiteY24" fmla="*/ 17307 h 747096"/>
                <a:gd name="connsiteX25" fmla="*/ 2985501 w 5264290"/>
                <a:gd name="connsiteY25" fmla="*/ 14422 h 747096"/>
                <a:gd name="connsiteX26" fmla="*/ 3115306 w 5264290"/>
                <a:gd name="connsiteY26" fmla="*/ 11538 h 747096"/>
                <a:gd name="connsiteX27" fmla="*/ 3294147 w 5264290"/>
                <a:gd name="connsiteY27" fmla="*/ 8653 h 747096"/>
                <a:gd name="connsiteX28" fmla="*/ 3464335 w 5264290"/>
                <a:gd name="connsiteY28" fmla="*/ 8653 h 747096"/>
                <a:gd name="connsiteX29" fmla="*/ 3680676 w 5264290"/>
                <a:gd name="connsiteY29" fmla="*/ 11537 h 747096"/>
                <a:gd name="connsiteX30" fmla="*/ 5264290 w 5264290"/>
                <a:gd name="connsiteY30" fmla="*/ 0 h 747096"/>
                <a:gd name="connsiteX31" fmla="*/ 5264290 w 5264290"/>
                <a:gd name="connsiteY31" fmla="*/ 744212 h 747096"/>
                <a:gd name="connsiteX32" fmla="*/ 3135498 w 5264290"/>
                <a:gd name="connsiteY32" fmla="*/ 747096 h 747096"/>
                <a:gd name="connsiteX33" fmla="*/ 2910503 w 5264290"/>
                <a:gd name="connsiteY33" fmla="*/ 747096 h 747096"/>
                <a:gd name="connsiteX34" fmla="*/ 2835505 w 5264290"/>
                <a:gd name="connsiteY34" fmla="*/ 747096 h 747096"/>
                <a:gd name="connsiteX35" fmla="*/ 2509552 w 5264290"/>
                <a:gd name="connsiteY35" fmla="*/ 741327 h 747096"/>
                <a:gd name="connsiteX36" fmla="*/ 2414362 w 5264290"/>
                <a:gd name="connsiteY36" fmla="*/ 735558 h 747096"/>
                <a:gd name="connsiteX37" fmla="*/ 2324941 w 5264290"/>
                <a:gd name="connsiteY37" fmla="*/ 729789 h 747096"/>
                <a:gd name="connsiteX38" fmla="*/ 2221098 w 5264290"/>
                <a:gd name="connsiteY38" fmla="*/ 724020 h 747096"/>
                <a:gd name="connsiteX39" fmla="*/ 2033602 w 5264290"/>
                <a:gd name="connsiteY39" fmla="*/ 706713 h 747096"/>
                <a:gd name="connsiteX40" fmla="*/ 1840338 w 5264290"/>
                <a:gd name="connsiteY40" fmla="*/ 686521 h 747096"/>
                <a:gd name="connsiteX41" fmla="*/ 1655727 w 5264290"/>
                <a:gd name="connsiteY41" fmla="*/ 669213 h 747096"/>
                <a:gd name="connsiteX42" fmla="*/ 1471116 w 5264290"/>
                <a:gd name="connsiteY42" fmla="*/ 649022 h 747096"/>
                <a:gd name="connsiteX43" fmla="*/ 1277852 w 5264290"/>
                <a:gd name="connsiteY43" fmla="*/ 631714 h 747096"/>
                <a:gd name="connsiteX44" fmla="*/ 1021128 w 5264290"/>
                <a:gd name="connsiteY44" fmla="*/ 602869 h 747096"/>
                <a:gd name="connsiteX45" fmla="*/ 496141 w 5264290"/>
                <a:gd name="connsiteY45" fmla="*/ 522102 h 747096"/>
                <a:gd name="connsiteX46" fmla="*/ 331722 w 5264290"/>
                <a:gd name="connsiteY46" fmla="*/ 496141 h 747096"/>
                <a:gd name="connsiteX47" fmla="*/ 135573 w 5264290"/>
                <a:gd name="connsiteY47" fmla="*/ 455757 h 747096"/>
                <a:gd name="connsiteX48" fmla="*/ 0 w 5264290"/>
                <a:gd name="connsiteY48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406720 w 5264290"/>
                <a:gd name="connsiteY7" fmla="*/ 242301 h 747096"/>
                <a:gd name="connsiteX8" fmla="*/ 611523 w 5264290"/>
                <a:gd name="connsiteY8" fmla="*/ 178841 h 747096"/>
                <a:gd name="connsiteX9" fmla="*/ 689405 w 5264290"/>
                <a:gd name="connsiteY9" fmla="*/ 161534 h 747096"/>
                <a:gd name="connsiteX10" fmla="*/ 761519 w 5264290"/>
                <a:gd name="connsiteY10" fmla="*/ 147111 h 747096"/>
                <a:gd name="connsiteX11" fmla="*/ 819210 w 5264290"/>
                <a:gd name="connsiteY11" fmla="*/ 138458 h 747096"/>
                <a:gd name="connsiteX12" fmla="*/ 911515 w 5264290"/>
                <a:gd name="connsiteY12" fmla="*/ 124035 h 747096"/>
                <a:gd name="connsiteX13" fmla="*/ 1003821 w 5264290"/>
                <a:gd name="connsiteY13" fmla="*/ 112497 h 747096"/>
                <a:gd name="connsiteX14" fmla="*/ 1078819 w 5264290"/>
                <a:gd name="connsiteY14" fmla="*/ 103843 h 747096"/>
                <a:gd name="connsiteX15" fmla="*/ 1145163 w 5264290"/>
                <a:gd name="connsiteY15" fmla="*/ 95189 h 747096"/>
                <a:gd name="connsiteX16" fmla="*/ 1243238 w 5264290"/>
                <a:gd name="connsiteY16" fmla="*/ 86536 h 747096"/>
                <a:gd name="connsiteX17" fmla="*/ 1375927 w 5264290"/>
                <a:gd name="connsiteY17" fmla="*/ 77882 h 747096"/>
                <a:gd name="connsiteX18" fmla="*/ 1574960 w 5264290"/>
                <a:gd name="connsiteY18" fmla="*/ 63460 h 747096"/>
                <a:gd name="connsiteX19" fmla="*/ 1794185 w 5264290"/>
                <a:gd name="connsiteY19" fmla="*/ 54806 h 747096"/>
                <a:gd name="connsiteX20" fmla="*/ 1996103 w 5264290"/>
                <a:gd name="connsiteY20" fmla="*/ 43268 h 747096"/>
                <a:gd name="connsiteX21" fmla="*/ 2172060 w 5264290"/>
                <a:gd name="connsiteY21" fmla="*/ 34614 h 747096"/>
                <a:gd name="connsiteX22" fmla="*/ 2399939 w 5264290"/>
                <a:gd name="connsiteY22" fmla="*/ 25960 h 747096"/>
                <a:gd name="connsiteX23" fmla="*/ 2723008 w 5264290"/>
                <a:gd name="connsiteY23" fmla="*/ 20191 h 747096"/>
                <a:gd name="connsiteX24" fmla="*/ 2858581 w 5264290"/>
                <a:gd name="connsiteY24" fmla="*/ 17307 h 747096"/>
                <a:gd name="connsiteX25" fmla="*/ 2985501 w 5264290"/>
                <a:gd name="connsiteY25" fmla="*/ 14422 h 747096"/>
                <a:gd name="connsiteX26" fmla="*/ 3115306 w 5264290"/>
                <a:gd name="connsiteY26" fmla="*/ 11538 h 747096"/>
                <a:gd name="connsiteX27" fmla="*/ 3294147 w 5264290"/>
                <a:gd name="connsiteY27" fmla="*/ 8653 h 747096"/>
                <a:gd name="connsiteX28" fmla="*/ 3464335 w 5264290"/>
                <a:gd name="connsiteY28" fmla="*/ 8653 h 747096"/>
                <a:gd name="connsiteX29" fmla="*/ 3680676 w 5264290"/>
                <a:gd name="connsiteY29" fmla="*/ 11537 h 747096"/>
                <a:gd name="connsiteX30" fmla="*/ 5264290 w 5264290"/>
                <a:gd name="connsiteY30" fmla="*/ 0 h 747096"/>
                <a:gd name="connsiteX31" fmla="*/ 5264290 w 5264290"/>
                <a:gd name="connsiteY31" fmla="*/ 744212 h 747096"/>
                <a:gd name="connsiteX32" fmla="*/ 3135498 w 5264290"/>
                <a:gd name="connsiteY32" fmla="*/ 747096 h 747096"/>
                <a:gd name="connsiteX33" fmla="*/ 2910503 w 5264290"/>
                <a:gd name="connsiteY33" fmla="*/ 747096 h 747096"/>
                <a:gd name="connsiteX34" fmla="*/ 2835505 w 5264290"/>
                <a:gd name="connsiteY34" fmla="*/ 747096 h 747096"/>
                <a:gd name="connsiteX35" fmla="*/ 2509552 w 5264290"/>
                <a:gd name="connsiteY35" fmla="*/ 741327 h 747096"/>
                <a:gd name="connsiteX36" fmla="*/ 2414362 w 5264290"/>
                <a:gd name="connsiteY36" fmla="*/ 735558 h 747096"/>
                <a:gd name="connsiteX37" fmla="*/ 2324941 w 5264290"/>
                <a:gd name="connsiteY37" fmla="*/ 729789 h 747096"/>
                <a:gd name="connsiteX38" fmla="*/ 2221098 w 5264290"/>
                <a:gd name="connsiteY38" fmla="*/ 724020 h 747096"/>
                <a:gd name="connsiteX39" fmla="*/ 2033602 w 5264290"/>
                <a:gd name="connsiteY39" fmla="*/ 706713 h 747096"/>
                <a:gd name="connsiteX40" fmla="*/ 1840338 w 5264290"/>
                <a:gd name="connsiteY40" fmla="*/ 686521 h 747096"/>
                <a:gd name="connsiteX41" fmla="*/ 1655727 w 5264290"/>
                <a:gd name="connsiteY41" fmla="*/ 669213 h 747096"/>
                <a:gd name="connsiteX42" fmla="*/ 1471116 w 5264290"/>
                <a:gd name="connsiteY42" fmla="*/ 649022 h 747096"/>
                <a:gd name="connsiteX43" fmla="*/ 1277852 w 5264290"/>
                <a:gd name="connsiteY43" fmla="*/ 631714 h 747096"/>
                <a:gd name="connsiteX44" fmla="*/ 1021128 w 5264290"/>
                <a:gd name="connsiteY44" fmla="*/ 602869 h 747096"/>
                <a:gd name="connsiteX45" fmla="*/ 496141 w 5264290"/>
                <a:gd name="connsiteY45" fmla="*/ 522102 h 747096"/>
                <a:gd name="connsiteX46" fmla="*/ 331722 w 5264290"/>
                <a:gd name="connsiteY46" fmla="*/ 496141 h 747096"/>
                <a:gd name="connsiteX47" fmla="*/ 135573 w 5264290"/>
                <a:gd name="connsiteY47" fmla="*/ 455757 h 747096"/>
                <a:gd name="connsiteX48" fmla="*/ 0 w 5264290"/>
                <a:gd name="connsiteY48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406720 w 5264290"/>
                <a:gd name="connsiteY7" fmla="*/ 242301 h 747096"/>
                <a:gd name="connsiteX8" fmla="*/ 602870 w 5264290"/>
                <a:gd name="connsiteY8" fmla="*/ 187495 h 747096"/>
                <a:gd name="connsiteX9" fmla="*/ 689405 w 5264290"/>
                <a:gd name="connsiteY9" fmla="*/ 161534 h 747096"/>
                <a:gd name="connsiteX10" fmla="*/ 761519 w 5264290"/>
                <a:gd name="connsiteY10" fmla="*/ 147111 h 747096"/>
                <a:gd name="connsiteX11" fmla="*/ 819210 w 5264290"/>
                <a:gd name="connsiteY11" fmla="*/ 138458 h 747096"/>
                <a:gd name="connsiteX12" fmla="*/ 911515 w 5264290"/>
                <a:gd name="connsiteY12" fmla="*/ 124035 h 747096"/>
                <a:gd name="connsiteX13" fmla="*/ 1003821 w 5264290"/>
                <a:gd name="connsiteY13" fmla="*/ 112497 h 747096"/>
                <a:gd name="connsiteX14" fmla="*/ 1078819 w 5264290"/>
                <a:gd name="connsiteY14" fmla="*/ 103843 h 747096"/>
                <a:gd name="connsiteX15" fmla="*/ 1145163 w 5264290"/>
                <a:gd name="connsiteY15" fmla="*/ 95189 h 747096"/>
                <a:gd name="connsiteX16" fmla="*/ 1243238 w 5264290"/>
                <a:gd name="connsiteY16" fmla="*/ 86536 h 747096"/>
                <a:gd name="connsiteX17" fmla="*/ 1375927 w 5264290"/>
                <a:gd name="connsiteY17" fmla="*/ 77882 h 747096"/>
                <a:gd name="connsiteX18" fmla="*/ 1574960 w 5264290"/>
                <a:gd name="connsiteY18" fmla="*/ 63460 h 747096"/>
                <a:gd name="connsiteX19" fmla="*/ 1794185 w 5264290"/>
                <a:gd name="connsiteY19" fmla="*/ 54806 h 747096"/>
                <a:gd name="connsiteX20" fmla="*/ 1996103 w 5264290"/>
                <a:gd name="connsiteY20" fmla="*/ 43268 h 747096"/>
                <a:gd name="connsiteX21" fmla="*/ 2172060 w 5264290"/>
                <a:gd name="connsiteY21" fmla="*/ 34614 h 747096"/>
                <a:gd name="connsiteX22" fmla="*/ 2399939 w 5264290"/>
                <a:gd name="connsiteY22" fmla="*/ 25960 h 747096"/>
                <a:gd name="connsiteX23" fmla="*/ 2723008 w 5264290"/>
                <a:gd name="connsiteY23" fmla="*/ 20191 h 747096"/>
                <a:gd name="connsiteX24" fmla="*/ 2858581 w 5264290"/>
                <a:gd name="connsiteY24" fmla="*/ 17307 h 747096"/>
                <a:gd name="connsiteX25" fmla="*/ 2985501 w 5264290"/>
                <a:gd name="connsiteY25" fmla="*/ 14422 h 747096"/>
                <a:gd name="connsiteX26" fmla="*/ 3115306 w 5264290"/>
                <a:gd name="connsiteY26" fmla="*/ 11538 h 747096"/>
                <a:gd name="connsiteX27" fmla="*/ 3294147 w 5264290"/>
                <a:gd name="connsiteY27" fmla="*/ 8653 h 747096"/>
                <a:gd name="connsiteX28" fmla="*/ 3464335 w 5264290"/>
                <a:gd name="connsiteY28" fmla="*/ 8653 h 747096"/>
                <a:gd name="connsiteX29" fmla="*/ 3680676 w 5264290"/>
                <a:gd name="connsiteY29" fmla="*/ 11537 h 747096"/>
                <a:gd name="connsiteX30" fmla="*/ 5264290 w 5264290"/>
                <a:gd name="connsiteY30" fmla="*/ 0 h 747096"/>
                <a:gd name="connsiteX31" fmla="*/ 5264290 w 5264290"/>
                <a:gd name="connsiteY31" fmla="*/ 744212 h 747096"/>
                <a:gd name="connsiteX32" fmla="*/ 3135498 w 5264290"/>
                <a:gd name="connsiteY32" fmla="*/ 747096 h 747096"/>
                <a:gd name="connsiteX33" fmla="*/ 2910503 w 5264290"/>
                <a:gd name="connsiteY33" fmla="*/ 747096 h 747096"/>
                <a:gd name="connsiteX34" fmla="*/ 2835505 w 5264290"/>
                <a:gd name="connsiteY34" fmla="*/ 747096 h 747096"/>
                <a:gd name="connsiteX35" fmla="*/ 2509552 w 5264290"/>
                <a:gd name="connsiteY35" fmla="*/ 741327 h 747096"/>
                <a:gd name="connsiteX36" fmla="*/ 2414362 w 5264290"/>
                <a:gd name="connsiteY36" fmla="*/ 735558 h 747096"/>
                <a:gd name="connsiteX37" fmla="*/ 2324941 w 5264290"/>
                <a:gd name="connsiteY37" fmla="*/ 729789 h 747096"/>
                <a:gd name="connsiteX38" fmla="*/ 2221098 w 5264290"/>
                <a:gd name="connsiteY38" fmla="*/ 724020 h 747096"/>
                <a:gd name="connsiteX39" fmla="*/ 2033602 w 5264290"/>
                <a:gd name="connsiteY39" fmla="*/ 706713 h 747096"/>
                <a:gd name="connsiteX40" fmla="*/ 1840338 w 5264290"/>
                <a:gd name="connsiteY40" fmla="*/ 686521 h 747096"/>
                <a:gd name="connsiteX41" fmla="*/ 1655727 w 5264290"/>
                <a:gd name="connsiteY41" fmla="*/ 669213 h 747096"/>
                <a:gd name="connsiteX42" fmla="*/ 1471116 w 5264290"/>
                <a:gd name="connsiteY42" fmla="*/ 649022 h 747096"/>
                <a:gd name="connsiteX43" fmla="*/ 1277852 w 5264290"/>
                <a:gd name="connsiteY43" fmla="*/ 631714 h 747096"/>
                <a:gd name="connsiteX44" fmla="*/ 1021128 w 5264290"/>
                <a:gd name="connsiteY44" fmla="*/ 602869 h 747096"/>
                <a:gd name="connsiteX45" fmla="*/ 496141 w 5264290"/>
                <a:gd name="connsiteY45" fmla="*/ 522102 h 747096"/>
                <a:gd name="connsiteX46" fmla="*/ 331722 w 5264290"/>
                <a:gd name="connsiteY46" fmla="*/ 496141 h 747096"/>
                <a:gd name="connsiteX47" fmla="*/ 135573 w 5264290"/>
                <a:gd name="connsiteY47" fmla="*/ 455757 h 747096"/>
                <a:gd name="connsiteX48" fmla="*/ 0 w 5264290"/>
                <a:gd name="connsiteY48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406720 w 5264290"/>
                <a:gd name="connsiteY7" fmla="*/ 242301 h 747096"/>
                <a:gd name="connsiteX8" fmla="*/ 602870 w 5264290"/>
                <a:gd name="connsiteY8" fmla="*/ 187495 h 747096"/>
                <a:gd name="connsiteX9" fmla="*/ 689405 w 5264290"/>
                <a:gd name="connsiteY9" fmla="*/ 161534 h 747096"/>
                <a:gd name="connsiteX10" fmla="*/ 761519 w 5264290"/>
                <a:gd name="connsiteY10" fmla="*/ 147111 h 747096"/>
                <a:gd name="connsiteX11" fmla="*/ 819210 w 5264290"/>
                <a:gd name="connsiteY11" fmla="*/ 138458 h 747096"/>
                <a:gd name="connsiteX12" fmla="*/ 911515 w 5264290"/>
                <a:gd name="connsiteY12" fmla="*/ 124035 h 747096"/>
                <a:gd name="connsiteX13" fmla="*/ 1003821 w 5264290"/>
                <a:gd name="connsiteY13" fmla="*/ 112497 h 747096"/>
                <a:gd name="connsiteX14" fmla="*/ 1078819 w 5264290"/>
                <a:gd name="connsiteY14" fmla="*/ 103843 h 747096"/>
                <a:gd name="connsiteX15" fmla="*/ 1145163 w 5264290"/>
                <a:gd name="connsiteY15" fmla="*/ 95189 h 747096"/>
                <a:gd name="connsiteX16" fmla="*/ 1243238 w 5264290"/>
                <a:gd name="connsiteY16" fmla="*/ 86536 h 747096"/>
                <a:gd name="connsiteX17" fmla="*/ 1375927 w 5264290"/>
                <a:gd name="connsiteY17" fmla="*/ 77882 h 747096"/>
                <a:gd name="connsiteX18" fmla="*/ 1574960 w 5264290"/>
                <a:gd name="connsiteY18" fmla="*/ 63460 h 747096"/>
                <a:gd name="connsiteX19" fmla="*/ 1794185 w 5264290"/>
                <a:gd name="connsiteY19" fmla="*/ 54806 h 747096"/>
                <a:gd name="connsiteX20" fmla="*/ 1996103 w 5264290"/>
                <a:gd name="connsiteY20" fmla="*/ 43268 h 747096"/>
                <a:gd name="connsiteX21" fmla="*/ 2172060 w 5264290"/>
                <a:gd name="connsiteY21" fmla="*/ 34614 h 747096"/>
                <a:gd name="connsiteX22" fmla="*/ 2399939 w 5264290"/>
                <a:gd name="connsiteY22" fmla="*/ 25960 h 747096"/>
                <a:gd name="connsiteX23" fmla="*/ 2723008 w 5264290"/>
                <a:gd name="connsiteY23" fmla="*/ 20191 h 747096"/>
                <a:gd name="connsiteX24" fmla="*/ 2858581 w 5264290"/>
                <a:gd name="connsiteY24" fmla="*/ 17307 h 747096"/>
                <a:gd name="connsiteX25" fmla="*/ 2985501 w 5264290"/>
                <a:gd name="connsiteY25" fmla="*/ 14422 h 747096"/>
                <a:gd name="connsiteX26" fmla="*/ 3115306 w 5264290"/>
                <a:gd name="connsiteY26" fmla="*/ 11538 h 747096"/>
                <a:gd name="connsiteX27" fmla="*/ 3294147 w 5264290"/>
                <a:gd name="connsiteY27" fmla="*/ 8653 h 747096"/>
                <a:gd name="connsiteX28" fmla="*/ 3464335 w 5264290"/>
                <a:gd name="connsiteY28" fmla="*/ 8653 h 747096"/>
                <a:gd name="connsiteX29" fmla="*/ 3680676 w 5264290"/>
                <a:gd name="connsiteY29" fmla="*/ 11537 h 747096"/>
                <a:gd name="connsiteX30" fmla="*/ 5264290 w 5264290"/>
                <a:gd name="connsiteY30" fmla="*/ 0 h 747096"/>
                <a:gd name="connsiteX31" fmla="*/ 5264290 w 5264290"/>
                <a:gd name="connsiteY31" fmla="*/ 744212 h 747096"/>
                <a:gd name="connsiteX32" fmla="*/ 3135498 w 5264290"/>
                <a:gd name="connsiteY32" fmla="*/ 747096 h 747096"/>
                <a:gd name="connsiteX33" fmla="*/ 2910503 w 5264290"/>
                <a:gd name="connsiteY33" fmla="*/ 747096 h 747096"/>
                <a:gd name="connsiteX34" fmla="*/ 2835505 w 5264290"/>
                <a:gd name="connsiteY34" fmla="*/ 747096 h 747096"/>
                <a:gd name="connsiteX35" fmla="*/ 2509552 w 5264290"/>
                <a:gd name="connsiteY35" fmla="*/ 741327 h 747096"/>
                <a:gd name="connsiteX36" fmla="*/ 2414362 w 5264290"/>
                <a:gd name="connsiteY36" fmla="*/ 735558 h 747096"/>
                <a:gd name="connsiteX37" fmla="*/ 2324941 w 5264290"/>
                <a:gd name="connsiteY37" fmla="*/ 729789 h 747096"/>
                <a:gd name="connsiteX38" fmla="*/ 2221098 w 5264290"/>
                <a:gd name="connsiteY38" fmla="*/ 724020 h 747096"/>
                <a:gd name="connsiteX39" fmla="*/ 2033602 w 5264290"/>
                <a:gd name="connsiteY39" fmla="*/ 706713 h 747096"/>
                <a:gd name="connsiteX40" fmla="*/ 1840338 w 5264290"/>
                <a:gd name="connsiteY40" fmla="*/ 686521 h 747096"/>
                <a:gd name="connsiteX41" fmla="*/ 1655727 w 5264290"/>
                <a:gd name="connsiteY41" fmla="*/ 669213 h 747096"/>
                <a:gd name="connsiteX42" fmla="*/ 1471116 w 5264290"/>
                <a:gd name="connsiteY42" fmla="*/ 649022 h 747096"/>
                <a:gd name="connsiteX43" fmla="*/ 1277852 w 5264290"/>
                <a:gd name="connsiteY43" fmla="*/ 631714 h 747096"/>
                <a:gd name="connsiteX44" fmla="*/ 1021128 w 5264290"/>
                <a:gd name="connsiteY44" fmla="*/ 602869 h 747096"/>
                <a:gd name="connsiteX45" fmla="*/ 496141 w 5264290"/>
                <a:gd name="connsiteY45" fmla="*/ 522102 h 747096"/>
                <a:gd name="connsiteX46" fmla="*/ 331722 w 5264290"/>
                <a:gd name="connsiteY46" fmla="*/ 496141 h 747096"/>
                <a:gd name="connsiteX47" fmla="*/ 135573 w 5264290"/>
                <a:gd name="connsiteY47" fmla="*/ 455757 h 747096"/>
                <a:gd name="connsiteX48" fmla="*/ 0 w 5264290"/>
                <a:gd name="connsiteY48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406720 w 5264290"/>
                <a:gd name="connsiteY7" fmla="*/ 242301 h 747096"/>
                <a:gd name="connsiteX8" fmla="*/ 602870 w 5264290"/>
                <a:gd name="connsiteY8" fmla="*/ 187495 h 747096"/>
                <a:gd name="connsiteX9" fmla="*/ 689405 w 5264290"/>
                <a:gd name="connsiteY9" fmla="*/ 161534 h 747096"/>
                <a:gd name="connsiteX10" fmla="*/ 761519 w 5264290"/>
                <a:gd name="connsiteY10" fmla="*/ 147111 h 747096"/>
                <a:gd name="connsiteX11" fmla="*/ 819210 w 5264290"/>
                <a:gd name="connsiteY11" fmla="*/ 138458 h 747096"/>
                <a:gd name="connsiteX12" fmla="*/ 911515 w 5264290"/>
                <a:gd name="connsiteY12" fmla="*/ 124035 h 747096"/>
                <a:gd name="connsiteX13" fmla="*/ 1003821 w 5264290"/>
                <a:gd name="connsiteY13" fmla="*/ 112497 h 747096"/>
                <a:gd name="connsiteX14" fmla="*/ 1078819 w 5264290"/>
                <a:gd name="connsiteY14" fmla="*/ 103843 h 747096"/>
                <a:gd name="connsiteX15" fmla="*/ 1145163 w 5264290"/>
                <a:gd name="connsiteY15" fmla="*/ 95189 h 747096"/>
                <a:gd name="connsiteX16" fmla="*/ 1243238 w 5264290"/>
                <a:gd name="connsiteY16" fmla="*/ 86536 h 747096"/>
                <a:gd name="connsiteX17" fmla="*/ 1375927 w 5264290"/>
                <a:gd name="connsiteY17" fmla="*/ 77882 h 747096"/>
                <a:gd name="connsiteX18" fmla="*/ 1574960 w 5264290"/>
                <a:gd name="connsiteY18" fmla="*/ 63460 h 747096"/>
                <a:gd name="connsiteX19" fmla="*/ 1794185 w 5264290"/>
                <a:gd name="connsiteY19" fmla="*/ 54806 h 747096"/>
                <a:gd name="connsiteX20" fmla="*/ 1996103 w 5264290"/>
                <a:gd name="connsiteY20" fmla="*/ 43268 h 747096"/>
                <a:gd name="connsiteX21" fmla="*/ 2172060 w 5264290"/>
                <a:gd name="connsiteY21" fmla="*/ 34614 h 747096"/>
                <a:gd name="connsiteX22" fmla="*/ 2399939 w 5264290"/>
                <a:gd name="connsiteY22" fmla="*/ 25960 h 747096"/>
                <a:gd name="connsiteX23" fmla="*/ 2723008 w 5264290"/>
                <a:gd name="connsiteY23" fmla="*/ 20191 h 747096"/>
                <a:gd name="connsiteX24" fmla="*/ 2858581 w 5264290"/>
                <a:gd name="connsiteY24" fmla="*/ 17307 h 747096"/>
                <a:gd name="connsiteX25" fmla="*/ 2985501 w 5264290"/>
                <a:gd name="connsiteY25" fmla="*/ 14422 h 747096"/>
                <a:gd name="connsiteX26" fmla="*/ 3115306 w 5264290"/>
                <a:gd name="connsiteY26" fmla="*/ 11538 h 747096"/>
                <a:gd name="connsiteX27" fmla="*/ 3294147 w 5264290"/>
                <a:gd name="connsiteY27" fmla="*/ 8653 h 747096"/>
                <a:gd name="connsiteX28" fmla="*/ 3464335 w 5264290"/>
                <a:gd name="connsiteY28" fmla="*/ 8653 h 747096"/>
                <a:gd name="connsiteX29" fmla="*/ 3680676 w 5264290"/>
                <a:gd name="connsiteY29" fmla="*/ 11537 h 747096"/>
                <a:gd name="connsiteX30" fmla="*/ 5264290 w 5264290"/>
                <a:gd name="connsiteY30" fmla="*/ 0 h 747096"/>
                <a:gd name="connsiteX31" fmla="*/ 5264290 w 5264290"/>
                <a:gd name="connsiteY31" fmla="*/ 744212 h 747096"/>
                <a:gd name="connsiteX32" fmla="*/ 3135498 w 5264290"/>
                <a:gd name="connsiteY32" fmla="*/ 747096 h 747096"/>
                <a:gd name="connsiteX33" fmla="*/ 2910503 w 5264290"/>
                <a:gd name="connsiteY33" fmla="*/ 747096 h 747096"/>
                <a:gd name="connsiteX34" fmla="*/ 2835505 w 5264290"/>
                <a:gd name="connsiteY34" fmla="*/ 747096 h 747096"/>
                <a:gd name="connsiteX35" fmla="*/ 2509552 w 5264290"/>
                <a:gd name="connsiteY35" fmla="*/ 741327 h 747096"/>
                <a:gd name="connsiteX36" fmla="*/ 2414362 w 5264290"/>
                <a:gd name="connsiteY36" fmla="*/ 735558 h 747096"/>
                <a:gd name="connsiteX37" fmla="*/ 2324941 w 5264290"/>
                <a:gd name="connsiteY37" fmla="*/ 729789 h 747096"/>
                <a:gd name="connsiteX38" fmla="*/ 2221098 w 5264290"/>
                <a:gd name="connsiteY38" fmla="*/ 724020 h 747096"/>
                <a:gd name="connsiteX39" fmla="*/ 2033602 w 5264290"/>
                <a:gd name="connsiteY39" fmla="*/ 706713 h 747096"/>
                <a:gd name="connsiteX40" fmla="*/ 1840338 w 5264290"/>
                <a:gd name="connsiteY40" fmla="*/ 686521 h 747096"/>
                <a:gd name="connsiteX41" fmla="*/ 1655727 w 5264290"/>
                <a:gd name="connsiteY41" fmla="*/ 669213 h 747096"/>
                <a:gd name="connsiteX42" fmla="*/ 1471116 w 5264290"/>
                <a:gd name="connsiteY42" fmla="*/ 649022 h 747096"/>
                <a:gd name="connsiteX43" fmla="*/ 1277852 w 5264290"/>
                <a:gd name="connsiteY43" fmla="*/ 631714 h 747096"/>
                <a:gd name="connsiteX44" fmla="*/ 1021128 w 5264290"/>
                <a:gd name="connsiteY44" fmla="*/ 602869 h 747096"/>
                <a:gd name="connsiteX45" fmla="*/ 496141 w 5264290"/>
                <a:gd name="connsiteY45" fmla="*/ 522102 h 747096"/>
                <a:gd name="connsiteX46" fmla="*/ 331722 w 5264290"/>
                <a:gd name="connsiteY46" fmla="*/ 496141 h 747096"/>
                <a:gd name="connsiteX47" fmla="*/ 135573 w 5264290"/>
                <a:gd name="connsiteY47" fmla="*/ 455757 h 747096"/>
                <a:gd name="connsiteX48" fmla="*/ 0 w 5264290"/>
                <a:gd name="connsiteY48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406720 w 5264290"/>
                <a:gd name="connsiteY7" fmla="*/ 242301 h 747096"/>
                <a:gd name="connsiteX8" fmla="*/ 602870 w 5264290"/>
                <a:gd name="connsiteY8" fmla="*/ 181726 h 747096"/>
                <a:gd name="connsiteX9" fmla="*/ 689405 w 5264290"/>
                <a:gd name="connsiteY9" fmla="*/ 161534 h 747096"/>
                <a:gd name="connsiteX10" fmla="*/ 761519 w 5264290"/>
                <a:gd name="connsiteY10" fmla="*/ 147111 h 747096"/>
                <a:gd name="connsiteX11" fmla="*/ 819210 w 5264290"/>
                <a:gd name="connsiteY11" fmla="*/ 138458 h 747096"/>
                <a:gd name="connsiteX12" fmla="*/ 911515 w 5264290"/>
                <a:gd name="connsiteY12" fmla="*/ 124035 h 747096"/>
                <a:gd name="connsiteX13" fmla="*/ 1003821 w 5264290"/>
                <a:gd name="connsiteY13" fmla="*/ 112497 h 747096"/>
                <a:gd name="connsiteX14" fmla="*/ 1078819 w 5264290"/>
                <a:gd name="connsiteY14" fmla="*/ 103843 h 747096"/>
                <a:gd name="connsiteX15" fmla="*/ 1145163 w 5264290"/>
                <a:gd name="connsiteY15" fmla="*/ 95189 h 747096"/>
                <a:gd name="connsiteX16" fmla="*/ 1243238 w 5264290"/>
                <a:gd name="connsiteY16" fmla="*/ 86536 h 747096"/>
                <a:gd name="connsiteX17" fmla="*/ 1375927 w 5264290"/>
                <a:gd name="connsiteY17" fmla="*/ 77882 h 747096"/>
                <a:gd name="connsiteX18" fmla="*/ 1574960 w 5264290"/>
                <a:gd name="connsiteY18" fmla="*/ 63460 h 747096"/>
                <a:gd name="connsiteX19" fmla="*/ 1794185 w 5264290"/>
                <a:gd name="connsiteY19" fmla="*/ 54806 h 747096"/>
                <a:gd name="connsiteX20" fmla="*/ 1996103 w 5264290"/>
                <a:gd name="connsiteY20" fmla="*/ 43268 h 747096"/>
                <a:gd name="connsiteX21" fmla="*/ 2172060 w 5264290"/>
                <a:gd name="connsiteY21" fmla="*/ 34614 h 747096"/>
                <a:gd name="connsiteX22" fmla="*/ 2399939 w 5264290"/>
                <a:gd name="connsiteY22" fmla="*/ 25960 h 747096"/>
                <a:gd name="connsiteX23" fmla="*/ 2723008 w 5264290"/>
                <a:gd name="connsiteY23" fmla="*/ 20191 h 747096"/>
                <a:gd name="connsiteX24" fmla="*/ 2858581 w 5264290"/>
                <a:gd name="connsiteY24" fmla="*/ 17307 h 747096"/>
                <a:gd name="connsiteX25" fmla="*/ 2985501 w 5264290"/>
                <a:gd name="connsiteY25" fmla="*/ 14422 h 747096"/>
                <a:gd name="connsiteX26" fmla="*/ 3115306 w 5264290"/>
                <a:gd name="connsiteY26" fmla="*/ 11538 h 747096"/>
                <a:gd name="connsiteX27" fmla="*/ 3294147 w 5264290"/>
                <a:gd name="connsiteY27" fmla="*/ 8653 h 747096"/>
                <a:gd name="connsiteX28" fmla="*/ 3464335 w 5264290"/>
                <a:gd name="connsiteY28" fmla="*/ 8653 h 747096"/>
                <a:gd name="connsiteX29" fmla="*/ 3680676 w 5264290"/>
                <a:gd name="connsiteY29" fmla="*/ 11537 h 747096"/>
                <a:gd name="connsiteX30" fmla="*/ 5264290 w 5264290"/>
                <a:gd name="connsiteY30" fmla="*/ 0 h 747096"/>
                <a:gd name="connsiteX31" fmla="*/ 5264290 w 5264290"/>
                <a:gd name="connsiteY31" fmla="*/ 744212 h 747096"/>
                <a:gd name="connsiteX32" fmla="*/ 3135498 w 5264290"/>
                <a:gd name="connsiteY32" fmla="*/ 747096 h 747096"/>
                <a:gd name="connsiteX33" fmla="*/ 2910503 w 5264290"/>
                <a:gd name="connsiteY33" fmla="*/ 747096 h 747096"/>
                <a:gd name="connsiteX34" fmla="*/ 2835505 w 5264290"/>
                <a:gd name="connsiteY34" fmla="*/ 747096 h 747096"/>
                <a:gd name="connsiteX35" fmla="*/ 2509552 w 5264290"/>
                <a:gd name="connsiteY35" fmla="*/ 741327 h 747096"/>
                <a:gd name="connsiteX36" fmla="*/ 2414362 w 5264290"/>
                <a:gd name="connsiteY36" fmla="*/ 735558 h 747096"/>
                <a:gd name="connsiteX37" fmla="*/ 2324941 w 5264290"/>
                <a:gd name="connsiteY37" fmla="*/ 729789 h 747096"/>
                <a:gd name="connsiteX38" fmla="*/ 2221098 w 5264290"/>
                <a:gd name="connsiteY38" fmla="*/ 724020 h 747096"/>
                <a:gd name="connsiteX39" fmla="*/ 2033602 w 5264290"/>
                <a:gd name="connsiteY39" fmla="*/ 706713 h 747096"/>
                <a:gd name="connsiteX40" fmla="*/ 1840338 w 5264290"/>
                <a:gd name="connsiteY40" fmla="*/ 686521 h 747096"/>
                <a:gd name="connsiteX41" fmla="*/ 1655727 w 5264290"/>
                <a:gd name="connsiteY41" fmla="*/ 669213 h 747096"/>
                <a:gd name="connsiteX42" fmla="*/ 1471116 w 5264290"/>
                <a:gd name="connsiteY42" fmla="*/ 649022 h 747096"/>
                <a:gd name="connsiteX43" fmla="*/ 1277852 w 5264290"/>
                <a:gd name="connsiteY43" fmla="*/ 631714 h 747096"/>
                <a:gd name="connsiteX44" fmla="*/ 1021128 w 5264290"/>
                <a:gd name="connsiteY44" fmla="*/ 602869 h 747096"/>
                <a:gd name="connsiteX45" fmla="*/ 496141 w 5264290"/>
                <a:gd name="connsiteY45" fmla="*/ 522102 h 747096"/>
                <a:gd name="connsiteX46" fmla="*/ 331722 w 5264290"/>
                <a:gd name="connsiteY46" fmla="*/ 496141 h 747096"/>
                <a:gd name="connsiteX47" fmla="*/ 135573 w 5264290"/>
                <a:gd name="connsiteY47" fmla="*/ 455757 h 747096"/>
                <a:gd name="connsiteX48" fmla="*/ 0 w 5264290"/>
                <a:gd name="connsiteY48" fmla="*/ 42114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8630 w 5306200"/>
                <a:gd name="connsiteY7" fmla="*/ 242301 h 747096"/>
                <a:gd name="connsiteX8" fmla="*/ 644780 w 5306200"/>
                <a:gd name="connsiteY8" fmla="*/ 181726 h 747096"/>
                <a:gd name="connsiteX9" fmla="*/ 731315 w 5306200"/>
                <a:gd name="connsiteY9" fmla="*/ 161534 h 747096"/>
                <a:gd name="connsiteX10" fmla="*/ 803429 w 5306200"/>
                <a:gd name="connsiteY10" fmla="*/ 147111 h 747096"/>
                <a:gd name="connsiteX11" fmla="*/ 861120 w 5306200"/>
                <a:gd name="connsiteY11" fmla="*/ 138458 h 747096"/>
                <a:gd name="connsiteX12" fmla="*/ 953425 w 5306200"/>
                <a:gd name="connsiteY12" fmla="*/ 124035 h 747096"/>
                <a:gd name="connsiteX13" fmla="*/ 1045731 w 5306200"/>
                <a:gd name="connsiteY13" fmla="*/ 112497 h 747096"/>
                <a:gd name="connsiteX14" fmla="*/ 1120729 w 5306200"/>
                <a:gd name="connsiteY14" fmla="*/ 103843 h 747096"/>
                <a:gd name="connsiteX15" fmla="*/ 1187073 w 5306200"/>
                <a:gd name="connsiteY15" fmla="*/ 95189 h 747096"/>
                <a:gd name="connsiteX16" fmla="*/ 1285148 w 5306200"/>
                <a:gd name="connsiteY16" fmla="*/ 86536 h 747096"/>
                <a:gd name="connsiteX17" fmla="*/ 1417837 w 5306200"/>
                <a:gd name="connsiteY17" fmla="*/ 77882 h 747096"/>
                <a:gd name="connsiteX18" fmla="*/ 1616870 w 5306200"/>
                <a:gd name="connsiteY18" fmla="*/ 63460 h 747096"/>
                <a:gd name="connsiteX19" fmla="*/ 1836095 w 5306200"/>
                <a:gd name="connsiteY19" fmla="*/ 54806 h 747096"/>
                <a:gd name="connsiteX20" fmla="*/ 2038013 w 5306200"/>
                <a:gd name="connsiteY20" fmla="*/ 43268 h 747096"/>
                <a:gd name="connsiteX21" fmla="*/ 2213970 w 5306200"/>
                <a:gd name="connsiteY21" fmla="*/ 34614 h 747096"/>
                <a:gd name="connsiteX22" fmla="*/ 2441849 w 5306200"/>
                <a:gd name="connsiteY22" fmla="*/ 25960 h 747096"/>
                <a:gd name="connsiteX23" fmla="*/ 2764918 w 5306200"/>
                <a:gd name="connsiteY23" fmla="*/ 20191 h 747096"/>
                <a:gd name="connsiteX24" fmla="*/ 2900491 w 5306200"/>
                <a:gd name="connsiteY24" fmla="*/ 17307 h 747096"/>
                <a:gd name="connsiteX25" fmla="*/ 3027411 w 5306200"/>
                <a:gd name="connsiteY25" fmla="*/ 14422 h 747096"/>
                <a:gd name="connsiteX26" fmla="*/ 3157216 w 5306200"/>
                <a:gd name="connsiteY26" fmla="*/ 11538 h 747096"/>
                <a:gd name="connsiteX27" fmla="*/ 3336057 w 5306200"/>
                <a:gd name="connsiteY27" fmla="*/ 8653 h 747096"/>
                <a:gd name="connsiteX28" fmla="*/ 3506245 w 5306200"/>
                <a:gd name="connsiteY28" fmla="*/ 8653 h 747096"/>
                <a:gd name="connsiteX29" fmla="*/ 3722586 w 5306200"/>
                <a:gd name="connsiteY29" fmla="*/ 11537 h 747096"/>
                <a:gd name="connsiteX30" fmla="*/ 5306200 w 5306200"/>
                <a:gd name="connsiteY30" fmla="*/ 0 h 747096"/>
                <a:gd name="connsiteX31" fmla="*/ 5306200 w 5306200"/>
                <a:gd name="connsiteY31" fmla="*/ 744212 h 747096"/>
                <a:gd name="connsiteX32" fmla="*/ 3177408 w 5306200"/>
                <a:gd name="connsiteY32" fmla="*/ 747096 h 747096"/>
                <a:gd name="connsiteX33" fmla="*/ 2952413 w 5306200"/>
                <a:gd name="connsiteY33" fmla="*/ 747096 h 747096"/>
                <a:gd name="connsiteX34" fmla="*/ 2877415 w 5306200"/>
                <a:gd name="connsiteY34" fmla="*/ 747096 h 747096"/>
                <a:gd name="connsiteX35" fmla="*/ 2551462 w 5306200"/>
                <a:gd name="connsiteY35" fmla="*/ 741327 h 747096"/>
                <a:gd name="connsiteX36" fmla="*/ 2456272 w 5306200"/>
                <a:gd name="connsiteY36" fmla="*/ 735558 h 747096"/>
                <a:gd name="connsiteX37" fmla="*/ 2366851 w 5306200"/>
                <a:gd name="connsiteY37" fmla="*/ 729789 h 747096"/>
                <a:gd name="connsiteX38" fmla="*/ 2263008 w 5306200"/>
                <a:gd name="connsiteY38" fmla="*/ 724020 h 747096"/>
                <a:gd name="connsiteX39" fmla="*/ 2075512 w 5306200"/>
                <a:gd name="connsiteY39" fmla="*/ 706713 h 747096"/>
                <a:gd name="connsiteX40" fmla="*/ 1882248 w 5306200"/>
                <a:gd name="connsiteY40" fmla="*/ 686521 h 747096"/>
                <a:gd name="connsiteX41" fmla="*/ 1697637 w 5306200"/>
                <a:gd name="connsiteY41" fmla="*/ 669213 h 747096"/>
                <a:gd name="connsiteX42" fmla="*/ 1513026 w 5306200"/>
                <a:gd name="connsiteY42" fmla="*/ 649022 h 747096"/>
                <a:gd name="connsiteX43" fmla="*/ 1319762 w 5306200"/>
                <a:gd name="connsiteY43" fmla="*/ 631714 h 747096"/>
                <a:gd name="connsiteX44" fmla="*/ 1063038 w 5306200"/>
                <a:gd name="connsiteY44" fmla="*/ 602869 h 747096"/>
                <a:gd name="connsiteX45" fmla="*/ 538051 w 5306200"/>
                <a:gd name="connsiteY45" fmla="*/ 522102 h 747096"/>
                <a:gd name="connsiteX46" fmla="*/ 373632 w 5306200"/>
                <a:gd name="connsiteY46" fmla="*/ 496141 h 747096"/>
                <a:gd name="connsiteX47" fmla="*/ 177483 w 5306200"/>
                <a:gd name="connsiteY47" fmla="*/ 455757 h 747096"/>
                <a:gd name="connsiteX48" fmla="*/ 0 w 5306200"/>
                <a:gd name="connsiteY4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8630 w 5306200"/>
                <a:gd name="connsiteY7" fmla="*/ 242301 h 747096"/>
                <a:gd name="connsiteX8" fmla="*/ 644780 w 5306200"/>
                <a:gd name="connsiteY8" fmla="*/ 181726 h 747096"/>
                <a:gd name="connsiteX9" fmla="*/ 731315 w 5306200"/>
                <a:gd name="connsiteY9" fmla="*/ 161534 h 747096"/>
                <a:gd name="connsiteX10" fmla="*/ 803429 w 5306200"/>
                <a:gd name="connsiteY10" fmla="*/ 147111 h 747096"/>
                <a:gd name="connsiteX11" fmla="*/ 861120 w 5306200"/>
                <a:gd name="connsiteY11" fmla="*/ 138458 h 747096"/>
                <a:gd name="connsiteX12" fmla="*/ 953425 w 5306200"/>
                <a:gd name="connsiteY12" fmla="*/ 124035 h 747096"/>
                <a:gd name="connsiteX13" fmla="*/ 1045731 w 5306200"/>
                <a:gd name="connsiteY13" fmla="*/ 112497 h 747096"/>
                <a:gd name="connsiteX14" fmla="*/ 1120729 w 5306200"/>
                <a:gd name="connsiteY14" fmla="*/ 103843 h 747096"/>
                <a:gd name="connsiteX15" fmla="*/ 1187073 w 5306200"/>
                <a:gd name="connsiteY15" fmla="*/ 95189 h 747096"/>
                <a:gd name="connsiteX16" fmla="*/ 1285148 w 5306200"/>
                <a:gd name="connsiteY16" fmla="*/ 86536 h 747096"/>
                <a:gd name="connsiteX17" fmla="*/ 1417837 w 5306200"/>
                <a:gd name="connsiteY17" fmla="*/ 77882 h 747096"/>
                <a:gd name="connsiteX18" fmla="*/ 1616870 w 5306200"/>
                <a:gd name="connsiteY18" fmla="*/ 63460 h 747096"/>
                <a:gd name="connsiteX19" fmla="*/ 1836095 w 5306200"/>
                <a:gd name="connsiteY19" fmla="*/ 54806 h 747096"/>
                <a:gd name="connsiteX20" fmla="*/ 2038013 w 5306200"/>
                <a:gd name="connsiteY20" fmla="*/ 43268 h 747096"/>
                <a:gd name="connsiteX21" fmla="*/ 2213970 w 5306200"/>
                <a:gd name="connsiteY21" fmla="*/ 34614 h 747096"/>
                <a:gd name="connsiteX22" fmla="*/ 2441849 w 5306200"/>
                <a:gd name="connsiteY22" fmla="*/ 25960 h 747096"/>
                <a:gd name="connsiteX23" fmla="*/ 2764918 w 5306200"/>
                <a:gd name="connsiteY23" fmla="*/ 20191 h 747096"/>
                <a:gd name="connsiteX24" fmla="*/ 2900491 w 5306200"/>
                <a:gd name="connsiteY24" fmla="*/ 17307 h 747096"/>
                <a:gd name="connsiteX25" fmla="*/ 3027411 w 5306200"/>
                <a:gd name="connsiteY25" fmla="*/ 14422 h 747096"/>
                <a:gd name="connsiteX26" fmla="*/ 3157216 w 5306200"/>
                <a:gd name="connsiteY26" fmla="*/ 11538 h 747096"/>
                <a:gd name="connsiteX27" fmla="*/ 3336057 w 5306200"/>
                <a:gd name="connsiteY27" fmla="*/ 8653 h 747096"/>
                <a:gd name="connsiteX28" fmla="*/ 3506245 w 5306200"/>
                <a:gd name="connsiteY28" fmla="*/ 8653 h 747096"/>
                <a:gd name="connsiteX29" fmla="*/ 3722586 w 5306200"/>
                <a:gd name="connsiteY29" fmla="*/ 11537 h 747096"/>
                <a:gd name="connsiteX30" fmla="*/ 5306200 w 5306200"/>
                <a:gd name="connsiteY30" fmla="*/ 0 h 747096"/>
                <a:gd name="connsiteX31" fmla="*/ 5306200 w 5306200"/>
                <a:gd name="connsiteY31" fmla="*/ 744212 h 747096"/>
                <a:gd name="connsiteX32" fmla="*/ 3177408 w 5306200"/>
                <a:gd name="connsiteY32" fmla="*/ 747096 h 747096"/>
                <a:gd name="connsiteX33" fmla="*/ 2952413 w 5306200"/>
                <a:gd name="connsiteY33" fmla="*/ 747096 h 747096"/>
                <a:gd name="connsiteX34" fmla="*/ 2877415 w 5306200"/>
                <a:gd name="connsiteY34" fmla="*/ 747096 h 747096"/>
                <a:gd name="connsiteX35" fmla="*/ 2551462 w 5306200"/>
                <a:gd name="connsiteY35" fmla="*/ 741327 h 747096"/>
                <a:gd name="connsiteX36" fmla="*/ 2456272 w 5306200"/>
                <a:gd name="connsiteY36" fmla="*/ 735558 h 747096"/>
                <a:gd name="connsiteX37" fmla="*/ 2366851 w 5306200"/>
                <a:gd name="connsiteY37" fmla="*/ 729789 h 747096"/>
                <a:gd name="connsiteX38" fmla="*/ 2263008 w 5306200"/>
                <a:gd name="connsiteY38" fmla="*/ 724020 h 747096"/>
                <a:gd name="connsiteX39" fmla="*/ 2075512 w 5306200"/>
                <a:gd name="connsiteY39" fmla="*/ 706713 h 747096"/>
                <a:gd name="connsiteX40" fmla="*/ 1882248 w 5306200"/>
                <a:gd name="connsiteY40" fmla="*/ 686521 h 747096"/>
                <a:gd name="connsiteX41" fmla="*/ 1697637 w 5306200"/>
                <a:gd name="connsiteY41" fmla="*/ 669213 h 747096"/>
                <a:gd name="connsiteX42" fmla="*/ 1513026 w 5306200"/>
                <a:gd name="connsiteY42" fmla="*/ 649022 h 747096"/>
                <a:gd name="connsiteX43" fmla="*/ 1319762 w 5306200"/>
                <a:gd name="connsiteY43" fmla="*/ 631714 h 747096"/>
                <a:gd name="connsiteX44" fmla="*/ 1063038 w 5306200"/>
                <a:gd name="connsiteY44" fmla="*/ 602869 h 747096"/>
                <a:gd name="connsiteX45" fmla="*/ 538051 w 5306200"/>
                <a:gd name="connsiteY45" fmla="*/ 522102 h 747096"/>
                <a:gd name="connsiteX46" fmla="*/ 373632 w 5306200"/>
                <a:gd name="connsiteY46" fmla="*/ 496141 h 747096"/>
                <a:gd name="connsiteX47" fmla="*/ 188913 w 5306200"/>
                <a:gd name="connsiteY47" fmla="*/ 459567 h 747096"/>
                <a:gd name="connsiteX48" fmla="*/ 0 w 5306200"/>
                <a:gd name="connsiteY4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8630 w 5306200"/>
                <a:gd name="connsiteY7" fmla="*/ 242301 h 747096"/>
                <a:gd name="connsiteX8" fmla="*/ 644780 w 5306200"/>
                <a:gd name="connsiteY8" fmla="*/ 181726 h 747096"/>
                <a:gd name="connsiteX9" fmla="*/ 731315 w 5306200"/>
                <a:gd name="connsiteY9" fmla="*/ 161534 h 747096"/>
                <a:gd name="connsiteX10" fmla="*/ 803429 w 5306200"/>
                <a:gd name="connsiteY10" fmla="*/ 147111 h 747096"/>
                <a:gd name="connsiteX11" fmla="*/ 861120 w 5306200"/>
                <a:gd name="connsiteY11" fmla="*/ 138458 h 747096"/>
                <a:gd name="connsiteX12" fmla="*/ 953425 w 5306200"/>
                <a:gd name="connsiteY12" fmla="*/ 124035 h 747096"/>
                <a:gd name="connsiteX13" fmla="*/ 1045731 w 5306200"/>
                <a:gd name="connsiteY13" fmla="*/ 112497 h 747096"/>
                <a:gd name="connsiteX14" fmla="*/ 1120729 w 5306200"/>
                <a:gd name="connsiteY14" fmla="*/ 103843 h 747096"/>
                <a:gd name="connsiteX15" fmla="*/ 1187073 w 5306200"/>
                <a:gd name="connsiteY15" fmla="*/ 95189 h 747096"/>
                <a:gd name="connsiteX16" fmla="*/ 1285148 w 5306200"/>
                <a:gd name="connsiteY16" fmla="*/ 86536 h 747096"/>
                <a:gd name="connsiteX17" fmla="*/ 1417837 w 5306200"/>
                <a:gd name="connsiteY17" fmla="*/ 77882 h 747096"/>
                <a:gd name="connsiteX18" fmla="*/ 1616870 w 5306200"/>
                <a:gd name="connsiteY18" fmla="*/ 63460 h 747096"/>
                <a:gd name="connsiteX19" fmla="*/ 1836095 w 5306200"/>
                <a:gd name="connsiteY19" fmla="*/ 54806 h 747096"/>
                <a:gd name="connsiteX20" fmla="*/ 2038013 w 5306200"/>
                <a:gd name="connsiteY20" fmla="*/ 43268 h 747096"/>
                <a:gd name="connsiteX21" fmla="*/ 2213970 w 5306200"/>
                <a:gd name="connsiteY21" fmla="*/ 34614 h 747096"/>
                <a:gd name="connsiteX22" fmla="*/ 2441849 w 5306200"/>
                <a:gd name="connsiteY22" fmla="*/ 25960 h 747096"/>
                <a:gd name="connsiteX23" fmla="*/ 2764918 w 5306200"/>
                <a:gd name="connsiteY23" fmla="*/ 20191 h 747096"/>
                <a:gd name="connsiteX24" fmla="*/ 2900491 w 5306200"/>
                <a:gd name="connsiteY24" fmla="*/ 17307 h 747096"/>
                <a:gd name="connsiteX25" fmla="*/ 3027411 w 5306200"/>
                <a:gd name="connsiteY25" fmla="*/ 14422 h 747096"/>
                <a:gd name="connsiteX26" fmla="*/ 3157216 w 5306200"/>
                <a:gd name="connsiteY26" fmla="*/ 11538 h 747096"/>
                <a:gd name="connsiteX27" fmla="*/ 3336057 w 5306200"/>
                <a:gd name="connsiteY27" fmla="*/ 8653 h 747096"/>
                <a:gd name="connsiteX28" fmla="*/ 3506245 w 5306200"/>
                <a:gd name="connsiteY28" fmla="*/ 8653 h 747096"/>
                <a:gd name="connsiteX29" fmla="*/ 3722586 w 5306200"/>
                <a:gd name="connsiteY29" fmla="*/ 11537 h 747096"/>
                <a:gd name="connsiteX30" fmla="*/ 5306200 w 5306200"/>
                <a:gd name="connsiteY30" fmla="*/ 0 h 747096"/>
                <a:gd name="connsiteX31" fmla="*/ 5306200 w 5306200"/>
                <a:gd name="connsiteY31" fmla="*/ 744212 h 747096"/>
                <a:gd name="connsiteX32" fmla="*/ 3177408 w 5306200"/>
                <a:gd name="connsiteY32" fmla="*/ 747096 h 747096"/>
                <a:gd name="connsiteX33" fmla="*/ 2952413 w 5306200"/>
                <a:gd name="connsiteY33" fmla="*/ 747096 h 747096"/>
                <a:gd name="connsiteX34" fmla="*/ 2877415 w 5306200"/>
                <a:gd name="connsiteY34" fmla="*/ 747096 h 747096"/>
                <a:gd name="connsiteX35" fmla="*/ 2551462 w 5306200"/>
                <a:gd name="connsiteY35" fmla="*/ 741327 h 747096"/>
                <a:gd name="connsiteX36" fmla="*/ 2456272 w 5306200"/>
                <a:gd name="connsiteY36" fmla="*/ 735558 h 747096"/>
                <a:gd name="connsiteX37" fmla="*/ 2366851 w 5306200"/>
                <a:gd name="connsiteY37" fmla="*/ 729789 h 747096"/>
                <a:gd name="connsiteX38" fmla="*/ 2263008 w 5306200"/>
                <a:gd name="connsiteY38" fmla="*/ 724020 h 747096"/>
                <a:gd name="connsiteX39" fmla="*/ 2075512 w 5306200"/>
                <a:gd name="connsiteY39" fmla="*/ 706713 h 747096"/>
                <a:gd name="connsiteX40" fmla="*/ 1882248 w 5306200"/>
                <a:gd name="connsiteY40" fmla="*/ 686521 h 747096"/>
                <a:gd name="connsiteX41" fmla="*/ 1697637 w 5306200"/>
                <a:gd name="connsiteY41" fmla="*/ 669213 h 747096"/>
                <a:gd name="connsiteX42" fmla="*/ 1513026 w 5306200"/>
                <a:gd name="connsiteY42" fmla="*/ 649022 h 747096"/>
                <a:gd name="connsiteX43" fmla="*/ 1319762 w 5306200"/>
                <a:gd name="connsiteY43" fmla="*/ 631714 h 747096"/>
                <a:gd name="connsiteX44" fmla="*/ 1063038 w 5306200"/>
                <a:gd name="connsiteY44" fmla="*/ 602869 h 747096"/>
                <a:gd name="connsiteX45" fmla="*/ 538051 w 5306200"/>
                <a:gd name="connsiteY45" fmla="*/ 522102 h 747096"/>
                <a:gd name="connsiteX46" fmla="*/ 373632 w 5306200"/>
                <a:gd name="connsiteY46" fmla="*/ 496141 h 747096"/>
                <a:gd name="connsiteX47" fmla="*/ 188913 w 5306200"/>
                <a:gd name="connsiteY47" fmla="*/ 459567 h 747096"/>
                <a:gd name="connsiteX48" fmla="*/ 0 w 5306200"/>
                <a:gd name="connsiteY4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8630 w 5306200"/>
                <a:gd name="connsiteY7" fmla="*/ 242301 h 747096"/>
                <a:gd name="connsiteX8" fmla="*/ 644780 w 5306200"/>
                <a:gd name="connsiteY8" fmla="*/ 181726 h 747096"/>
                <a:gd name="connsiteX9" fmla="*/ 731315 w 5306200"/>
                <a:gd name="connsiteY9" fmla="*/ 161534 h 747096"/>
                <a:gd name="connsiteX10" fmla="*/ 803429 w 5306200"/>
                <a:gd name="connsiteY10" fmla="*/ 147111 h 747096"/>
                <a:gd name="connsiteX11" fmla="*/ 861120 w 5306200"/>
                <a:gd name="connsiteY11" fmla="*/ 138458 h 747096"/>
                <a:gd name="connsiteX12" fmla="*/ 953425 w 5306200"/>
                <a:gd name="connsiteY12" fmla="*/ 124035 h 747096"/>
                <a:gd name="connsiteX13" fmla="*/ 1045731 w 5306200"/>
                <a:gd name="connsiteY13" fmla="*/ 112497 h 747096"/>
                <a:gd name="connsiteX14" fmla="*/ 1120729 w 5306200"/>
                <a:gd name="connsiteY14" fmla="*/ 103843 h 747096"/>
                <a:gd name="connsiteX15" fmla="*/ 1187073 w 5306200"/>
                <a:gd name="connsiteY15" fmla="*/ 95189 h 747096"/>
                <a:gd name="connsiteX16" fmla="*/ 1285148 w 5306200"/>
                <a:gd name="connsiteY16" fmla="*/ 86536 h 747096"/>
                <a:gd name="connsiteX17" fmla="*/ 1417837 w 5306200"/>
                <a:gd name="connsiteY17" fmla="*/ 77882 h 747096"/>
                <a:gd name="connsiteX18" fmla="*/ 1616870 w 5306200"/>
                <a:gd name="connsiteY18" fmla="*/ 63460 h 747096"/>
                <a:gd name="connsiteX19" fmla="*/ 1836095 w 5306200"/>
                <a:gd name="connsiteY19" fmla="*/ 54806 h 747096"/>
                <a:gd name="connsiteX20" fmla="*/ 2038013 w 5306200"/>
                <a:gd name="connsiteY20" fmla="*/ 43268 h 747096"/>
                <a:gd name="connsiteX21" fmla="*/ 2213970 w 5306200"/>
                <a:gd name="connsiteY21" fmla="*/ 34614 h 747096"/>
                <a:gd name="connsiteX22" fmla="*/ 2441849 w 5306200"/>
                <a:gd name="connsiteY22" fmla="*/ 25960 h 747096"/>
                <a:gd name="connsiteX23" fmla="*/ 2764918 w 5306200"/>
                <a:gd name="connsiteY23" fmla="*/ 20191 h 747096"/>
                <a:gd name="connsiteX24" fmla="*/ 2900491 w 5306200"/>
                <a:gd name="connsiteY24" fmla="*/ 17307 h 747096"/>
                <a:gd name="connsiteX25" fmla="*/ 3027411 w 5306200"/>
                <a:gd name="connsiteY25" fmla="*/ 14422 h 747096"/>
                <a:gd name="connsiteX26" fmla="*/ 3157216 w 5306200"/>
                <a:gd name="connsiteY26" fmla="*/ 11538 h 747096"/>
                <a:gd name="connsiteX27" fmla="*/ 3336057 w 5306200"/>
                <a:gd name="connsiteY27" fmla="*/ 8653 h 747096"/>
                <a:gd name="connsiteX28" fmla="*/ 3506245 w 5306200"/>
                <a:gd name="connsiteY28" fmla="*/ 8653 h 747096"/>
                <a:gd name="connsiteX29" fmla="*/ 3722586 w 5306200"/>
                <a:gd name="connsiteY29" fmla="*/ 11537 h 747096"/>
                <a:gd name="connsiteX30" fmla="*/ 5306200 w 5306200"/>
                <a:gd name="connsiteY30" fmla="*/ 0 h 747096"/>
                <a:gd name="connsiteX31" fmla="*/ 5306200 w 5306200"/>
                <a:gd name="connsiteY31" fmla="*/ 744212 h 747096"/>
                <a:gd name="connsiteX32" fmla="*/ 3177408 w 5306200"/>
                <a:gd name="connsiteY32" fmla="*/ 747096 h 747096"/>
                <a:gd name="connsiteX33" fmla="*/ 2952413 w 5306200"/>
                <a:gd name="connsiteY33" fmla="*/ 747096 h 747096"/>
                <a:gd name="connsiteX34" fmla="*/ 2877415 w 5306200"/>
                <a:gd name="connsiteY34" fmla="*/ 747096 h 747096"/>
                <a:gd name="connsiteX35" fmla="*/ 2551462 w 5306200"/>
                <a:gd name="connsiteY35" fmla="*/ 741327 h 747096"/>
                <a:gd name="connsiteX36" fmla="*/ 2456272 w 5306200"/>
                <a:gd name="connsiteY36" fmla="*/ 735558 h 747096"/>
                <a:gd name="connsiteX37" fmla="*/ 2366851 w 5306200"/>
                <a:gd name="connsiteY37" fmla="*/ 729789 h 747096"/>
                <a:gd name="connsiteX38" fmla="*/ 2263008 w 5306200"/>
                <a:gd name="connsiteY38" fmla="*/ 724020 h 747096"/>
                <a:gd name="connsiteX39" fmla="*/ 2075512 w 5306200"/>
                <a:gd name="connsiteY39" fmla="*/ 706713 h 747096"/>
                <a:gd name="connsiteX40" fmla="*/ 1882248 w 5306200"/>
                <a:gd name="connsiteY40" fmla="*/ 686521 h 747096"/>
                <a:gd name="connsiteX41" fmla="*/ 1697637 w 5306200"/>
                <a:gd name="connsiteY41" fmla="*/ 669213 h 747096"/>
                <a:gd name="connsiteX42" fmla="*/ 1513026 w 5306200"/>
                <a:gd name="connsiteY42" fmla="*/ 649022 h 747096"/>
                <a:gd name="connsiteX43" fmla="*/ 1319762 w 5306200"/>
                <a:gd name="connsiteY43" fmla="*/ 631714 h 747096"/>
                <a:gd name="connsiteX44" fmla="*/ 1063038 w 5306200"/>
                <a:gd name="connsiteY44" fmla="*/ 602869 h 747096"/>
                <a:gd name="connsiteX45" fmla="*/ 538051 w 5306200"/>
                <a:gd name="connsiteY45" fmla="*/ 522102 h 747096"/>
                <a:gd name="connsiteX46" fmla="*/ 373632 w 5306200"/>
                <a:gd name="connsiteY46" fmla="*/ 496141 h 747096"/>
                <a:gd name="connsiteX47" fmla="*/ 188913 w 5306200"/>
                <a:gd name="connsiteY47" fmla="*/ 459567 h 747096"/>
                <a:gd name="connsiteX48" fmla="*/ 0 w 5306200"/>
                <a:gd name="connsiteY4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8630 w 5306200"/>
                <a:gd name="connsiteY7" fmla="*/ 242301 h 747096"/>
                <a:gd name="connsiteX8" fmla="*/ 644780 w 5306200"/>
                <a:gd name="connsiteY8" fmla="*/ 181726 h 747096"/>
                <a:gd name="connsiteX9" fmla="*/ 731315 w 5306200"/>
                <a:gd name="connsiteY9" fmla="*/ 161534 h 747096"/>
                <a:gd name="connsiteX10" fmla="*/ 803429 w 5306200"/>
                <a:gd name="connsiteY10" fmla="*/ 147111 h 747096"/>
                <a:gd name="connsiteX11" fmla="*/ 861120 w 5306200"/>
                <a:gd name="connsiteY11" fmla="*/ 138458 h 747096"/>
                <a:gd name="connsiteX12" fmla="*/ 953425 w 5306200"/>
                <a:gd name="connsiteY12" fmla="*/ 124035 h 747096"/>
                <a:gd name="connsiteX13" fmla="*/ 1045731 w 5306200"/>
                <a:gd name="connsiteY13" fmla="*/ 112497 h 747096"/>
                <a:gd name="connsiteX14" fmla="*/ 1120729 w 5306200"/>
                <a:gd name="connsiteY14" fmla="*/ 103843 h 747096"/>
                <a:gd name="connsiteX15" fmla="*/ 1187073 w 5306200"/>
                <a:gd name="connsiteY15" fmla="*/ 95189 h 747096"/>
                <a:gd name="connsiteX16" fmla="*/ 1285148 w 5306200"/>
                <a:gd name="connsiteY16" fmla="*/ 86536 h 747096"/>
                <a:gd name="connsiteX17" fmla="*/ 1417837 w 5306200"/>
                <a:gd name="connsiteY17" fmla="*/ 77882 h 747096"/>
                <a:gd name="connsiteX18" fmla="*/ 1616870 w 5306200"/>
                <a:gd name="connsiteY18" fmla="*/ 63460 h 747096"/>
                <a:gd name="connsiteX19" fmla="*/ 1836095 w 5306200"/>
                <a:gd name="connsiteY19" fmla="*/ 54806 h 747096"/>
                <a:gd name="connsiteX20" fmla="*/ 2038013 w 5306200"/>
                <a:gd name="connsiteY20" fmla="*/ 43268 h 747096"/>
                <a:gd name="connsiteX21" fmla="*/ 2213970 w 5306200"/>
                <a:gd name="connsiteY21" fmla="*/ 34614 h 747096"/>
                <a:gd name="connsiteX22" fmla="*/ 2441849 w 5306200"/>
                <a:gd name="connsiteY22" fmla="*/ 25960 h 747096"/>
                <a:gd name="connsiteX23" fmla="*/ 2764918 w 5306200"/>
                <a:gd name="connsiteY23" fmla="*/ 20191 h 747096"/>
                <a:gd name="connsiteX24" fmla="*/ 2900491 w 5306200"/>
                <a:gd name="connsiteY24" fmla="*/ 17307 h 747096"/>
                <a:gd name="connsiteX25" fmla="*/ 3027411 w 5306200"/>
                <a:gd name="connsiteY25" fmla="*/ 14422 h 747096"/>
                <a:gd name="connsiteX26" fmla="*/ 3157216 w 5306200"/>
                <a:gd name="connsiteY26" fmla="*/ 11538 h 747096"/>
                <a:gd name="connsiteX27" fmla="*/ 3336057 w 5306200"/>
                <a:gd name="connsiteY27" fmla="*/ 8653 h 747096"/>
                <a:gd name="connsiteX28" fmla="*/ 3506245 w 5306200"/>
                <a:gd name="connsiteY28" fmla="*/ 8653 h 747096"/>
                <a:gd name="connsiteX29" fmla="*/ 3722586 w 5306200"/>
                <a:gd name="connsiteY29" fmla="*/ 11537 h 747096"/>
                <a:gd name="connsiteX30" fmla="*/ 5306200 w 5306200"/>
                <a:gd name="connsiteY30" fmla="*/ 0 h 747096"/>
                <a:gd name="connsiteX31" fmla="*/ 5306200 w 5306200"/>
                <a:gd name="connsiteY31" fmla="*/ 744212 h 747096"/>
                <a:gd name="connsiteX32" fmla="*/ 3177408 w 5306200"/>
                <a:gd name="connsiteY32" fmla="*/ 747096 h 747096"/>
                <a:gd name="connsiteX33" fmla="*/ 2952413 w 5306200"/>
                <a:gd name="connsiteY33" fmla="*/ 747096 h 747096"/>
                <a:gd name="connsiteX34" fmla="*/ 2877415 w 5306200"/>
                <a:gd name="connsiteY34" fmla="*/ 747096 h 747096"/>
                <a:gd name="connsiteX35" fmla="*/ 2551462 w 5306200"/>
                <a:gd name="connsiteY35" fmla="*/ 741327 h 747096"/>
                <a:gd name="connsiteX36" fmla="*/ 2456272 w 5306200"/>
                <a:gd name="connsiteY36" fmla="*/ 735558 h 747096"/>
                <a:gd name="connsiteX37" fmla="*/ 2366851 w 5306200"/>
                <a:gd name="connsiteY37" fmla="*/ 729789 h 747096"/>
                <a:gd name="connsiteX38" fmla="*/ 2263008 w 5306200"/>
                <a:gd name="connsiteY38" fmla="*/ 724020 h 747096"/>
                <a:gd name="connsiteX39" fmla="*/ 2075512 w 5306200"/>
                <a:gd name="connsiteY39" fmla="*/ 706713 h 747096"/>
                <a:gd name="connsiteX40" fmla="*/ 1882248 w 5306200"/>
                <a:gd name="connsiteY40" fmla="*/ 686521 h 747096"/>
                <a:gd name="connsiteX41" fmla="*/ 1697637 w 5306200"/>
                <a:gd name="connsiteY41" fmla="*/ 669213 h 747096"/>
                <a:gd name="connsiteX42" fmla="*/ 1513026 w 5306200"/>
                <a:gd name="connsiteY42" fmla="*/ 649022 h 747096"/>
                <a:gd name="connsiteX43" fmla="*/ 1319762 w 5306200"/>
                <a:gd name="connsiteY43" fmla="*/ 631714 h 747096"/>
                <a:gd name="connsiteX44" fmla="*/ 1063038 w 5306200"/>
                <a:gd name="connsiteY44" fmla="*/ 602869 h 747096"/>
                <a:gd name="connsiteX45" fmla="*/ 538051 w 5306200"/>
                <a:gd name="connsiteY45" fmla="*/ 522102 h 747096"/>
                <a:gd name="connsiteX46" fmla="*/ 373632 w 5306200"/>
                <a:gd name="connsiteY46" fmla="*/ 496141 h 747096"/>
                <a:gd name="connsiteX47" fmla="*/ 192723 w 5306200"/>
                <a:gd name="connsiteY47" fmla="*/ 467187 h 747096"/>
                <a:gd name="connsiteX48" fmla="*/ 0 w 5306200"/>
                <a:gd name="connsiteY4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8630 w 5306200"/>
                <a:gd name="connsiteY7" fmla="*/ 242301 h 747096"/>
                <a:gd name="connsiteX8" fmla="*/ 644780 w 5306200"/>
                <a:gd name="connsiteY8" fmla="*/ 181726 h 747096"/>
                <a:gd name="connsiteX9" fmla="*/ 731315 w 5306200"/>
                <a:gd name="connsiteY9" fmla="*/ 161534 h 747096"/>
                <a:gd name="connsiteX10" fmla="*/ 803429 w 5306200"/>
                <a:gd name="connsiteY10" fmla="*/ 147111 h 747096"/>
                <a:gd name="connsiteX11" fmla="*/ 861120 w 5306200"/>
                <a:gd name="connsiteY11" fmla="*/ 138458 h 747096"/>
                <a:gd name="connsiteX12" fmla="*/ 953425 w 5306200"/>
                <a:gd name="connsiteY12" fmla="*/ 124035 h 747096"/>
                <a:gd name="connsiteX13" fmla="*/ 1045731 w 5306200"/>
                <a:gd name="connsiteY13" fmla="*/ 112497 h 747096"/>
                <a:gd name="connsiteX14" fmla="*/ 1120729 w 5306200"/>
                <a:gd name="connsiteY14" fmla="*/ 103843 h 747096"/>
                <a:gd name="connsiteX15" fmla="*/ 1187073 w 5306200"/>
                <a:gd name="connsiteY15" fmla="*/ 95189 h 747096"/>
                <a:gd name="connsiteX16" fmla="*/ 1285148 w 5306200"/>
                <a:gd name="connsiteY16" fmla="*/ 86536 h 747096"/>
                <a:gd name="connsiteX17" fmla="*/ 1417837 w 5306200"/>
                <a:gd name="connsiteY17" fmla="*/ 77882 h 747096"/>
                <a:gd name="connsiteX18" fmla="*/ 1616870 w 5306200"/>
                <a:gd name="connsiteY18" fmla="*/ 63460 h 747096"/>
                <a:gd name="connsiteX19" fmla="*/ 1836095 w 5306200"/>
                <a:gd name="connsiteY19" fmla="*/ 54806 h 747096"/>
                <a:gd name="connsiteX20" fmla="*/ 2038013 w 5306200"/>
                <a:gd name="connsiteY20" fmla="*/ 43268 h 747096"/>
                <a:gd name="connsiteX21" fmla="*/ 2213970 w 5306200"/>
                <a:gd name="connsiteY21" fmla="*/ 34614 h 747096"/>
                <a:gd name="connsiteX22" fmla="*/ 2441849 w 5306200"/>
                <a:gd name="connsiteY22" fmla="*/ 25960 h 747096"/>
                <a:gd name="connsiteX23" fmla="*/ 2764918 w 5306200"/>
                <a:gd name="connsiteY23" fmla="*/ 20191 h 747096"/>
                <a:gd name="connsiteX24" fmla="*/ 2900491 w 5306200"/>
                <a:gd name="connsiteY24" fmla="*/ 17307 h 747096"/>
                <a:gd name="connsiteX25" fmla="*/ 3027411 w 5306200"/>
                <a:gd name="connsiteY25" fmla="*/ 14422 h 747096"/>
                <a:gd name="connsiteX26" fmla="*/ 3157216 w 5306200"/>
                <a:gd name="connsiteY26" fmla="*/ 11538 h 747096"/>
                <a:gd name="connsiteX27" fmla="*/ 3336057 w 5306200"/>
                <a:gd name="connsiteY27" fmla="*/ 8653 h 747096"/>
                <a:gd name="connsiteX28" fmla="*/ 3506245 w 5306200"/>
                <a:gd name="connsiteY28" fmla="*/ 8653 h 747096"/>
                <a:gd name="connsiteX29" fmla="*/ 3722586 w 5306200"/>
                <a:gd name="connsiteY29" fmla="*/ 11537 h 747096"/>
                <a:gd name="connsiteX30" fmla="*/ 5306200 w 5306200"/>
                <a:gd name="connsiteY30" fmla="*/ 0 h 747096"/>
                <a:gd name="connsiteX31" fmla="*/ 5306200 w 5306200"/>
                <a:gd name="connsiteY31" fmla="*/ 744212 h 747096"/>
                <a:gd name="connsiteX32" fmla="*/ 3177408 w 5306200"/>
                <a:gd name="connsiteY32" fmla="*/ 747096 h 747096"/>
                <a:gd name="connsiteX33" fmla="*/ 2952413 w 5306200"/>
                <a:gd name="connsiteY33" fmla="*/ 747096 h 747096"/>
                <a:gd name="connsiteX34" fmla="*/ 2877415 w 5306200"/>
                <a:gd name="connsiteY34" fmla="*/ 747096 h 747096"/>
                <a:gd name="connsiteX35" fmla="*/ 2551462 w 5306200"/>
                <a:gd name="connsiteY35" fmla="*/ 741327 h 747096"/>
                <a:gd name="connsiteX36" fmla="*/ 2456272 w 5306200"/>
                <a:gd name="connsiteY36" fmla="*/ 735558 h 747096"/>
                <a:gd name="connsiteX37" fmla="*/ 2366851 w 5306200"/>
                <a:gd name="connsiteY37" fmla="*/ 729789 h 747096"/>
                <a:gd name="connsiteX38" fmla="*/ 2263008 w 5306200"/>
                <a:gd name="connsiteY38" fmla="*/ 724020 h 747096"/>
                <a:gd name="connsiteX39" fmla="*/ 2075512 w 5306200"/>
                <a:gd name="connsiteY39" fmla="*/ 706713 h 747096"/>
                <a:gd name="connsiteX40" fmla="*/ 1882248 w 5306200"/>
                <a:gd name="connsiteY40" fmla="*/ 686521 h 747096"/>
                <a:gd name="connsiteX41" fmla="*/ 1697637 w 5306200"/>
                <a:gd name="connsiteY41" fmla="*/ 669213 h 747096"/>
                <a:gd name="connsiteX42" fmla="*/ 1513026 w 5306200"/>
                <a:gd name="connsiteY42" fmla="*/ 652832 h 747096"/>
                <a:gd name="connsiteX43" fmla="*/ 1319762 w 5306200"/>
                <a:gd name="connsiteY43" fmla="*/ 631714 h 747096"/>
                <a:gd name="connsiteX44" fmla="*/ 1063038 w 5306200"/>
                <a:gd name="connsiteY44" fmla="*/ 602869 h 747096"/>
                <a:gd name="connsiteX45" fmla="*/ 538051 w 5306200"/>
                <a:gd name="connsiteY45" fmla="*/ 522102 h 747096"/>
                <a:gd name="connsiteX46" fmla="*/ 373632 w 5306200"/>
                <a:gd name="connsiteY46" fmla="*/ 496141 h 747096"/>
                <a:gd name="connsiteX47" fmla="*/ 192723 w 5306200"/>
                <a:gd name="connsiteY47" fmla="*/ 467187 h 747096"/>
                <a:gd name="connsiteX48" fmla="*/ 0 w 5306200"/>
                <a:gd name="connsiteY4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4780 w 5306200"/>
                <a:gd name="connsiteY8" fmla="*/ 181726 h 747096"/>
                <a:gd name="connsiteX9" fmla="*/ 731315 w 5306200"/>
                <a:gd name="connsiteY9" fmla="*/ 161534 h 747096"/>
                <a:gd name="connsiteX10" fmla="*/ 803429 w 5306200"/>
                <a:gd name="connsiteY10" fmla="*/ 147111 h 747096"/>
                <a:gd name="connsiteX11" fmla="*/ 861120 w 5306200"/>
                <a:gd name="connsiteY11" fmla="*/ 138458 h 747096"/>
                <a:gd name="connsiteX12" fmla="*/ 953425 w 5306200"/>
                <a:gd name="connsiteY12" fmla="*/ 124035 h 747096"/>
                <a:gd name="connsiteX13" fmla="*/ 1045731 w 5306200"/>
                <a:gd name="connsiteY13" fmla="*/ 112497 h 747096"/>
                <a:gd name="connsiteX14" fmla="*/ 1120729 w 5306200"/>
                <a:gd name="connsiteY14" fmla="*/ 103843 h 747096"/>
                <a:gd name="connsiteX15" fmla="*/ 1187073 w 5306200"/>
                <a:gd name="connsiteY15" fmla="*/ 95189 h 747096"/>
                <a:gd name="connsiteX16" fmla="*/ 1285148 w 5306200"/>
                <a:gd name="connsiteY16" fmla="*/ 86536 h 747096"/>
                <a:gd name="connsiteX17" fmla="*/ 1417837 w 5306200"/>
                <a:gd name="connsiteY17" fmla="*/ 77882 h 747096"/>
                <a:gd name="connsiteX18" fmla="*/ 1616870 w 5306200"/>
                <a:gd name="connsiteY18" fmla="*/ 63460 h 747096"/>
                <a:gd name="connsiteX19" fmla="*/ 1836095 w 5306200"/>
                <a:gd name="connsiteY19" fmla="*/ 54806 h 747096"/>
                <a:gd name="connsiteX20" fmla="*/ 2038013 w 5306200"/>
                <a:gd name="connsiteY20" fmla="*/ 43268 h 747096"/>
                <a:gd name="connsiteX21" fmla="*/ 2213970 w 5306200"/>
                <a:gd name="connsiteY21" fmla="*/ 34614 h 747096"/>
                <a:gd name="connsiteX22" fmla="*/ 2441849 w 5306200"/>
                <a:gd name="connsiteY22" fmla="*/ 25960 h 747096"/>
                <a:gd name="connsiteX23" fmla="*/ 2764918 w 5306200"/>
                <a:gd name="connsiteY23" fmla="*/ 20191 h 747096"/>
                <a:gd name="connsiteX24" fmla="*/ 2900491 w 5306200"/>
                <a:gd name="connsiteY24" fmla="*/ 17307 h 747096"/>
                <a:gd name="connsiteX25" fmla="*/ 3027411 w 5306200"/>
                <a:gd name="connsiteY25" fmla="*/ 14422 h 747096"/>
                <a:gd name="connsiteX26" fmla="*/ 3157216 w 5306200"/>
                <a:gd name="connsiteY26" fmla="*/ 11538 h 747096"/>
                <a:gd name="connsiteX27" fmla="*/ 3336057 w 5306200"/>
                <a:gd name="connsiteY27" fmla="*/ 8653 h 747096"/>
                <a:gd name="connsiteX28" fmla="*/ 3506245 w 5306200"/>
                <a:gd name="connsiteY28" fmla="*/ 8653 h 747096"/>
                <a:gd name="connsiteX29" fmla="*/ 3722586 w 5306200"/>
                <a:gd name="connsiteY29" fmla="*/ 11537 h 747096"/>
                <a:gd name="connsiteX30" fmla="*/ 5306200 w 5306200"/>
                <a:gd name="connsiteY30" fmla="*/ 0 h 747096"/>
                <a:gd name="connsiteX31" fmla="*/ 5306200 w 5306200"/>
                <a:gd name="connsiteY31" fmla="*/ 744212 h 747096"/>
                <a:gd name="connsiteX32" fmla="*/ 3177408 w 5306200"/>
                <a:gd name="connsiteY32" fmla="*/ 747096 h 747096"/>
                <a:gd name="connsiteX33" fmla="*/ 2952413 w 5306200"/>
                <a:gd name="connsiteY33" fmla="*/ 747096 h 747096"/>
                <a:gd name="connsiteX34" fmla="*/ 2877415 w 5306200"/>
                <a:gd name="connsiteY34" fmla="*/ 747096 h 747096"/>
                <a:gd name="connsiteX35" fmla="*/ 2551462 w 5306200"/>
                <a:gd name="connsiteY35" fmla="*/ 741327 h 747096"/>
                <a:gd name="connsiteX36" fmla="*/ 2456272 w 5306200"/>
                <a:gd name="connsiteY36" fmla="*/ 735558 h 747096"/>
                <a:gd name="connsiteX37" fmla="*/ 2366851 w 5306200"/>
                <a:gd name="connsiteY37" fmla="*/ 729789 h 747096"/>
                <a:gd name="connsiteX38" fmla="*/ 2263008 w 5306200"/>
                <a:gd name="connsiteY38" fmla="*/ 724020 h 747096"/>
                <a:gd name="connsiteX39" fmla="*/ 2075512 w 5306200"/>
                <a:gd name="connsiteY39" fmla="*/ 706713 h 747096"/>
                <a:gd name="connsiteX40" fmla="*/ 1882248 w 5306200"/>
                <a:gd name="connsiteY40" fmla="*/ 686521 h 747096"/>
                <a:gd name="connsiteX41" fmla="*/ 1697637 w 5306200"/>
                <a:gd name="connsiteY41" fmla="*/ 669213 h 747096"/>
                <a:gd name="connsiteX42" fmla="*/ 1513026 w 5306200"/>
                <a:gd name="connsiteY42" fmla="*/ 652832 h 747096"/>
                <a:gd name="connsiteX43" fmla="*/ 1319762 w 5306200"/>
                <a:gd name="connsiteY43" fmla="*/ 631714 h 747096"/>
                <a:gd name="connsiteX44" fmla="*/ 1063038 w 5306200"/>
                <a:gd name="connsiteY44" fmla="*/ 602869 h 747096"/>
                <a:gd name="connsiteX45" fmla="*/ 538051 w 5306200"/>
                <a:gd name="connsiteY45" fmla="*/ 522102 h 747096"/>
                <a:gd name="connsiteX46" fmla="*/ 373632 w 5306200"/>
                <a:gd name="connsiteY46" fmla="*/ 496141 h 747096"/>
                <a:gd name="connsiteX47" fmla="*/ 192723 w 5306200"/>
                <a:gd name="connsiteY47" fmla="*/ 467187 h 747096"/>
                <a:gd name="connsiteX48" fmla="*/ 0 w 5306200"/>
                <a:gd name="connsiteY4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31315 w 5306200"/>
                <a:gd name="connsiteY9" fmla="*/ 161534 h 747096"/>
                <a:gd name="connsiteX10" fmla="*/ 803429 w 5306200"/>
                <a:gd name="connsiteY10" fmla="*/ 147111 h 747096"/>
                <a:gd name="connsiteX11" fmla="*/ 861120 w 5306200"/>
                <a:gd name="connsiteY11" fmla="*/ 138458 h 747096"/>
                <a:gd name="connsiteX12" fmla="*/ 953425 w 5306200"/>
                <a:gd name="connsiteY12" fmla="*/ 124035 h 747096"/>
                <a:gd name="connsiteX13" fmla="*/ 1045731 w 5306200"/>
                <a:gd name="connsiteY13" fmla="*/ 112497 h 747096"/>
                <a:gd name="connsiteX14" fmla="*/ 1120729 w 5306200"/>
                <a:gd name="connsiteY14" fmla="*/ 103843 h 747096"/>
                <a:gd name="connsiteX15" fmla="*/ 1187073 w 5306200"/>
                <a:gd name="connsiteY15" fmla="*/ 95189 h 747096"/>
                <a:gd name="connsiteX16" fmla="*/ 1285148 w 5306200"/>
                <a:gd name="connsiteY16" fmla="*/ 86536 h 747096"/>
                <a:gd name="connsiteX17" fmla="*/ 1417837 w 5306200"/>
                <a:gd name="connsiteY17" fmla="*/ 77882 h 747096"/>
                <a:gd name="connsiteX18" fmla="*/ 1616870 w 5306200"/>
                <a:gd name="connsiteY18" fmla="*/ 63460 h 747096"/>
                <a:gd name="connsiteX19" fmla="*/ 1836095 w 5306200"/>
                <a:gd name="connsiteY19" fmla="*/ 54806 h 747096"/>
                <a:gd name="connsiteX20" fmla="*/ 2038013 w 5306200"/>
                <a:gd name="connsiteY20" fmla="*/ 43268 h 747096"/>
                <a:gd name="connsiteX21" fmla="*/ 2213970 w 5306200"/>
                <a:gd name="connsiteY21" fmla="*/ 34614 h 747096"/>
                <a:gd name="connsiteX22" fmla="*/ 2441849 w 5306200"/>
                <a:gd name="connsiteY22" fmla="*/ 25960 h 747096"/>
                <a:gd name="connsiteX23" fmla="*/ 2764918 w 5306200"/>
                <a:gd name="connsiteY23" fmla="*/ 20191 h 747096"/>
                <a:gd name="connsiteX24" fmla="*/ 2900491 w 5306200"/>
                <a:gd name="connsiteY24" fmla="*/ 17307 h 747096"/>
                <a:gd name="connsiteX25" fmla="*/ 3027411 w 5306200"/>
                <a:gd name="connsiteY25" fmla="*/ 14422 h 747096"/>
                <a:gd name="connsiteX26" fmla="*/ 3157216 w 5306200"/>
                <a:gd name="connsiteY26" fmla="*/ 11538 h 747096"/>
                <a:gd name="connsiteX27" fmla="*/ 3336057 w 5306200"/>
                <a:gd name="connsiteY27" fmla="*/ 8653 h 747096"/>
                <a:gd name="connsiteX28" fmla="*/ 3506245 w 5306200"/>
                <a:gd name="connsiteY28" fmla="*/ 8653 h 747096"/>
                <a:gd name="connsiteX29" fmla="*/ 3722586 w 5306200"/>
                <a:gd name="connsiteY29" fmla="*/ 11537 h 747096"/>
                <a:gd name="connsiteX30" fmla="*/ 5306200 w 5306200"/>
                <a:gd name="connsiteY30" fmla="*/ 0 h 747096"/>
                <a:gd name="connsiteX31" fmla="*/ 5306200 w 5306200"/>
                <a:gd name="connsiteY31" fmla="*/ 744212 h 747096"/>
                <a:gd name="connsiteX32" fmla="*/ 3177408 w 5306200"/>
                <a:gd name="connsiteY32" fmla="*/ 747096 h 747096"/>
                <a:gd name="connsiteX33" fmla="*/ 2952413 w 5306200"/>
                <a:gd name="connsiteY33" fmla="*/ 747096 h 747096"/>
                <a:gd name="connsiteX34" fmla="*/ 2877415 w 5306200"/>
                <a:gd name="connsiteY34" fmla="*/ 747096 h 747096"/>
                <a:gd name="connsiteX35" fmla="*/ 2551462 w 5306200"/>
                <a:gd name="connsiteY35" fmla="*/ 741327 h 747096"/>
                <a:gd name="connsiteX36" fmla="*/ 2456272 w 5306200"/>
                <a:gd name="connsiteY36" fmla="*/ 735558 h 747096"/>
                <a:gd name="connsiteX37" fmla="*/ 2366851 w 5306200"/>
                <a:gd name="connsiteY37" fmla="*/ 729789 h 747096"/>
                <a:gd name="connsiteX38" fmla="*/ 2263008 w 5306200"/>
                <a:gd name="connsiteY38" fmla="*/ 724020 h 747096"/>
                <a:gd name="connsiteX39" fmla="*/ 2075512 w 5306200"/>
                <a:gd name="connsiteY39" fmla="*/ 706713 h 747096"/>
                <a:gd name="connsiteX40" fmla="*/ 1882248 w 5306200"/>
                <a:gd name="connsiteY40" fmla="*/ 686521 h 747096"/>
                <a:gd name="connsiteX41" fmla="*/ 1697637 w 5306200"/>
                <a:gd name="connsiteY41" fmla="*/ 669213 h 747096"/>
                <a:gd name="connsiteX42" fmla="*/ 1513026 w 5306200"/>
                <a:gd name="connsiteY42" fmla="*/ 652832 h 747096"/>
                <a:gd name="connsiteX43" fmla="*/ 1319762 w 5306200"/>
                <a:gd name="connsiteY43" fmla="*/ 631714 h 747096"/>
                <a:gd name="connsiteX44" fmla="*/ 1063038 w 5306200"/>
                <a:gd name="connsiteY44" fmla="*/ 602869 h 747096"/>
                <a:gd name="connsiteX45" fmla="*/ 538051 w 5306200"/>
                <a:gd name="connsiteY45" fmla="*/ 522102 h 747096"/>
                <a:gd name="connsiteX46" fmla="*/ 373632 w 5306200"/>
                <a:gd name="connsiteY46" fmla="*/ 496141 h 747096"/>
                <a:gd name="connsiteX47" fmla="*/ 192723 w 5306200"/>
                <a:gd name="connsiteY47" fmla="*/ 467187 h 747096"/>
                <a:gd name="connsiteX48" fmla="*/ 0 w 5306200"/>
                <a:gd name="connsiteY4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31315 w 5306200"/>
                <a:gd name="connsiteY9" fmla="*/ 142484 h 747096"/>
                <a:gd name="connsiteX10" fmla="*/ 803429 w 5306200"/>
                <a:gd name="connsiteY10" fmla="*/ 147111 h 747096"/>
                <a:gd name="connsiteX11" fmla="*/ 861120 w 5306200"/>
                <a:gd name="connsiteY11" fmla="*/ 138458 h 747096"/>
                <a:gd name="connsiteX12" fmla="*/ 953425 w 5306200"/>
                <a:gd name="connsiteY12" fmla="*/ 124035 h 747096"/>
                <a:gd name="connsiteX13" fmla="*/ 1045731 w 5306200"/>
                <a:gd name="connsiteY13" fmla="*/ 112497 h 747096"/>
                <a:gd name="connsiteX14" fmla="*/ 1120729 w 5306200"/>
                <a:gd name="connsiteY14" fmla="*/ 103843 h 747096"/>
                <a:gd name="connsiteX15" fmla="*/ 1187073 w 5306200"/>
                <a:gd name="connsiteY15" fmla="*/ 95189 h 747096"/>
                <a:gd name="connsiteX16" fmla="*/ 1285148 w 5306200"/>
                <a:gd name="connsiteY16" fmla="*/ 86536 h 747096"/>
                <a:gd name="connsiteX17" fmla="*/ 1417837 w 5306200"/>
                <a:gd name="connsiteY17" fmla="*/ 77882 h 747096"/>
                <a:gd name="connsiteX18" fmla="*/ 1616870 w 5306200"/>
                <a:gd name="connsiteY18" fmla="*/ 63460 h 747096"/>
                <a:gd name="connsiteX19" fmla="*/ 1836095 w 5306200"/>
                <a:gd name="connsiteY19" fmla="*/ 54806 h 747096"/>
                <a:gd name="connsiteX20" fmla="*/ 2038013 w 5306200"/>
                <a:gd name="connsiteY20" fmla="*/ 43268 h 747096"/>
                <a:gd name="connsiteX21" fmla="*/ 2213970 w 5306200"/>
                <a:gd name="connsiteY21" fmla="*/ 34614 h 747096"/>
                <a:gd name="connsiteX22" fmla="*/ 2441849 w 5306200"/>
                <a:gd name="connsiteY22" fmla="*/ 25960 h 747096"/>
                <a:gd name="connsiteX23" fmla="*/ 2764918 w 5306200"/>
                <a:gd name="connsiteY23" fmla="*/ 20191 h 747096"/>
                <a:gd name="connsiteX24" fmla="*/ 2900491 w 5306200"/>
                <a:gd name="connsiteY24" fmla="*/ 17307 h 747096"/>
                <a:gd name="connsiteX25" fmla="*/ 3027411 w 5306200"/>
                <a:gd name="connsiteY25" fmla="*/ 14422 h 747096"/>
                <a:gd name="connsiteX26" fmla="*/ 3157216 w 5306200"/>
                <a:gd name="connsiteY26" fmla="*/ 11538 h 747096"/>
                <a:gd name="connsiteX27" fmla="*/ 3336057 w 5306200"/>
                <a:gd name="connsiteY27" fmla="*/ 8653 h 747096"/>
                <a:gd name="connsiteX28" fmla="*/ 3506245 w 5306200"/>
                <a:gd name="connsiteY28" fmla="*/ 8653 h 747096"/>
                <a:gd name="connsiteX29" fmla="*/ 3722586 w 5306200"/>
                <a:gd name="connsiteY29" fmla="*/ 11537 h 747096"/>
                <a:gd name="connsiteX30" fmla="*/ 5306200 w 5306200"/>
                <a:gd name="connsiteY30" fmla="*/ 0 h 747096"/>
                <a:gd name="connsiteX31" fmla="*/ 5306200 w 5306200"/>
                <a:gd name="connsiteY31" fmla="*/ 744212 h 747096"/>
                <a:gd name="connsiteX32" fmla="*/ 3177408 w 5306200"/>
                <a:gd name="connsiteY32" fmla="*/ 747096 h 747096"/>
                <a:gd name="connsiteX33" fmla="*/ 2952413 w 5306200"/>
                <a:gd name="connsiteY33" fmla="*/ 747096 h 747096"/>
                <a:gd name="connsiteX34" fmla="*/ 2877415 w 5306200"/>
                <a:gd name="connsiteY34" fmla="*/ 747096 h 747096"/>
                <a:gd name="connsiteX35" fmla="*/ 2551462 w 5306200"/>
                <a:gd name="connsiteY35" fmla="*/ 741327 h 747096"/>
                <a:gd name="connsiteX36" fmla="*/ 2456272 w 5306200"/>
                <a:gd name="connsiteY36" fmla="*/ 735558 h 747096"/>
                <a:gd name="connsiteX37" fmla="*/ 2366851 w 5306200"/>
                <a:gd name="connsiteY37" fmla="*/ 729789 h 747096"/>
                <a:gd name="connsiteX38" fmla="*/ 2263008 w 5306200"/>
                <a:gd name="connsiteY38" fmla="*/ 724020 h 747096"/>
                <a:gd name="connsiteX39" fmla="*/ 2075512 w 5306200"/>
                <a:gd name="connsiteY39" fmla="*/ 706713 h 747096"/>
                <a:gd name="connsiteX40" fmla="*/ 1882248 w 5306200"/>
                <a:gd name="connsiteY40" fmla="*/ 686521 h 747096"/>
                <a:gd name="connsiteX41" fmla="*/ 1697637 w 5306200"/>
                <a:gd name="connsiteY41" fmla="*/ 669213 h 747096"/>
                <a:gd name="connsiteX42" fmla="*/ 1513026 w 5306200"/>
                <a:gd name="connsiteY42" fmla="*/ 652832 h 747096"/>
                <a:gd name="connsiteX43" fmla="*/ 1319762 w 5306200"/>
                <a:gd name="connsiteY43" fmla="*/ 631714 h 747096"/>
                <a:gd name="connsiteX44" fmla="*/ 1063038 w 5306200"/>
                <a:gd name="connsiteY44" fmla="*/ 602869 h 747096"/>
                <a:gd name="connsiteX45" fmla="*/ 538051 w 5306200"/>
                <a:gd name="connsiteY45" fmla="*/ 522102 h 747096"/>
                <a:gd name="connsiteX46" fmla="*/ 373632 w 5306200"/>
                <a:gd name="connsiteY46" fmla="*/ 496141 h 747096"/>
                <a:gd name="connsiteX47" fmla="*/ 192723 w 5306200"/>
                <a:gd name="connsiteY47" fmla="*/ 467187 h 747096"/>
                <a:gd name="connsiteX48" fmla="*/ 0 w 5306200"/>
                <a:gd name="connsiteY4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31315 w 5306200"/>
                <a:gd name="connsiteY9" fmla="*/ 142484 h 747096"/>
                <a:gd name="connsiteX10" fmla="*/ 861120 w 5306200"/>
                <a:gd name="connsiteY10" fmla="*/ 138458 h 747096"/>
                <a:gd name="connsiteX11" fmla="*/ 953425 w 5306200"/>
                <a:gd name="connsiteY11" fmla="*/ 124035 h 747096"/>
                <a:gd name="connsiteX12" fmla="*/ 1045731 w 5306200"/>
                <a:gd name="connsiteY12" fmla="*/ 112497 h 747096"/>
                <a:gd name="connsiteX13" fmla="*/ 1120729 w 5306200"/>
                <a:gd name="connsiteY13" fmla="*/ 103843 h 747096"/>
                <a:gd name="connsiteX14" fmla="*/ 1187073 w 5306200"/>
                <a:gd name="connsiteY14" fmla="*/ 95189 h 747096"/>
                <a:gd name="connsiteX15" fmla="*/ 1285148 w 5306200"/>
                <a:gd name="connsiteY15" fmla="*/ 86536 h 747096"/>
                <a:gd name="connsiteX16" fmla="*/ 1417837 w 5306200"/>
                <a:gd name="connsiteY16" fmla="*/ 77882 h 747096"/>
                <a:gd name="connsiteX17" fmla="*/ 1616870 w 5306200"/>
                <a:gd name="connsiteY17" fmla="*/ 63460 h 747096"/>
                <a:gd name="connsiteX18" fmla="*/ 1836095 w 5306200"/>
                <a:gd name="connsiteY18" fmla="*/ 54806 h 747096"/>
                <a:gd name="connsiteX19" fmla="*/ 2038013 w 5306200"/>
                <a:gd name="connsiteY19" fmla="*/ 43268 h 747096"/>
                <a:gd name="connsiteX20" fmla="*/ 2213970 w 5306200"/>
                <a:gd name="connsiteY20" fmla="*/ 34614 h 747096"/>
                <a:gd name="connsiteX21" fmla="*/ 2441849 w 5306200"/>
                <a:gd name="connsiteY21" fmla="*/ 25960 h 747096"/>
                <a:gd name="connsiteX22" fmla="*/ 2764918 w 5306200"/>
                <a:gd name="connsiteY22" fmla="*/ 20191 h 747096"/>
                <a:gd name="connsiteX23" fmla="*/ 2900491 w 5306200"/>
                <a:gd name="connsiteY23" fmla="*/ 17307 h 747096"/>
                <a:gd name="connsiteX24" fmla="*/ 3027411 w 5306200"/>
                <a:gd name="connsiteY24" fmla="*/ 14422 h 747096"/>
                <a:gd name="connsiteX25" fmla="*/ 3157216 w 5306200"/>
                <a:gd name="connsiteY25" fmla="*/ 11538 h 747096"/>
                <a:gd name="connsiteX26" fmla="*/ 3336057 w 5306200"/>
                <a:gd name="connsiteY26" fmla="*/ 8653 h 747096"/>
                <a:gd name="connsiteX27" fmla="*/ 3506245 w 5306200"/>
                <a:gd name="connsiteY27" fmla="*/ 8653 h 747096"/>
                <a:gd name="connsiteX28" fmla="*/ 3722586 w 5306200"/>
                <a:gd name="connsiteY28" fmla="*/ 11537 h 747096"/>
                <a:gd name="connsiteX29" fmla="*/ 5306200 w 5306200"/>
                <a:gd name="connsiteY29" fmla="*/ 0 h 747096"/>
                <a:gd name="connsiteX30" fmla="*/ 5306200 w 5306200"/>
                <a:gd name="connsiteY30" fmla="*/ 744212 h 747096"/>
                <a:gd name="connsiteX31" fmla="*/ 3177408 w 5306200"/>
                <a:gd name="connsiteY31" fmla="*/ 747096 h 747096"/>
                <a:gd name="connsiteX32" fmla="*/ 2952413 w 5306200"/>
                <a:gd name="connsiteY32" fmla="*/ 747096 h 747096"/>
                <a:gd name="connsiteX33" fmla="*/ 2877415 w 5306200"/>
                <a:gd name="connsiteY33" fmla="*/ 747096 h 747096"/>
                <a:gd name="connsiteX34" fmla="*/ 2551462 w 5306200"/>
                <a:gd name="connsiteY34" fmla="*/ 741327 h 747096"/>
                <a:gd name="connsiteX35" fmla="*/ 2456272 w 5306200"/>
                <a:gd name="connsiteY35" fmla="*/ 735558 h 747096"/>
                <a:gd name="connsiteX36" fmla="*/ 2366851 w 5306200"/>
                <a:gd name="connsiteY36" fmla="*/ 729789 h 747096"/>
                <a:gd name="connsiteX37" fmla="*/ 2263008 w 5306200"/>
                <a:gd name="connsiteY37" fmla="*/ 724020 h 747096"/>
                <a:gd name="connsiteX38" fmla="*/ 2075512 w 5306200"/>
                <a:gd name="connsiteY38" fmla="*/ 706713 h 747096"/>
                <a:gd name="connsiteX39" fmla="*/ 1882248 w 5306200"/>
                <a:gd name="connsiteY39" fmla="*/ 686521 h 747096"/>
                <a:gd name="connsiteX40" fmla="*/ 1697637 w 5306200"/>
                <a:gd name="connsiteY40" fmla="*/ 669213 h 747096"/>
                <a:gd name="connsiteX41" fmla="*/ 1513026 w 5306200"/>
                <a:gd name="connsiteY41" fmla="*/ 652832 h 747096"/>
                <a:gd name="connsiteX42" fmla="*/ 1319762 w 5306200"/>
                <a:gd name="connsiteY42" fmla="*/ 631714 h 747096"/>
                <a:gd name="connsiteX43" fmla="*/ 1063038 w 5306200"/>
                <a:gd name="connsiteY43" fmla="*/ 602869 h 747096"/>
                <a:gd name="connsiteX44" fmla="*/ 538051 w 5306200"/>
                <a:gd name="connsiteY44" fmla="*/ 522102 h 747096"/>
                <a:gd name="connsiteX45" fmla="*/ 373632 w 5306200"/>
                <a:gd name="connsiteY45" fmla="*/ 496141 h 747096"/>
                <a:gd name="connsiteX46" fmla="*/ 192723 w 5306200"/>
                <a:gd name="connsiteY46" fmla="*/ 467187 h 747096"/>
                <a:gd name="connsiteX47" fmla="*/ 0 w 5306200"/>
                <a:gd name="connsiteY47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31315 w 5306200"/>
                <a:gd name="connsiteY9" fmla="*/ 142484 h 747096"/>
                <a:gd name="connsiteX10" fmla="*/ 864930 w 5306200"/>
                <a:gd name="connsiteY10" fmla="*/ 119408 h 747096"/>
                <a:gd name="connsiteX11" fmla="*/ 953425 w 5306200"/>
                <a:gd name="connsiteY11" fmla="*/ 124035 h 747096"/>
                <a:gd name="connsiteX12" fmla="*/ 1045731 w 5306200"/>
                <a:gd name="connsiteY12" fmla="*/ 112497 h 747096"/>
                <a:gd name="connsiteX13" fmla="*/ 1120729 w 5306200"/>
                <a:gd name="connsiteY13" fmla="*/ 103843 h 747096"/>
                <a:gd name="connsiteX14" fmla="*/ 1187073 w 5306200"/>
                <a:gd name="connsiteY14" fmla="*/ 95189 h 747096"/>
                <a:gd name="connsiteX15" fmla="*/ 1285148 w 5306200"/>
                <a:gd name="connsiteY15" fmla="*/ 86536 h 747096"/>
                <a:gd name="connsiteX16" fmla="*/ 1417837 w 5306200"/>
                <a:gd name="connsiteY16" fmla="*/ 77882 h 747096"/>
                <a:gd name="connsiteX17" fmla="*/ 1616870 w 5306200"/>
                <a:gd name="connsiteY17" fmla="*/ 63460 h 747096"/>
                <a:gd name="connsiteX18" fmla="*/ 1836095 w 5306200"/>
                <a:gd name="connsiteY18" fmla="*/ 54806 h 747096"/>
                <a:gd name="connsiteX19" fmla="*/ 2038013 w 5306200"/>
                <a:gd name="connsiteY19" fmla="*/ 43268 h 747096"/>
                <a:gd name="connsiteX20" fmla="*/ 2213970 w 5306200"/>
                <a:gd name="connsiteY20" fmla="*/ 34614 h 747096"/>
                <a:gd name="connsiteX21" fmla="*/ 2441849 w 5306200"/>
                <a:gd name="connsiteY21" fmla="*/ 25960 h 747096"/>
                <a:gd name="connsiteX22" fmla="*/ 2764918 w 5306200"/>
                <a:gd name="connsiteY22" fmla="*/ 20191 h 747096"/>
                <a:gd name="connsiteX23" fmla="*/ 2900491 w 5306200"/>
                <a:gd name="connsiteY23" fmla="*/ 17307 h 747096"/>
                <a:gd name="connsiteX24" fmla="*/ 3027411 w 5306200"/>
                <a:gd name="connsiteY24" fmla="*/ 14422 h 747096"/>
                <a:gd name="connsiteX25" fmla="*/ 3157216 w 5306200"/>
                <a:gd name="connsiteY25" fmla="*/ 11538 h 747096"/>
                <a:gd name="connsiteX26" fmla="*/ 3336057 w 5306200"/>
                <a:gd name="connsiteY26" fmla="*/ 8653 h 747096"/>
                <a:gd name="connsiteX27" fmla="*/ 3506245 w 5306200"/>
                <a:gd name="connsiteY27" fmla="*/ 8653 h 747096"/>
                <a:gd name="connsiteX28" fmla="*/ 3722586 w 5306200"/>
                <a:gd name="connsiteY28" fmla="*/ 11537 h 747096"/>
                <a:gd name="connsiteX29" fmla="*/ 5306200 w 5306200"/>
                <a:gd name="connsiteY29" fmla="*/ 0 h 747096"/>
                <a:gd name="connsiteX30" fmla="*/ 5306200 w 5306200"/>
                <a:gd name="connsiteY30" fmla="*/ 744212 h 747096"/>
                <a:gd name="connsiteX31" fmla="*/ 3177408 w 5306200"/>
                <a:gd name="connsiteY31" fmla="*/ 747096 h 747096"/>
                <a:gd name="connsiteX32" fmla="*/ 2952413 w 5306200"/>
                <a:gd name="connsiteY32" fmla="*/ 747096 h 747096"/>
                <a:gd name="connsiteX33" fmla="*/ 2877415 w 5306200"/>
                <a:gd name="connsiteY33" fmla="*/ 747096 h 747096"/>
                <a:gd name="connsiteX34" fmla="*/ 2551462 w 5306200"/>
                <a:gd name="connsiteY34" fmla="*/ 741327 h 747096"/>
                <a:gd name="connsiteX35" fmla="*/ 2456272 w 5306200"/>
                <a:gd name="connsiteY35" fmla="*/ 735558 h 747096"/>
                <a:gd name="connsiteX36" fmla="*/ 2366851 w 5306200"/>
                <a:gd name="connsiteY36" fmla="*/ 729789 h 747096"/>
                <a:gd name="connsiteX37" fmla="*/ 2263008 w 5306200"/>
                <a:gd name="connsiteY37" fmla="*/ 724020 h 747096"/>
                <a:gd name="connsiteX38" fmla="*/ 2075512 w 5306200"/>
                <a:gd name="connsiteY38" fmla="*/ 706713 h 747096"/>
                <a:gd name="connsiteX39" fmla="*/ 1882248 w 5306200"/>
                <a:gd name="connsiteY39" fmla="*/ 686521 h 747096"/>
                <a:gd name="connsiteX40" fmla="*/ 1697637 w 5306200"/>
                <a:gd name="connsiteY40" fmla="*/ 669213 h 747096"/>
                <a:gd name="connsiteX41" fmla="*/ 1513026 w 5306200"/>
                <a:gd name="connsiteY41" fmla="*/ 652832 h 747096"/>
                <a:gd name="connsiteX42" fmla="*/ 1319762 w 5306200"/>
                <a:gd name="connsiteY42" fmla="*/ 631714 h 747096"/>
                <a:gd name="connsiteX43" fmla="*/ 1063038 w 5306200"/>
                <a:gd name="connsiteY43" fmla="*/ 602869 h 747096"/>
                <a:gd name="connsiteX44" fmla="*/ 538051 w 5306200"/>
                <a:gd name="connsiteY44" fmla="*/ 522102 h 747096"/>
                <a:gd name="connsiteX45" fmla="*/ 373632 w 5306200"/>
                <a:gd name="connsiteY45" fmla="*/ 496141 h 747096"/>
                <a:gd name="connsiteX46" fmla="*/ 192723 w 5306200"/>
                <a:gd name="connsiteY46" fmla="*/ 467187 h 747096"/>
                <a:gd name="connsiteX47" fmla="*/ 0 w 5306200"/>
                <a:gd name="connsiteY47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31315 w 5306200"/>
                <a:gd name="connsiteY9" fmla="*/ 142484 h 747096"/>
                <a:gd name="connsiteX10" fmla="*/ 864930 w 5306200"/>
                <a:gd name="connsiteY10" fmla="*/ 119408 h 747096"/>
                <a:gd name="connsiteX11" fmla="*/ 961045 w 5306200"/>
                <a:gd name="connsiteY11" fmla="*/ 97365 h 747096"/>
                <a:gd name="connsiteX12" fmla="*/ 1045731 w 5306200"/>
                <a:gd name="connsiteY12" fmla="*/ 112497 h 747096"/>
                <a:gd name="connsiteX13" fmla="*/ 1120729 w 5306200"/>
                <a:gd name="connsiteY13" fmla="*/ 103843 h 747096"/>
                <a:gd name="connsiteX14" fmla="*/ 1187073 w 5306200"/>
                <a:gd name="connsiteY14" fmla="*/ 95189 h 747096"/>
                <a:gd name="connsiteX15" fmla="*/ 1285148 w 5306200"/>
                <a:gd name="connsiteY15" fmla="*/ 86536 h 747096"/>
                <a:gd name="connsiteX16" fmla="*/ 1417837 w 5306200"/>
                <a:gd name="connsiteY16" fmla="*/ 77882 h 747096"/>
                <a:gd name="connsiteX17" fmla="*/ 1616870 w 5306200"/>
                <a:gd name="connsiteY17" fmla="*/ 63460 h 747096"/>
                <a:gd name="connsiteX18" fmla="*/ 1836095 w 5306200"/>
                <a:gd name="connsiteY18" fmla="*/ 54806 h 747096"/>
                <a:gd name="connsiteX19" fmla="*/ 2038013 w 5306200"/>
                <a:gd name="connsiteY19" fmla="*/ 43268 h 747096"/>
                <a:gd name="connsiteX20" fmla="*/ 2213970 w 5306200"/>
                <a:gd name="connsiteY20" fmla="*/ 34614 h 747096"/>
                <a:gd name="connsiteX21" fmla="*/ 2441849 w 5306200"/>
                <a:gd name="connsiteY21" fmla="*/ 25960 h 747096"/>
                <a:gd name="connsiteX22" fmla="*/ 2764918 w 5306200"/>
                <a:gd name="connsiteY22" fmla="*/ 20191 h 747096"/>
                <a:gd name="connsiteX23" fmla="*/ 2900491 w 5306200"/>
                <a:gd name="connsiteY23" fmla="*/ 17307 h 747096"/>
                <a:gd name="connsiteX24" fmla="*/ 3027411 w 5306200"/>
                <a:gd name="connsiteY24" fmla="*/ 14422 h 747096"/>
                <a:gd name="connsiteX25" fmla="*/ 3157216 w 5306200"/>
                <a:gd name="connsiteY25" fmla="*/ 11538 h 747096"/>
                <a:gd name="connsiteX26" fmla="*/ 3336057 w 5306200"/>
                <a:gd name="connsiteY26" fmla="*/ 8653 h 747096"/>
                <a:gd name="connsiteX27" fmla="*/ 3506245 w 5306200"/>
                <a:gd name="connsiteY27" fmla="*/ 8653 h 747096"/>
                <a:gd name="connsiteX28" fmla="*/ 3722586 w 5306200"/>
                <a:gd name="connsiteY28" fmla="*/ 11537 h 747096"/>
                <a:gd name="connsiteX29" fmla="*/ 5306200 w 5306200"/>
                <a:gd name="connsiteY29" fmla="*/ 0 h 747096"/>
                <a:gd name="connsiteX30" fmla="*/ 5306200 w 5306200"/>
                <a:gd name="connsiteY30" fmla="*/ 744212 h 747096"/>
                <a:gd name="connsiteX31" fmla="*/ 3177408 w 5306200"/>
                <a:gd name="connsiteY31" fmla="*/ 747096 h 747096"/>
                <a:gd name="connsiteX32" fmla="*/ 2952413 w 5306200"/>
                <a:gd name="connsiteY32" fmla="*/ 747096 h 747096"/>
                <a:gd name="connsiteX33" fmla="*/ 2877415 w 5306200"/>
                <a:gd name="connsiteY33" fmla="*/ 747096 h 747096"/>
                <a:gd name="connsiteX34" fmla="*/ 2551462 w 5306200"/>
                <a:gd name="connsiteY34" fmla="*/ 741327 h 747096"/>
                <a:gd name="connsiteX35" fmla="*/ 2456272 w 5306200"/>
                <a:gd name="connsiteY35" fmla="*/ 735558 h 747096"/>
                <a:gd name="connsiteX36" fmla="*/ 2366851 w 5306200"/>
                <a:gd name="connsiteY36" fmla="*/ 729789 h 747096"/>
                <a:gd name="connsiteX37" fmla="*/ 2263008 w 5306200"/>
                <a:gd name="connsiteY37" fmla="*/ 724020 h 747096"/>
                <a:gd name="connsiteX38" fmla="*/ 2075512 w 5306200"/>
                <a:gd name="connsiteY38" fmla="*/ 706713 h 747096"/>
                <a:gd name="connsiteX39" fmla="*/ 1882248 w 5306200"/>
                <a:gd name="connsiteY39" fmla="*/ 686521 h 747096"/>
                <a:gd name="connsiteX40" fmla="*/ 1697637 w 5306200"/>
                <a:gd name="connsiteY40" fmla="*/ 669213 h 747096"/>
                <a:gd name="connsiteX41" fmla="*/ 1513026 w 5306200"/>
                <a:gd name="connsiteY41" fmla="*/ 652832 h 747096"/>
                <a:gd name="connsiteX42" fmla="*/ 1319762 w 5306200"/>
                <a:gd name="connsiteY42" fmla="*/ 631714 h 747096"/>
                <a:gd name="connsiteX43" fmla="*/ 1063038 w 5306200"/>
                <a:gd name="connsiteY43" fmla="*/ 602869 h 747096"/>
                <a:gd name="connsiteX44" fmla="*/ 538051 w 5306200"/>
                <a:gd name="connsiteY44" fmla="*/ 522102 h 747096"/>
                <a:gd name="connsiteX45" fmla="*/ 373632 w 5306200"/>
                <a:gd name="connsiteY45" fmla="*/ 496141 h 747096"/>
                <a:gd name="connsiteX46" fmla="*/ 192723 w 5306200"/>
                <a:gd name="connsiteY46" fmla="*/ 467187 h 747096"/>
                <a:gd name="connsiteX47" fmla="*/ 0 w 5306200"/>
                <a:gd name="connsiteY47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31315 w 5306200"/>
                <a:gd name="connsiteY9" fmla="*/ 142484 h 747096"/>
                <a:gd name="connsiteX10" fmla="*/ 864930 w 5306200"/>
                <a:gd name="connsiteY10" fmla="*/ 119408 h 747096"/>
                <a:gd name="connsiteX11" fmla="*/ 961045 w 5306200"/>
                <a:gd name="connsiteY11" fmla="*/ 97365 h 747096"/>
                <a:gd name="connsiteX12" fmla="*/ 1041921 w 5306200"/>
                <a:gd name="connsiteY12" fmla="*/ 97257 h 747096"/>
                <a:gd name="connsiteX13" fmla="*/ 1120729 w 5306200"/>
                <a:gd name="connsiteY13" fmla="*/ 103843 h 747096"/>
                <a:gd name="connsiteX14" fmla="*/ 1187073 w 5306200"/>
                <a:gd name="connsiteY14" fmla="*/ 95189 h 747096"/>
                <a:gd name="connsiteX15" fmla="*/ 1285148 w 5306200"/>
                <a:gd name="connsiteY15" fmla="*/ 86536 h 747096"/>
                <a:gd name="connsiteX16" fmla="*/ 1417837 w 5306200"/>
                <a:gd name="connsiteY16" fmla="*/ 77882 h 747096"/>
                <a:gd name="connsiteX17" fmla="*/ 1616870 w 5306200"/>
                <a:gd name="connsiteY17" fmla="*/ 63460 h 747096"/>
                <a:gd name="connsiteX18" fmla="*/ 1836095 w 5306200"/>
                <a:gd name="connsiteY18" fmla="*/ 54806 h 747096"/>
                <a:gd name="connsiteX19" fmla="*/ 2038013 w 5306200"/>
                <a:gd name="connsiteY19" fmla="*/ 43268 h 747096"/>
                <a:gd name="connsiteX20" fmla="*/ 2213970 w 5306200"/>
                <a:gd name="connsiteY20" fmla="*/ 34614 h 747096"/>
                <a:gd name="connsiteX21" fmla="*/ 2441849 w 5306200"/>
                <a:gd name="connsiteY21" fmla="*/ 25960 h 747096"/>
                <a:gd name="connsiteX22" fmla="*/ 2764918 w 5306200"/>
                <a:gd name="connsiteY22" fmla="*/ 20191 h 747096"/>
                <a:gd name="connsiteX23" fmla="*/ 2900491 w 5306200"/>
                <a:gd name="connsiteY23" fmla="*/ 17307 h 747096"/>
                <a:gd name="connsiteX24" fmla="*/ 3027411 w 5306200"/>
                <a:gd name="connsiteY24" fmla="*/ 14422 h 747096"/>
                <a:gd name="connsiteX25" fmla="*/ 3157216 w 5306200"/>
                <a:gd name="connsiteY25" fmla="*/ 11538 h 747096"/>
                <a:gd name="connsiteX26" fmla="*/ 3336057 w 5306200"/>
                <a:gd name="connsiteY26" fmla="*/ 8653 h 747096"/>
                <a:gd name="connsiteX27" fmla="*/ 3506245 w 5306200"/>
                <a:gd name="connsiteY27" fmla="*/ 8653 h 747096"/>
                <a:gd name="connsiteX28" fmla="*/ 3722586 w 5306200"/>
                <a:gd name="connsiteY28" fmla="*/ 11537 h 747096"/>
                <a:gd name="connsiteX29" fmla="*/ 5306200 w 5306200"/>
                <a:gd name="connsiteY29" fmla="*/ 0 h 747096"/>
                <a:gd name="connsiteX30" fmla="*/ 5306200 w 5306200"/>
                <a:gd name="connsiteY30" fmla="*/ 744212 h 747096"/>
                <a:gd name="connsiteX31" fmla="*/ 3177408 w 5306200"/>
                <a:gd name="connsiteY31" fmla="*/ 747096 h 747096"/>
                <a:gd name="connsiteX32" fmla="*/ 2952413 w 5306200"/>
                <a:gd name="connsiteY32" fmla="*/ 747096 h 747096"/>
                <a:gd name="connsiteX33" fmla="*/ 2877415 w 5306200"/>
                <a:gd name="connsiteY33" fmla="*/ 747096 h 747096"/>
                <a:gd name="connsiteX34" fmla="*/ 2551462 w 5306200"/>
                <a:gd name="connsiteY34" fmla="*/ 741327 h 747096"/>
                <a:gd name="connsiteX35" fmla="*/ 2456272 w 5306200"/>
                <a:gd name="connsiteY35" fmla="*/ 735558 h 747096"/>
                <a:gd name="connsiteX36" fmla="*/ 2366851 w 5306200"/>
                <a:gd name="connsiteY36" fmla="*/ 729789 h 747096"/>
                <a:gd name="connsiteX37" fmla="*/ 2263008 w 5306200"/>
                <a:gd name="connsiteY37" fmla="*/ 724020 h 747096"/>
                <a:gd name="connsiteX38" fmla="*/ 2075512 w 5306200"/>
                <a:gd name="connsiteY38" fmla="*/ 706713 h 747096"/>
                <a:gd name="connsiteX39" fmla="*/ 1882248 w 5306200"/>
                <a:gd name="connsiteY39" fmla="*/ 686521 h 747096"/>
                <a:gd name="connsiteX40" fmla="*/ 1697637 w 5306200"/>
                <a:gd name="connsiteY40" fmla="*/ 669213 h 747096"/>
                <a:gd name="connsiteX41" fmla="*/ 1513026 w 5306200"/>
                <a:gd name="connsiteY41" fmla="*/ 652832 h 747096"/>
                <a:gd name="connsiteX42" fmla="*/ 1319762 w 5306200"/>
                <a:gd name="connsiteY42" fmla="*/ 631714 h 747096"/>
                <a:gd name="connsiteX43" fmla="*/ 1063038 w 5306200"/>
                <a:gd name="connsiteY43" fmla="*/ 602869 h 747096"/>
                <a:gd name="connsiteX44" fmla="*/ 538051 w 5306200"/>
                <a:gd name="connsiteY44" fmla="*/ 522102 h 747096"/>
                <a:gd name="connsiteX45" fmla="*/ 373632 w 5306200"/>
                <a:gd name="connsiteY45" fmla="*/ 496141 h 747096"/>
                <a:gd name="connsiteX46" fmla="*/ 192723 w 5306200"/>
                <a:gd name="connsiteY46" fmla="*/ 467187 h 747096"/>
                <a:gd name="connsiteX47" fmla="*/ 0 w 5306200"/>
                <a:gd name="connsiteY47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31315 w 5306200"/>
                <a:gd name="connsiteY9" fmla="*/ 142484 h 747096"/>
                <a:gd name="connsiteX10" fmla="*/ 864930 w 5306200"/>
                <a:gd name="connsiteY10" fmla="*/ 119408 h 747096"/>
                <a:gd name="connsiteX11" fmla="*/ 961045 w 5306200"/>
                <a:gd name="connsiteY11" fmla="*/ 97365 h 747096"/>
                <a:gd name="connsiteX12" fmla="*/ 1041921 w 5306200"/>
                <a:gd name="connsiteY12" fmla="*/ 97257 h 747096"/>
                <a:gd name="connsiteX13" fmla="*/ 1128349 w 5306200"/>
                <a:gd name="connsiteY13" fmla="*/ 88603 h 747096"/>
                <a:gd name="connsiteX14" fmla="*/ 1187073 w 5306200"/>
                <a:gd name="connsiteY14" fmla="*/ 95189 h 747096"/>
                <a:gd name="connsiteX15" fmla="*/ 1285148 w 5306200"/>
                <a:gd name="connsiteY15" fmla="*/ 86536 h 747096"/>
                <a:gd name="connsiteX16" fmla="*/ 1417837 w 5306200"/>
                <a:gd name="connsiteY16" fmla="*/ 77882 h 747096"/>
                <a:gd name="connsiteX17" fmla="*/ 1616870 w 5306200"/>
                <a:gd name="connsiteY17" fmla="*/ 63460 h 747096"/>
                <a:gd name="connsiteX18" fmla="*/ 1836095 w 5306200"/>
                <a:gd name="connsiteY18" fmla="*/ 54806 h 747096"/>
                <a:gd name="connsiteX19" fmla="*/ 2038013 w 5306200"/>
                <a:gd name="connsiteY19" fmla="*/ 43268 h 747096"/>
                <a:gd name="connsiteX20" fmla="*/ 2213970 w 5306200"/>
                <a:gd name="connsiteY20" fmla="*/ 34614 h 747096"/>
                <a:gd name="connsiteX21" fmla="*/ 2441849 w 5306200"/>
                <a:gd name="connsiteY21" fmla="*/ 25960 h 747096"/>
                <a:gd name="connsiteX22" fmla="*/ 2764918 w 5306200"/>
                <a:gd name="connsiteY22" fmla="*/ 20191 h 747096"/>
                <a:gd name="connsiteX23" fmla="*/ 2900491 w 5306200"/>
                <a:gd name="connsiteY23" fmla="*/ 17307 h 747096"/>
                <a:gd name="connsiteX24" fmla="*/ 3027411 w 5306200"/>
                <a:gd name="connsiteY24" fmla="*/ 14422 h 747096"/>
                <a:gd name="connsiteX25" fmla="*/ 3157216 w 5306200"/>
                <a:gd name="connsiteY25" fmla="*/ 11538 h 747096"/>
                <a:gd name="connsiteX26" fmla="*/ 3336057 w 5306200"/>
                <a:gd name="connsiteY26" fmla="*/ 8653 h 747096"/>
                <a:gd name="connsiteX27" fmla="*/ 3506245 w 5306200"/>
                <a:gd name="connsiteY27" fmla="*/ 8653 h 747096"/>
                <a:gd name="connsiteX28" fmla="*/ 3722586 w 5306200"/>
                <a:gd name="connsiteY28" fmla="*/ 11537 h 747096"/>
                <a:gd name="connsiteX29" fmla="*/ 5306200 w 5306200"/>
                <a:gd name="connsiteY29" fmla="*/ 0 h 747096"/>
                <a:gd name="connsiteX30" fmla="*/ 5306200 w 5306200"/>
                <a:gd name="connsiteY30" fmla="*/ 744212 h 747096"/>
                <a:gd name="connsiteX31" fmla="*/ 3177408 w 5306200"/>
                <a:gd name="connsiteY31" fmla="*/ 747096 h 747096"/>
                <a:gd name="connsiteX32" fmla="*/ 2952413 w 5306200"/>
                <a:gd name="connsiteY32" fmla="*/ 747096 h 747096"/>
                <a:gd name="connsiteX33" fmla="*/ 2877415 w 5306200"/>
                <a:gd name="connsiteY33" fmla="*/ 747096 h 747096"/>
                <a:gd name="connsiteX34" fmla="*/ 2551462 w 5306200"/>
                <a:gd name="connsiteY34" fmla="*/ 741327 h 747096"/>
                <a:gd name="connsiteX35" fmla="*/ 2456272 w 5306200"/>
                <a:gd name="connsiteY35" fmla="*/ 735558 h 747096"/>
                <a:gd name="connsiteX36" fmla="*/ 2366851 w 5306200"/>
                <a:gd name="connsiteY36" fmla="*/ 729789 h 747096"/>
                <a:gd name="connsiteX37" fmla="*/ 2263008 w 5306200"/>
                <a:gd name="connsiteY37" fmla="*/ 724020 h 747096"/>
                <a:gd name="connsiteX38" fmla="*/ 2075512 w 5306200"/>
                <a:gd name="connsiteY38" fmla="*/ 706713 h 747096"/>
                <a:gd name="connsiteX39" fmla="*/ 1882248 w 5306200"/>
                <a:gd name="connsiteY39" fmla="*/ 686521 h 747096"/>
                <a:gd name="connsiteX40" fmla="*/ 1697637 w 5306200"/>
                <a:gd name="connsiteY40" fmla="*/ 669213 h 747096"/>
                <a:gd name="connsiteX41" fmla="*/ 1513026 w 5306200"/>
                <a:gd name="connsiteY41" fmla="*/ 652832 h 747096"/>
                <a:gd name="connsiteX42" fmla="*/ 1319762 w 5306200"/>
                <a:gd name="connsiteY42" fmla="*/ 631714 h 747096"/>
                <a:gd name="connsiteX43" fmla="*/ 1063038 w 5306200"/>
                <a:gd name="connsiteY43" fmla="*/ 602869 h 747096"/>
                <a:gd name="connsiteX44" fmla="*/ 538051 w 5306200"/>
                <a:gd name="connsiteY44" fmla="*/ 522102 h 747096"/>
                <a:gd name="connsiteX45" fmla="*/ 373632 w 5306200"/>
                <a:gd name="connsiteY45" fmla="*/ 496141 h 747096"/>
                <a:gd name="connsiteX46" fmla="*/ 192723 w 5306200"/>
                <a:gd name="connsiteY46" fmla="*/ 467187 h 747096"/>
                <a:gd name="connsiteX47" fmla="*/ 0 w 5306200"/>
                <a:gd name="connsiteY47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31315 w 5306200"/>
                <a:gd name="connsiteY9" fmla="*/ 142484 h 747096"/>
                <a:gd name="connsiteX10" fmla="*/ 864930 w 5306200"/>
                <a:gd name="connsiteY10" fmla="*/ 119408 h 747096"/>
                <a:gd name="connsiteX11" fmla="*/ 961045 w 5306200"/>
                <a:gd name="connsiteY11" fmla="*/ 97365 h 747096"/>
                <a:gd name="connsiteX12" fmla="*/ 1041921 w 5306200"/>
                <a:gd name="connsiteY12" fmla="*/ 97257 h 747096"/>
                <a:gd name="connsiteX13" fmla="*/ 1128349 w 5306200"/>
                <a:gd name="connsiteY13" fmla="*/ 88603 h 747096"/>
                <a:gd name="connsiteX14" fmla="*/ 1194693 w 5306200"/>
                <a:gd name="connsiteY14" fmla="*/ 83759 h 747096"/>
                <a:gd name="connsiteX15" fmla="*/ 1285148 w 5306200"/>
                <a:gd name="connsiteY15" fmla="*/ 86536 h 747096"/>
                <a:gd name="connsiteX16" fmla="*/ 1417837 w 5306200"/>
                <a:gd name="connsiteY16" fmla="*/ 77882 h 747096"/>
                <a:gd name="connsiteX17" fmla="*/ 1616870 w 5306200"/>
                <a:gd name="connsiteY17" fmla="*/ 63460 h 747096"/>
                <a:gd name="connsiteX18" fmla="*/ 1836095 w 5306200"/>
                <a:gd name="connsiteY18" fmla="*/ 54806 h 747096"/>
                <a:gd name="connsiteX19" fmla="*/ 2038013 w 5306200"/>
                <a:gd name="connsiteY19" fmla="*/ 43268 h 747096"/>
                <a:gd name="connsiteX20" fmla="*/ 2213970 w 5306200"/>
                <a:gd name="connsiteY20" fmla="*/ 34614 h 747096"/>
                <a:gd name="connsiteX21" fmla="*/ 2441849 w 5306200"/>
                <a:gd name="connsiteY21" fmla="*/ 25960 h 747096"/>
                <a:gd name="connsiteX22" fmla="*/ 2764918 w 5306200"/>
                <a:gd name="connsiteY22" fmla="*/ 20191 h 747096"/>
                <a:gd name="connsiteX23" fmla="*/ 2900491 w 5306200"/>
                <a:gd name="connsiteY23" fmla="*/ 17307 h 747096"/>
                <a:gd name="connsiteX24" fmla="*/ 3027411 w 5306200"/>
                <a:gd name="connsiteY24" fmla="*/ 14422 h 747096"/>
                <a:gd name="connsiteX25" fmla="*/ 3157216 w 5306200"/>
                <a:gd name="connsiteY25" fmla="*/ 11538 h 747096"/>
                <a:gd name="connsiteX26" fmla="*/ 3336057 w 5306200"/>
                <a:gd name="connsiteY26" fmla="*/ 8653 h 747096"/>
                <a:gd name="connsiteX27" fmla="*/ 3506245 w 5306200"/>
                <a:gd name="connsiteY27" fmla="*/ 8653 h 747096"/>
                <a:gd name="connsiteX28" fmla="*/ 3722586 w 5306200"/>
                <a:gd name="connsiteY28" fmla="*/ 11537 h 747096"/>
                <a:gd name="connsiteX29" fmla="*/ 5306200 w 5306200"/>
                <a:gd name="connsiteY29" fmla="*/ 0 h 747096"/>
                <a:gd name="connsiteX30" fmla="*/ 5306200 w 5306200"/>
                <a:gd name="connsiteY30" fmla="*/ 744212 h 747096"/>
                <a:gd name="connsiteX31" fmla="*/ 3177408 w 5306200"/>
                <a:gd name="connsiteY31" fmla="*/ 747096 h 747096"/>
                <a:gd name="connsiteX32" fmla="*/ 2952413 w 5306200"/>
                <a:gd name="connsiteY32" fmla="*/ 747096 h 747096"/>
                <a:gd name="connsiteX33" fmla="*/ 2877415 w 5306200"/>
                <a:gd name="connsiteY33" fmla="*/ 747096 h 747096"/>
                <a:gd name="connsiteX34" fmla="*/ 2551462 w 5306200"/>
                <a:gd name="connsiteY34" fmla="*/ 741327 h 747096"/>
                <a:gd name="connsiteX35" fmla="*/ 2456272 w 5306200"/>
                <a:gd name="connsiteY35" fmla="*/ 735558 h 747096"/>
                <a:gd name="connsiteX36" fmla="*/ 2366851 w 5306200"/>
                <a:gd name="connsiteY36" fmla="*/ 729789 h 747096"/>
                <a:gd name="connsiteX37" fmla="*/ 2263008 w 5306200"/>
                <a:gd name="connsiteY37" fmla="*/ 724020 h 747096"/>
                <a:gd name="connsiteX38" fmla="*/ 2075512 w 5306200"/>
                <a:gd name="connsiteY38" fmla="*/ 706713 h 747096"/>
                <a:gd name="connsiteX39" fmla="*/ 1882248 w 5306200"/>
                <a:gd name="connsiteY39" fmla="*/ 686521 h 747096"/>
                <a:gd name="connsiteX40" fmla="*/ 1697637 w 5306200"/>
                <a:gd name="connsiteY40" fmla="*/ 669213 h 747096"/>
                <a:gd name="connsiteX41" fmla="*/ 1513026 w 5306200"/>
                <a:gd name="connsiteY41" fmla="*/ 652832 h 747096"/>
                <a:gd name="connsiteX42" fmla="*/ 1319762 w 5306200"/>
                <a:gd name="connsiteY42" fmla="*/ 631714 h 747096"/>
                <a:gd name="connsiteX43" fmla="*/ 1063038 w 5306200"/>
                <a:gd name="connsiteY43" fmla="*/ 602869 h 747096"/>
                <a:gd name="connsiteX44" fmla="*/ 538051 w 5306200"/>
                <a:gd name="connsiteY44" fmla="*/ 522102 h 747096"/>
                <a:gd name="connsiteX45" fmla="*/ 373632 w 5306200"/>
                <a:gd name="connsiteY45" fmla="*/ 496141 h 747096"/>
                <a:gd name="connsiteX46" fmla="*/ 192723 w 5306200"/>
                <a:gd name="connsiteY46" fmla="*/ 467187 h 747096"/>
                <a:gd name="connsiteX47" fmla="*/ 0 w 5306200"/>
                <a:gd name="connsiteY47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31315 w 5306200"/>
                <a:gd name="connsiteY9" fmla="*/ 142484 h 747096"/>
                <a:gd name="connsiteX10" fmla="*/ 857310 w 5306200"/>
                <a:gd name="connsiteY10" fmla="*/ 107978 h 747096"/>
                <a:gd name="connsiteX11" fmla="*/ 961045 w 5306200"/>
                <a:gd name="connsiteY11" fmla="*/ 97365 h 747096"/>
                <a:gd name="connsiteX12" fmla="*/ 1041921 w 5306200"/>
                <a:gd name="connsiteY12" fmla="*/ 97257 h 747096"/>
                <a:gd name="connsiteX13" fmla="*/ 1128349 w 5306200"/>
                <a:gd name="connsiteY13" fmla="*/ 88603 h 747096"/>
                <a:gd name="connsiteX14" fmla="*/ 1194693 w 5306200"/>
                <a:gd name="connsiteY14" fmla="*/ 83759 h 747096"/>
                <a:gd name="connsiteX15" fmla="*/ 1285148 w 5306200"/>
                <a:gd name="connsiteY15" fmla="*/ 86536 h 747096"/>
                <a:gd name="connsiteX16" fmla="*/ 1417837 w 5306200"/>
                <a:gd name="connsiteY16" fmla="*/ 77882 h 747096"/>
                <a:gd name="connsiteX17" fmla="*/ 1616870 w 5306200"/>
                <a:gd name="connsiteY17" fmla="*/ 63460 h 747096"/>
                <a:gd name="connsiteX18" fmla="*/ 1836095 w 5306200"/>
                <a:gd name="connsiteY18" fmla="*/ 54806 h 747096"/>
                <a:gd name="connsiteX19" fmla="*/ 2038013 w 5306200"/>
                <a:gd name="connsiteY19" fmla="*/ 43268 h 747096"/>
                <a:gd name="connsiteX20" fmla="*/ 2213970 w 5306200"/>
                <a:gd name="connsiteY20" fmla="*/ 34614 h 747096"/>
                <a:gd name="connsiteX21" fmla="*/ 2441849 w 5306200"/>
                <a:gd name="connsiteY21" fmla="*/ 25960 h 747096"/>
                <a:gd name="connsiteX22" fmla="*/ 2764918 w 5306200"/>
                <a:gd name="connsiteY22" fmla="*/ 20191 h 747096"/>
                <a:gd name="connsiteX23" fmla="*/ 2900491 w 5306200"/>
                <a:gd name="connsiteY23" fmla="*/ 17307 h 747096"/>
                <a:gd name="connsiteX24" fmla="*/ 3027411 w 5306200"/>
                <a:gd name="connsiteY24" fmla="*/ 14422 h 747096"/>
                <a:gd name="connsiteX25" fmla="*/ 3157216 w 5306200"/>
                <a:gd name="connsiteY25" fmla="*/ 11538 h 747096"/>
                <a:gd name="connsiteX26" fmla="*/ 3336057 w 5306200"/>
                <a:gd name="connsiteY26" fmla="*/ 8653 h 747096"/>
                <a:gd name="connsiteX27" fmla="*/ 3506245 w 5306200"/>
                <a:gd name="connsiteY27" fmla="*/ 8653 h 747096"/>
                <a:gd name="connsiteX28" fmla="*/ 3722586 w 5306200"/>
                <a:gd name="connsiteY28" fmla="*/ 11537 h 747096"/>
                <a:gd name="connsiteX29" fmla="*/ 5306200 w 5306200"/>
                <a:gd name="connsiteY29" fmla="*/ 0 h 747096"/>
                <a:gd name="connsiteX30" fmla="*/ 5306200 w 5306200"/>
                <a:gd name="connsiteY30" fmla="*/ 744212 h 747096"/>
                <a:gd name="connsiteX31" fmla="*/ 3177408 w 5306200"/>
                <a:gd name="connsiteY31" fmla="*/ 747096 h 747096"/>
                <a:gd name="connsiteX32" fmla="*/ 2952413 w 5306200"/>
                <a:gd name="connsiteY32" fmla="*/ 747096 h 747096"/>
                <a:gd name="connsiteX33" fmla="*/ 2877415 w 5306200"/>
                <a:gd name="connsiteY33" fmla="*/ 747096 h 747096"/>
                <a:gd name="connsiteX34" fmla="*/ 2551462 w 5306200"/>
                <a:gd name="connsiteY34" fmla="*/ 741327 h 747096"/>
                <a:gd name="connsiteX35" fmla="*/ 2456272 w 5306200"/>
                <a:gd name="connsiteY35" fmla="*/ 735558 h 747096"/>
                <a:gd name="connsiteX36" fmla="*/ 2366851 w 5306200"/>
                <a:gd name="connsiteY36" fmla="*/ 729789 h 747096"/>
                <a:gd name="connsiteX37" fmla="*/ 2263008 w 5306200"/>
                <a:gd name="connsiteY37" fmla="*/ 724020 h 747096"/>
                <a:gd name="connsiteX38" fmla="*/ 2075512 w 5306200"/>
                <a:gd name="connsiteY38" fmla="*/ 706713 h 747096"/>
                <a:gd name="connsiteX39" fmla="*/ 1882248 w 5306200"/>
                <a:gd name="connsiteY39" fmla="*/ 686521 h 747096"/>
                <a:gd name="connsiteX40" fmla="*/ 1697637 w 5306200"/>
                <a:gd name="connsiteY40" fmla="*/ 669213 h 747096"/>
                <a:gd name="connsiteX41" fmla="*/ 1513026 w 5306200"/>
                <a:gd name="connsiteY41" fmla="*/ 652832 h 747096"/>
                <a:gd name="connsiteX42" fmla="*/ 1319762 w 5306200"/>
                <a:gd name="connsiteY42" fmla="*/ 631714 h 747096"/>
                <a:gd name="connsiteX43" fmla="*/ 1063038 w 5306200"/>
                <a:gd name="connsiteY43" fmla="*/ 602869 h 747096"/>
                <a:gd name="connsiteX44" fmla="*/ 538051 w 5306200"/>
                <a:gd name="connsiteY44" fmla="*/ 522102 h 747096"/>
                <a:gd name="connsiteX45" fmla="*/ 373632 w 5306200"/>
                <a:gd name="connsiteY45" fmla="*/ 496141 h 747096"/>
                <a:gd name="connsiteX46" fmla="*/ 192723 w 5306200"/>
                <a:gd name="connsiteY46" fmla="*/ 467187 h 747096"/>
                <a:gd name="connsiteX47" fmla="*/ 0 w 5306200"/>
                <a:gd name="connsiteY47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54175 w 5306200"/>
                <a:gd name="connsiteY9" fmla="*/ 134864 h 747096"/>
                <a:gd name="connsiteX10" fmla="*/ 857310 w 5306200"/>
                <a:gd name="connsiteY10" fmla="*/ 107978 h 747096"/>
                <a:gd name="connsiteX11" fmla="*/ 961045 w 5306200"/>
                <a:gd name="connsiteY11" fmla="*/ 97365 h 747096"/>
                <a:gd name="connsiteX12" fmla="*/ 1041921 w 5306200"/>
                <a:gd name="connsiteY12" fmla="*/ 97257 h 747096"/>
                <a:gd name="connsiteX13" fmla="*/ 1128349 w 5306200"/>
                <a:gd name="connsiteY13" fmla="*/ 88603 h 747096"/>
                <a:gd name="connsiteX14" fmla="*/ 1194693 w 5306200"/>
                <a:gd name="connsiteY14" fmla="*/ 83759 h 747096"/>
                <a:gd name="connsiteX15" fmla="*/ 1285148 w 5306200"/>
                <a:gd name="connsiteY15" fmla="*/ 86536 h 747096"/>
                <a:gd name="connsiteX16" fmla="*/ 1417837 w 5306200"/>
                <a:gd name="connsiteY16" fmla="*/ 77882 h 747096"/>
                <a:gd name="connsiteX17" fmla="*/ 1616870 w 5306200"/>
                <a:gd name="connsiteY17" fmla="*/ 63460 h 747096"/>
                <a:gd name="connsiteX18" fmla="*/ 1836095 w 5306200"/>
                <a:gd name="connsiteY18" fmla="*/ 54806 h 747096"/>
                <a:gd name="connsiteX19" fmla="*/ 2038013 w 5306200"/>
                <a:gd name="connsiteY19" fmla="*/ 43268 h 747096"/>
                <a:gd name="connsiteX20" fmla="*/ 2213970 w 5306200"/>
                <a:gd name="connsiteY20" fmla="*/ 34614 h 747096"/>
                <a:gd name="connsiteX21" fmla="*/ 2441849 w 5306200"/>
                <a:gd name="connsiteY21" fmla="*/ 25960 h 747096"/>
                <a:gd name="connsiteX22" fmla="*/ 2764918 w 5306200"/>
                <a:gd name="connsiteY22" fmla="*/ 20191 h 747096"/>
                <a:gd name="connsiteX23" fmla="*/ 2900491 w 5306200"/>
                <a:gd name="connsiteY23" fmla="*/ 17307 h 747096"/>
                <a:gd name="connsiteX24" fmla="*/ 3027411 w 5306200"/>
                <a:gd name="connsiteY24" fmla="*/ 14422 h 747096"/>
                <a:gd name="connsiteX25" fmla="*/ 3157216 w 5306200"/>
                <a:gd name="connsiteY25" fmla="*/ 11538 h 747096"/>
                <a:gd name="connsiteX26" fmla="*/ 3336057 w 5306200"/>
                <a:gd name="connsiteY26" fmla="*/ 8653 h 747096"/>
                <a:gd name="connsiteX27" fmla="*/ 3506245 w 5306200"/>
                <a:gd name="connsiteY27" fmla="*/ 8653 h 747096"/>
                <a:gd name="connsiteX28" fmla="*/ 3722586 w 5306200"/>
                <a:gd name="connsiteY28" fmla="*/ 11537 h 747096"/>
                <a:gd name="connsiteX29" fmla="*/ 5306200 w 5306200"/>
                <a:gd name="connsiteY29" fmla="*/ 0 h 747096"/>
                <a:gd name="connsiteX30" fmla="*/ 5306200 w 5306200"/>
                <a:gd name="connsiteY30" fmla="*/ 744212 h 747096"/>
                <a:gd name="connsiteX31" fmla="*/ 3177408 w 5306200"/>
                <a:gd name="connsiteY31" fmla="*/ 747096 h 747096"/>
                <a:gd name="connsiteX32" fmla="*/ 2952413 w 5306200"/>
                <a:gd name="connsiteY32" fmla="*/ 747096 h 747096"/>
                <a:gd name="connsiteX33" fmla="*/ 2877415 w 5306200"/>
                <a:gd name="connsiteY33" fmla="*/ 747096 h 747096"/>
                <a:gd name="connsiteX34" fmla="*/ 2551462 w 5306200"/>
                <a:gd name="connsiteY34" fmla="*/ 741327 h 747096"/>
                <a:gd name="connsiteX35" fmla="*/ 2456272 w 5306200"/>
                <a:gd name="connsiteY35" fmla="*/ 735558 h 747096"/>
                <a:gd name="connsiteX36" fmla="*/ 2366851 w 5306200"/>
                <a:gd name="connsiteY36" fmla="*/ 729789 h 747096"/>
                <a:gd name="connsiteX37" fmla="*/ 2263008 w 5306200"/>
                <a:gd name="connsiteY37" fmla="*/ 724020 h 747096"/>
                <a:gd name="connsiteX38" fmla="*/ 2075512 w 5306200"/>
                <a:gd name="connsiteY38" fmla="*/ 706713 h 747096"/>
                <a:gd name="connsiteX39" fmla="*/ 1882248 w 5306200"/>
                <a:gd name="connsiteY39" fmla="*/ 686521 h 747096"/>
                <a:gd name="connsiteX40" fmla="*/ 1697637 w 5306200"/>
                <a:gd name="connsiteY40" fmla="*/ 669213 h 747096"/>
                <a:gd name="connsiteX41" fmla="*/ 1513026 w 5306200"/>
                <a:gd name="connsiteY41" fmla="*/ 652832 h 747096"/>
                <a:gd name="connsiteX42" fmla="*/ 1319762 w 5306200"/>
                <a:gd name="connsiteY42" fmla="*/ 631714 h 747096"/>
                <a:gd name="connsiteX43" fmla="*/ 1063038 w 5306200"/>
                <a:gd name="connsiteY43" fmla="*/ 602869 h 747096"/>
                <a:gd name="connsiteX44" fmla="*/ 538051 w 5306200"/>
                <a:gd name="connsiteY44" fmla="*/ 522102 h 747096"/>
                <a:gd name="connsiteX45" fmla="*/ 373632 w 5306200"/>
                <a:gd name="connsiteY45" fmla="*/ 496141 h 747096"/>
                <a:gd name="connsiteX46" fmla="*/ 192723 w 5306200"/>
                <a:gd name="connsiteY46" fmla="*/ 467187 h 747096"/>
                <a:gd name="connsiteX47" fmla="*/ 0 w 5306200"/>
                <a:gd name="connsiteY47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754175 w 5306200"/>
                <a:gd name="connsiteY8" fmla="*/ 134864 h 747096"/>
                <a:gd name="connsiteX9" fmla="*/ 857310 w 5306200"/>
                <a:gd name="connsiteY9" fmla="*/ 107978 h 747096"/>
                <a:gd name="connsiteX10" fmla="*/ 961045 w 5306200"/>
                <a:gd name="connsiteY10" fmla="*/ 97365 h 747096"/>
                <a:gd name="connsiteX11" fmla="*/ 1041921 w 5306200"/>
                <a:gd name="connsiteY11" fmla="*/ 97257 h 747096"/>
                <a:gd name="connsiteX12" fmla="*/ 1128349 w 5306200"/>
                <a:gd name="connsiteY12" fmla="*/ 88603 h 747096"/>
                <a:gd name="connsiteX13" fmla="*/ 1194693 w 5306200"/>
                <a:gd name="connsiteY13" fmla="*/ 83759 h 747096"/>
                <a:gd name="connsiteX14" fmla="*/ 1285148 w 5306200"/>
                <a:gd name="connsiteY14" fmla="*/ 86536 h 747096"/>
                <a:gd name="connsiteX15" fmla="*/ 1417837 w 5306200"/>
                <a:gd name="connsiteY15" fmla="*/ 77882 h 747096"/>
                <a:gd name="connsiteX16" fmla="*/ 1616870 w 5306200"/>
                <a:gd name="connsiteY16" fmla="*/ 63460 h 747096"/>
                <a:gd name="connsiteX17" fmla="*/ 1836095 w 5306200"/>
                <a:gd name="connsiteY17" fmla="*/ 54806 h 747096"/>
                <a:gd name="connsiteX18" fmla="*/ 2038013 w 5306200"/>
                <a:gd name="connsiteY18" fmla="*/ 43268 h 747096"/>
                <a:gd name="connsiteX19" fmla="*/ 2213970 w 5306200"/>
                <a:gd name="connsiteY19" fmla="*/ 34614 h 747096"/>
                <a:gd name="connsiteX20" fmla="*/ 2441849 w 5306200"/>
                <a:gd name="connsiteY20" fmla="*/ 25960 h 747096"/>
                <a:gd name="connsiteX21" fmla="*/ 2764918 w 5306200"/>
                <a:gd name="connsiteY21" fmla="*/ 20191 h 747096"/>
                <a:gd name="connsiteX22" fmla="*/ 2900491 w 5306200"/>
                <a:gd name="connsiteY22" fmla="*/ 17307 h 747096"/>
                <a:gd name="connsiteX23" fmla="*/ 3027411 w 5306200"/>
                <a:gd name="connsiteY23" fmla="*/ 14422 h 747096"/>
                <a:gd name="connsiteX24" fmla="*/ 3157216 w 5306200"/>
                <a:gd name="connsiteY24" fmla="*/ 11538 h 747096"/>
                <a:gd name="connsiteX25" fmla="*/ 3336057 w 5306200"/>
                <a:gd name="connsiteY25" fmla="*/ 8653 h 747096"/>
                <a:gd name="connsiteX26" fmla="*/ 3506245 w 5306200"/>
                <a:gd name="connsiteY26" fmla="*/ 8653 h 747096"/>
                <a:gd name="connsiteX27" fmla="*/ 3722586 w 5306200"/>
                <a:gd name="connsiteY27" fmla="*/ 11537 h 747096"/>
                <a:gd name="connsiteX28" fmla="*/ 5306200 w 5306200"/>
                <a:gd name="connsiteY28" fmla="*/ 0 h 747096"/>
                <a:gd name="connsiteX29" fmla="*/ 5306200 w 5306200"/>
                <a:gd name="connsiteY29" fmla="*/ 744212 h 747096"/>
                <a:gd name="connsiteX30" fmla="*/ 3177408 w 5306200"/>
                <a:gd name="connsiteY30" fmla="*/ 747096 h 747096"/>
                <a:gd name="connsiteX31" fmla="*/ 2952413 w 5306200"/>
                <a:gd name="connsiteY31" fmla="*/ 747096 h 747096"/>
                <a:gd name="connsiteX32" fmla="*/ 2877415 w 5306200"/>
                <a:gd name="connsiteY32" fmla="*/ 747096 h 747096"/>
                <a:gd name="connsiteX33" fmla="*/ 2551462 w 5306200"/>
                <a:gd name="connsiteY33" fmla="*/ 741327 h 747096"/>
                <a:gd name="connsiteX34" fmla="*/ 2456272 w 5306200"/>
                <a:gd name="connsiteY34" fmla="*/ 735558 h 747096"/>
                <a:gd name="connsiteX35" fmla="*/ 2366851 w 5306200"/>
                <a:gd name="connsiteY35" fmla="*/ 729789 h 747096"/>
                <a:gd name="connsiteX36" fmla="*/ 2263008 w 5306200"/>
                <a:gd name="connsiteY36" fmla="*/ 724020 h 747096"/>
                <a:gd name="connsiteX37" fmla="*/ 2075512 w 5306200"/>
                <a:gd name="connsiteY37" fmla="*/ 706713 h 747096"/>
                <a:gd name="connsiteX38" fmla="*/ 1882248 w 5306200"/>
                <a:gd name="connsiteY38" fmla="*/ 686521 h 747096"/>
                <a:gd name="connsiteX39" fmla="*/ 1697637 w 5306200"/>
                <a:gd name="connsiteY39" fmla="*/ 669213 h 747096"/>
                <a:gd name="connsiteX40" fmla="*/ 1513026 w 5306200"/>
                <a:gd name="connsiteY40" fmla="*/ 652832 h 747096"/>
                <a:gd name="connsiteX41" fmla="*/ 1319762 w 5306200"/>
                <a:gd name="connsiteY41" fmla="*/ 631714 h 747096"/>
                <a:gd name="connsiteX42" fmla="*/ 1063038 w 5306200"/>
                <a:gd name="connsiteY42" fmla="*/ 602869 h 747096"/>
                <a:gd name="connsiteX43" fmla="*/ 538051 w 5306200"/>
                <a:gd name="connsiteY43" fmla="*/ 522102 h 747096"/>
                <a:gd name="connsiteX44" fmla="*/ 373632 w 5306200"/>
                <a:gd name="connsiteY44" fmla="*/ 496141 h 747096"/>
                <a:gd name="connsiteX45" fmla="*/ 192723 w 5306200"/>
                <a:gd name="connsiteY45" fmla="*/ 467187 h 747096"/>
                <a:gd name="connsiteX46" fmla="*/ 0 w 5306200"/>
                <a:gd name="connsiteY46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61045 w 5306200"/>
                <a:gd name="connsiteY9" fmla="*/ 97365 h 747096"/>
                <a:gd name="connsiteX10" fmla="*/ 1041921 w 5306200"/>
                <a:gd name="connsiteY10" fmla="*/ 97257 h 747096"/>
                <a:gd name="connsiteX11" fmla="*/ 1128349 w 5306200"/>
                <a:gd name="connsiteY11" fmla="*/ 88603 h 747096"/>
                <a:gd name="connsiteX12" fmla="*/ 1194693 w 5306200"/>
                <a:gd name="connsiteY12" fmla="*/ 83759 h 747096"/>
                <a:gd name="connsiteX13" fmla="*/ 1285148 w 5306200"/>
                <a:gd name="connsiteY13" fmla="*/ 86536 h 747096"/>
                <a:gd name="connsiteX14" fmla="*/ 1417837 w 5306200"/>
                <a:gd name="connsiteY14" fmla="*/ 77882 h 747096"/>
                <a:gd name="connsiteX15" fmla="*/ 1616870 w 5306200"/>
                <a:gd name="connsiteY15" fmla="*/ 63460 h 747096"/>
                <a:gd name="connsiteX16" fmla="*/ 1836095 w 5306200"/>
                <a:gd name="connsiteY16" fmla="*/ 54806 h 747096"/>
                <a:gd name="connsiteX17" fmla="*/ 2038013 w 5306200"/>
                <a:gd name="connsiteY17" fmla="*/ 43268 h 747096"/>
                <a:gd name="connsiteX18" fmla="*/ 2213970 w 5306200"/>
                <a:gd name="connsiteY18" fmla="*/ 34614 h 747096"/>
                <a:gd name="connsiteX19" fmla="*/ 2441849 w 5306200"/>
                <a:gd name="connsiteY19" fmla="*/ 25960 h 747096"/>
                <a:gd name="connsiteX20" fmla="*/ 2764918 w 5306200"/>
                <a:gd name="connsiteY20" fmla="*/ 20191 h 747096"/>
                <a:gd name="connsiteX21" fmla="*/ 2900491 w 5306200"/>
                <a:gd name="connsiteY21" fmla="*/ 17307 h 747096"/>
                <a:gd name="connsiteX22" fmla="*/ 3027411 w 5306200"/>
                <a:gd name="connsiteY22" fmla="*/ 14422 h 747096"/>
                <a:gd name="connsiteX23" fmla="*/ 3157216 w 5306200"/>
                <a:gd name="connsiteY23" fmla="*/ 11538 h 747096"/>
                <a:gd name="connsiteX24" fmla="*/ 3336057 w 5306200"/>
                <a:gd name="connsiteY24" fmla="*/ 8653 h 747096"/>
                <a:gd name="connsiteX25" fmla="*/ 3506245 w 5306200"/>
                <a:gd name="connsiteY25" fmla="*/ 8653 h 747096"/>
                <a:gd name="connsiteX26" fmla="*/ 3722586 w 5306200"/>
                <a:gd name="connsiteY26" fmla="*/ 11537 h 747096"/>
                <a:gd name="connsiteX27" fmla="*/ 5306200 w 5306200"/>
                <a:gd name="connsiteY27" fmla="*/ 0 h 747096"/>
                <a:gd name="connsiteX28" fmla="*/ 5306200 w 5306200"/>
                <a:gd name="connsiteY28" fmla="*/ 744212 h 747096"/>
                <a:gd name="connsiteX29" fmla="*/ 3177408 w 5306200"/>
                <a:gd name="connsiteY29" fmla="*/ 747096 h 747096"/>
                <a:gd name="connsiteX30" fmla="*/ 2952413 w 5306200"/>
                <a:gd name="connsiteY30" fmla="*/ 747096 h 747096"/>
                <a:gd name="connsiteX31" fmla="*/ 2877415 w 5306200"/>
                <a:gd name="connsiteY31" fmla="*/ 747096 h 747096"/>
                <a:gd name="connsiteX32" fmla="*/ 2551462 w 5306200"/>
                <a:gd name="connsiteY32" fmla="*/ 741327 h 747096"/>
                <a:gd name="connsiteX33" fmla="*/ 2456272 w 5306200"/>
                <a:gd name="connsiteY33" fmla="*/ 735558 h 747096"/>
                <a:gd name="connsiteX34" fmla="*/ 2366851 w 5306200"/>
                <a:gd name="connsiteY34" fmla="*/ 729789 h 747096"/>
                <a:gd name="connsiteX35" fmla="*/ 2263008 w 5306200"/>
                <a:gd name="connsiteY35" fmla="*/ 724020 h 747096"/>
                <a:gd name="connsiteX36" fmla="*/ 2075512 w 5306200"/>
                <a:gd name="connsiteY36" fmla="*/ 706713 h 747096"/>
                <a:gd name="connsiteX37" fmla="*/ 1882248 w 5306200"/>
                <a:gd name="connsiteY37" fmla="*/ 686521 h 747096"/>
                <a:gd name="connsiteX38" fmla="*/ 1697637 w 5306200"/>
                <a:gd name="connsiteY38" fmla="*/ 669213 h 747096"/>
                <a:gd name="connsiteX39" fmla="*/ 1513026 w 5306200"/>
                <a:gd name="connsiteY39" fmla="*/ 652832 h 747096"/>
                <a:gd name="connsiteX40" fmla="*/ 1319762 w 5306200"/>
                <a:gd name="connsiteY40" fmla="*/ 631714 h 747096"/>
                <a:gd name="connsiteX41" fmla="*/ 1063038 w 5306200"/>
                <a:gd name="connsiteY41" fmla="*/ 602869 h 747096"/>
                <a:gd name="connsiteX42" fmla="*/ 538051 w 5306200"/>
                <a:gd name="connsiteY42" fmla="*/ 522102 h 747096"/>
                <a:gd name="connsiteX43" fmla="*/ 373632 w 5306200"/>
                <a:gd name="connsiteY43" fmla="*/ 496141 h 747096"/>
                <a:gd name="connsiteX44" fmla="*/ 192723 w 5306200"/>
                <a:gd name="connsiteY44" fmla="*/ 467187 h 747096"/>
                <a:gd name="connsiteX45" fmla="*/ 0 w 5306200"/>
                <a:gd name="connsiteY45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61045 w 5306200"/>
                <a:gd name="connsiteY9" fmla="*/ 97365 h 747096"/>
                <a:gd name="connsiteX10" fmla="*/ 1128349 w 5306200"/>
                <a:gd name="connsiteY10" fmla="*/ 88603 h 747096"/>
                <a:gd name="connsiteX11" fmla="*/ 1194693 w 5306200"/>
                <a:gd name="connsiteY11" fmla="*/ 83759 h 747096"/>
                <a:gd name="connsiteX12" fmla="*/ 1285148 w 5306200"/>
                <a:gd name="connsiteY12" fmla="*/ 86536 h 747096"/>
                <a:gd name="connsiteX13" fmla="*/ 1417837 w 5306200"/>
                <a:gd name="connsiteY13" fmla="*/ 77882 h 747096"/>
                <a:gd name="connsiteX14" fmla="*/ 1616870 w 5306200"/>
                <a:gd name="connsiteY14" fmla="*/ 63460 h 747096"/>
                <a:gd name="connsiteX15" fmla="*/ 1836095 w 5306200"/>
                <a:gd name="connsiteY15" fmla="*/ 54806 h 747096"/>
                <a:gd name="connsiteX16" fmla="*/ 2038013 w 5306200"/>
                <a:gd name="connsiteY16" fmla="*/ 43268 h 747096"/>
                <a:gd name="connsiteX17" fmla="*/ 2213970 w 5306200"/>
                <a:gd name="connsiteY17" fmla="*/ 34614 h 747096"/>
                <a:gd name="connsiteX18" fmla="*/ 2441849 w 5306200"/>
                <a:gd name="connsiteY18" fmla="*/ 25960 h 747096"/>
                <a:gd name="connsiteX19" fmla="*/ 2764918 w 5306200"/>
                <a:gd name="connsiteY19" fmla="*/ 20191 h 747096"/>
                <a:gd name="connsiteX20" fmla="*/ 2900491 w 5306200"/>
                <a:gd name="connsiteY20" fmla="*/ 17307 h 747096"/>
                <a:gd name="connsiteX21" fmla="*/ 3027411 w 5306200"/>
                <a:gd name="connsiteY21" fmla="*/ 14422 h 747096"/>
                <a:gd name="connsiteX22" fmla="*/ 3157216 w 5306200"/>
                <a:gd name="connsiteY22" fmla="*/ 11538 h 747096"/>
                <a:gd name="connsiteX23" fmla="*/ 3336057 w 5306200"/>
                <a:gd name="connsiteY23" fmla="*/ 8653 h 747096"/>
                <a:gd name="connsiteX24" fmla="*/ 3506245 w 5306200"/>
                <a:gd name="connsiteY24" fmla="*/ 8653 h 747096"/>
                <a:gd name="connsiteX25" fmla="*/ 3722586 w 5306200"/>
                <a:gd name="connsiteY25" fmla="*/ 11537 h 747096"/>
                <a:gd name="connsiteX26" fmla="*/ 5306200 w 5306200"/>
                <a:gd name="connsiteY26" fmla="*/ 0 h 747096"/>
                <a:gd name="connsiteX27" fmla="*/ 5306200 w 5306200"/>
                <a:gd name="connsiteY27" fmla="*/ 744212 h 747096"/>
                <a:gd name="connsiteX28" fmla="*/ 3177408 w 5306200"/>
                <a:gd name="connsiteY28" fmla="*/ 747096 h 747096"/>
                <a:gd name="connsiteX29" fmla="*/ 2952413 w 5306200"/>
                <a:gd name="connsiteY29" fmla="*/ 747096 h 747096"/>
                <a:gd name="connsiteX30" fmla="*/ 2877415 w 5306200"/>
                <a:gd name="connsiteY30" fmla="*/ 747096 h 747096"/>
                <a:gd name="connsiteX31" fmla="*/ 2551462 w 5306200"/>
                <a:gd name="connsiteY31" fmla="*/ 741327 h 747096"/>
                <a:gd name="connsiteX32" fmla="*/ 2456272 w 5306200"/>
                <a:gd name="connsiteY32" fmla="*/ 735558 h 747096"/>
                <a:gd name="connsiteX33" fmla="*/ 2366851 w 5306200"/>
                <a:gd name="connsiteY33" fmla="*/ 729789 h 747096"/>
                <a:gd name="connsiteX34" fmla="*/ 2263008 w 5306200"/>
                <a:gd name="connsiteY34" fmla="*/ 724020 h 747096"/>
                <a:gd name="connsiteX35" fmla="*/ 2075512 w 5306200"/>
                <a:gd name="connsiteY35" fmla="*/ 706713 h 747096"/>
                <a:gd name="connsiteX36" fmla="*/ 1882248 w 5306200"/>
                <a:gd name="connsiteY36" fmla="*/ 686521 h 747096"/>
                <a:gd name="connsiteX37" fmla="*/ 1697637 w 5306200"/>
                <a:gd name="connsiteY37" fmla="*/ 669213 h 747096"/>
                <a:gd name="connsiteX38" fmla="*/ 1513026 w 5306200"/>
                <a:gd name="connsiteY38" fmla="*/ 652832 h 747096"/>
                <a:gd name="connsiteX39" fmla="*/ 1319762 w 5306200"/>
                <a:gd name="connsiteY39" fmla="*/ 631714 h 747096"/>
                <a:gd name="connsiteX40" fmla="*/ 1063038 w 5306200"/>
                <a:gd name="connsiteY40" fmla="*/ 602869 h 747096"/>
                <a:gd name="connsiteX41" fmla="*/ 538051 w 5306200"/>
                <a:gd name="connsiteY41" fmla="*/ 522102 h 747096"/>
                <a:gd name="connsiteX42" fmla="*/ 373632 w 5306200"/>
                <a:gd name="connsiteY42" fmla="*/ 496141 h 747096"/>
                <a:gd name="connsiteX43" fmla="*/ 192723 w 5306200"/>
                <a:gd name="connsiteY43" fmla="*/ 467187 h 747096"/>
                <a:gd name="connsiteX44" fmla="*/ 0 w 5306200"/>
                <a:gd name="connsiteY44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61045 w 5306200"/>
                <a:gd name="connsiteY9" fmla="*/ 97365 h 747096"/>
                <a:gd name="connsiteX10" fmla="*/ 1128349 w 5306200"/>
                <a:gd name="connsiteY10" fmla="*/ 88603 h 747096"/>
                <a:gd name="connsiteX11" fmla="*/ 1194693 w 5306200"/>
                <a:gd name="connsiteY11" fmla="*/ 83759 h 747096"/>
                <a:gd name="connsiteX12" fmla="*/ 1417837 w 5306200"/>
                <a:gd name="connsiteY12" fmla="*/ 77882 h 747096"/>
                <a:gd name="connsiteX13" fmla="*/ 1616870 w 5306200"/>
                <a:gd name="connsiteY13" fmla="*/ 63460 h 747096"/>
                <a:gd name="connsiteX14" fmla="*/ 1836095 w 5306200"/>
                <a:gd name="connsiteY14" fmla="*/ 54806 h 747096"/>
                <a:gd name="connsiteX15" fmla="*/ 2038013 w 5306200"/>
                <a:gd name="connsiteY15" fmla="*/ 43268 h 747096"/>
                <a:gd name="connsiteX16" fmla="*/ 2213970 w 5306200"/>
                <a:gd name="connsiteY16" fmla="*/ 34614 h 747096"/>
                <a:gd name="connsiteX17" fmla="*/ 2441849 w 5306200"/>
                <a:gd name="connsiteY17" fmla="*/ 25960 h 747096"/>
                <a:gd name="connsiteX18" fmla="*/ 2764918 w 5306200"/>
                <a:gd name="connsiteY18" fmla="*/ 20191 h 747096"/>
                <a:gd name="connsiteX19" fmla="*/ 2900491 w 5306200"/>
                <a:gd name="connsiteY19" fmla="*/ 17307 h 747096"/>
                <a:gd name="connsiteX20" fmla="*/ 3027411 w 5306200"/>
                <a:gd name="connsiteY20" fmla="*/ 14422 h 747096"/>
                <a:gd name="connsiteX21" fmla="*/ 3157216 w 5306200"/>
                <a:gd name="connsiteY21" fmla="*/ 11538 h 747096"/>
                <a:gd name="connsiteX22" fmla="*/ 3336057 w 5306200"/>
                <a:gd name="connsiteY22" fmla="*/ 8653 h 747096"/>
                <a:gd name="connsiteX23" fmla="*/ 3506245 w 5306200"/>
                <a:gd name="connsiteY23" fmla="*/ 8653 h 747096"/>
                <a:gd name="connsiteX24" fmla="*/ 3722586 w 5306200"/>
                <a:gd name="connsiteY24" fmla="*/ 11537 h 747096"/>
                <a:gd name="connsiteX25" fmla="*/ 5306200 w 5306200"/>
                <a:gd name="connsiteY25" fmla="*/ 0 h 747096"/>
                <a:gd name="connsiteX26" fmla="*/ 5306200 w 5306200"/>
                <a:gd name="connsiteY26" fmla="*/ 744212 h 747096"/>
                <a:gd name="connsiteX27" fmla="*/ 3177408 w 5306200"/>
                <a:gd name="connsiteY27" fmla="*/ 747096 h 747096"/>
                <a:gd name="connsiteX28" fmla="*/ 2952413 w 5306200"/>
                <a:gd name="connsiteY28" fmla="*/ 747096 h 747096"/>
                <a:gd name="connsiteX29" fmla="*/ 2877415 w 5306200"/>
                <a:gd name="connsiteY29" fmla="*/ 747096 h 747096"/>
                <a:gd name="connsiteX30" fmla="*/ 2551462 w 5306200"/>
                <a:gd name="connsiteY30" fmla="*/ 741327 h 747096"/>
                <a:gd name="connsiteX31" fmla="*/ 2456272 w 5306200"/>
                <a:gd name="connsiteY31" fmla="*/ 735558 h 747096"/>
                <a:gd name="connsiteX32" fmla="*/ 2366851 w 5306200"/>
                <a:gd name="connsiteY32" fmla="*/ 729789 h 747096"/>
                <a:gd name="connsiteX33" fmla="*/ 2263008 w 5306200"/>
                <a:gd name="connsiteY33" fmla="*/ 724020 h 747096"/>
                <a:gd name="connsiteX34" fmla="*/ 2075512 w 5306200"/>
                <a:gd name="connsiteY34" fmla="*/ 706713 h 747096"/>
                <a:gd name="connsiteX35" fmla="*/ 1882248 w 5306200"/>
                <a:gd name="connsiteY35" fmla="*/ 686521 h 747096"/>
                <a:gd name="connsiteX36" fmla="*/ 1697637 w 5306200"/>
                <a:gd name="connsiteY36" fmla="*/ 669213 h 747096"/>
                <a:gd name="connsiteX37" fmla="*/ 1513026 w 5306200"/>
                <a:gd name="connsiteY37" fmla="*/ 652832 h 747096"/>
                <a:gd name="connsiteX38" fmla="*/ 1319762 w 5306200"/>
                <a:gd name="connsiteY38" fmla="*/ 631714 h 747096"/>
                <a:gd name="connsiteX39" fmla="*/ 1063038 w 5306200"/>
                <a:gd name="connsiteY39" fmla="*/ 602869 h 747096"/>
                <a:gd name="connsiteX40" fmla="*/ 538051 w 5306200"/>
                <a:gd name="connsiteY40" fmla="*/ 522102 h 747096"/>
                <a:gd name="connsiteX41" fmla="*/ 373632 w 5306200"/>
                <a:gd name="connsiteY41" fmla="*/ 496141 h 747096"/>
                <a:gd name="connsiteX42" fmla="*/ 192723 w 5306200"/>
                <a:gd name="connsiteY42" fmla="*/ 467187 h 747096"/>
                <a:gd name="connsiteX43" fmla="*/ 0 w 5306200"/>
                <a:gd name="connsiteY43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61045 w 5306200"/>
                <a:gd name="connsiteY9" fmla="*/ 97365 h 747096"/>
                <a:gd name="connsiteX10" fmla="*/ 1128349 w 5306200"/>
                <a:gd name="connsiteY10" fmla="*/ 88603 h 747096"/>
                <a:gd name="connsiteX11" fmla="*/ 1194693 w 5306200"/>
                <a:gd name="connsiteY11" fmla="*/ 83759 h 747096"/>
                <a:gd name="connsiteX12" fmla="*/ 1616870 w 5306200"/>
                <a:gd name="connsiteY12" fmla="*/ 63460 h 747096"/>
                <a:gd name="connsiteX13" fmla="*/ 1836095 w 5306200"/>
                <a:gd name="connsiteY13" fmla="*/ 54806 h 747096"/>
                <a:gd name="connsiteX14" fmla="*/ 2038013 w 5306200"/>
                <a:gd name="connsiteY14" fmla="*/ 43268 h 747096"/>
                <a:gd name="connsiteX15" fmla="*/ 2213970 w 5306200"/>
                <a:gd name="connsiteY15" fmla="*/ 34614 h 747096"/>
                <a:gd name="connsiteX16" fmla="*/ 2441849 w 5306200"/>
                <a:gd name="connsiteY16" fmla="*/ 25960 h 747096"/>
                <a:gd name="connsiteX17" fmla="*/ 2764918 w 5306200"/>
                <a:gd name="connsiteY17" fmla="*/ 20191 h 747096"/>
                <a:gd name="connsiteX18" fmla="*/ 2900491 w 5306200"/>
                <a:gd name="connsiteY18" fmla="*/ 17307 h 747096"/>
                <a:gd name="connsiteX19" fmla="*/ 3027411 w 5306200"/>
                <a:gd name="connsiteY19" fmla="*/ 14422 h 747096"/>
                <a:gd name="connsiteX20" fmla="*/ 3157216 w 5306200"/>
                <a:gd name="connsiteY20" fmla="*/ 11538 h 747096"/>
                <a:gd name="connsiteX21" fmla="*/ 3336057 w 5306200"/>
                <a:gd name="connsiteY21" fmla="*/ 8653 h 747096"/>
                <a:gd name="connsiteX22" fmla="*/ 3506245 w 5306200"/>
                <a:gd name="connsiteY22" fmla="*/ 8653 h 747096"/>
                <a:gd name="connsiteX23" fmla="*/ 3722586 w 5306200"/>
                <a:gd name="connsiteY23" fmla="*/ 11537 h 747096"/>
                <a:gd name="connsiteX24" fmla="*/ 5306200 w 5306200"/>
                <a:gd name="connsiteY24" fmla="*/ 0 h 747096"/>
                <a:gd name="connsiteX25" fmla="*/ 5306200 w 5306200"/>
                <a:gd name="connsiteY25" fmla="*/ 744212 h 747096"/>
                <a:gd name="connsiteX26" fmla="*/ 3177408 w 5306200"/>
                <a:gd name="connsiteY26" fmla="*/ 747096 h 747096"/>
                <a:gd name="connsiteX27" fmla="*/ 2952413 w 5306200"/>
                <a:gd name="connsiteY27" fmla="*/ 747096 h 747096"/>
                <a:gd name="connsiteX28" fmla="*/ 2877415 w 5306200"/>
                <a:gd name="connsiteY28" fmla="*/ 747096 h 747096"/>
                <a:gd name="connsiteX29" fmla="*/ 2551462 w 5306200"/>
                <a:gd name="connsiteY29" fmla="*/ 741327 h 747096"/>
                <a:gd name="connsiteX30" fmla="*/ 2456272 w 5306200"/>
                <a:gd name="connsiteY30" fmla="*/ 735558 h 747096"/>
                <a:gd name="connsiteX31" fmla="*/ 2366851 w 5306200"/>
                <a:gd name="connsiteY31" fmla="*/ 729789 h 747096"/>
                <a:gd name="connsiteX32" fmla="*/ 2263008 w 5306200"/>
                <a:gd name="connsiteY32" fmla="*/ 724020 h 747096"/>
                <a:gd name="connsiteX33" fmla="*/ 2075512 w 5306200"/>
                <a:gd name="connsiteY33" fmla="*/ 706713 h 747096"/>
                <a:gd name="connsiteX34" fmla="*/ 1882248 w 5306200"/>
                <a:gd name="connsiteY34" fmla="*/ 686521 h 747096"/>
                <a:gd name="connsiteX35" fmla="*/ 1697637 w 5306200"/>
                <a:gd name="connsiteY35" fmla="*/ 669213 h 747096"/>
                <a:gd name="connsiteX36" fmla="*/ 1513026 w 5306200"/>
                <a:gd name="connsiteY36" fmla="*/ 652832 h 747096"/>
                <a:gd name="connsiteX37" fmla="*/ 1319762 w 5306200"/>
                <a:gd name="connsiteY37" fmla="*/ 631714 h 747096"/>
                <a:gd name="connsiteX38" fmla="*/ 1063038 w 5306200"/>
                <a:gd name="connsiteY38" fmla="*/ 602869 h 747096"/>
                <a:gd name="connsiteX39" fmla="*/ 538051 w 5306200"/>
                <a:gd name="connsiteY39" fmla="*/ 522102 h 747096"/>
                <a:gd name="connsiteX40" fmla="*/ 373632 w 5306200"/>
                <a:gd name="connsiteY40" fmla="*/ 496141 h 747096"/>
                <a:gd name="connsiteX41" fmla="*/ 192723 w 5306200"/>
                <a:gd name="connsiteY41" fmla="*/ 467187 h 747096"/>
                <a:gd name="connsiteX42" fmla="*/ 0 w 5306200"/>
                <a:gd name="connsiteY42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28349 w 5306200"/>
                <a:gd name="connsiteY10" fmla="*/ 88603 h 747096"/>
                <a:gd name="connsiteX11" fmla="*/ 1194693 w 5306200"/>
                <a:gd name="connsiteY11" fmla="*/ 83759 h 747096"/>
                <a:gd name="connsiteX12" fmla="*/ 1616870 w 5306200"/>
                <a:gd name="connsiteY12" fmla="*/ 63460 h 747096"/>
                <a:gd name="connsiteX13" fmla="*/ 1836095 w 5306200"/>
                <a:gd name="connsiteY13" fmla="*/ 54806 h 747096"/>
                <a:gd name="connsiteX14" fmla="*/ 2038013 w 5306200"/>
                <a:gd name="connsiteY14" fmla="*/ 43268 h 747096"/>
                <a:gd name="connsiteX15" fmla="*/ 2213970 w 5306200"/>
                <a:gd name="connsiteY15" fmla="*/ 34614 h 747096"/>
                <a:gd name="connsiteX16" fmla="*/ 2441849 w 5306200"/>
                <a:gd name="connsiteY16" fmla="*/ 25960 h 747096"/>
                <a:gd name="connsiteX17" fmla="*/ 2764918 w 5306200"/>
                <a:gd name="connsiteY17" fmla="*/ 20191 h 747096"/>
                <a:gd name="connsiteX18" fmla="*/ 2900491 w 5306200"/>
                <a:gd name="connsiteY18" fmla="*/ 17307 h 747096"/>
                <a:gd name="connsiteX19" fmla="*/ 3027411 w 5306200"/>
                <a:gd name="connsiteY19" fmla="*/ 14422 h 747096"/>
                <a:gd name="connsiteX20" fmla="*/ 3157216 w 5306200"/>
                <a:gd name="connsiteY20" fmla="*/ 11538 h 747096"/>
                <a:gd name="connsiteX21" fmla="*/ 3336057 w 5306200"/>
                <a:gd name="connsiteY21" fmla="*/ 8653 h 747096"/>
                <a:gd name="connsiteX22" fmla="*/ 3506245 w 5306200"/>
                <a:gd name="connsiteY22" fmla="*/ 8653 h 747096"/>
                <a:gd name="connsiteX23" fmla="*/ 3722586 w 5306200"/>
                <a:gd name="connsiteY23" fmla="*/ 11537 h 747096"/>
                <a:gd name="connsiteX24" fmla="*/ 5306200 w 5306200"/>
                <a:gd name="connsiteY24" fmla="*/ 0 h 747096"/>
                <a:gd name="connsiteX25" fmla="*/ 5306200 w 5306200"/>
                <a:gd name="connsiteY25" fmla="*/ 744212 h 747096"/>
                <a:gd name="connsiteX26" fmla="*/ 3177408 w 5306200"/>
                <a:gd name="connsiteY26" fmla="*/ 747096 h 747096"/>
                <a:gd name="connsiteX27" fmla="*/ 2952413 w 5306200"/>
                <a:gd name="connsiteY27" fmla="*/ 747096 h 747096"/>
                <a:gd name="connsiteX28" fmla="*/ 2877415 w 5306200"/>
                <a:gd name="connsiteY28" fmla="*/ 747096 h 747096"/>
                <a:gd name="connsiteX29" fmla="*/ 2551462 w 5306200"/>
                <a:gd name="connsiteY29" fmla="*/ 741327 h 747096"/>
                <a:gd name="connsiteX30" fmla="*/ 2456272 w 5306200"/>
                <a:gd name="connsiteY30" fmla="*/ 735558 h 747096"/>
                <a:gd name="connsiteX31" fmla="*/ 2366851 w 5306200"/>
                <a:gd name="connsiteY31" fmla="*/ 729789 h 747096"/>
                <a:gd name="connsiteX32" fmla="*/ 2263008 w 5306200"/>
                <a:gd name="connsiteY32" fmla="*/ 724020 h 747096"/>
                <a:gd name="connsiteX33" fmla="*/ 2075512 w 5306200"/>
                <a:gd name="connsiteY33" fmla="*/ 706713 h 747096"/>
                <a:gd name="connsiteX34" fmla="*/ 1882248 w 5306200"/>
                <a:gd name="connsiteY34" fmla="*/ 686521 h 747096"/>
                <a:gd name="connsiteX35" fmla="*/ 1697637 w 5306200"/>
                <a:gd name="connsiteY35" fmla="*/ 669213 h 747096"/>
                <a:gd name="connsiteX36" fmla="*/ 1513026 w 5306200"/>
                <a:gd name="connsiteY36" fmla="*/ 652832 h 747096"/>
                <a:gd name="connsiteX37" fmla="*/ 1319762 w 5306200"/>
                <a:gd name="connsiteY37" fmla="*/ 631714 h 747096"/>
                <a:gd name="connsiteX38" fmla="*/ 1063038 w 5306200"/>
                <a:gd name="connsiteY38" fmla="*/ 602869 h 747096"/>
                <a:gd name="connsiteX39" fmla="*/ 538051 w 5306200"/>
                <a:gd name="connsiteY39" fmla="*/ 522102 h 747096"/>
                <a:gd name="connsiteX40" fmla="*/ 373632 w 5306200"/>
                <a:gd name="connsiteY40" fmla="*/ 496141 h 747096"/>
                <a:gd name="connsiteX41" fmla="*/ 192723 w 5306200"/>
                <a:gd name="connsiteY41" fmla="*/ 467187 h 747096"/>
                <a:gd name="connsiteX42" fmla="*/ 0 w 5306200"/>
                <a:gd name="connsiteY42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194693 w 5306200"/>
                <a:gd name="connsiteY11" fmla="*/ 83759 h 747096"/>
                <a:gd name="connsiteX12" fmla="*/ 1616870 w 5306200"/>
                <a:gd name="connsiteY12" fmla="*/ 63460 h 747096"/>
                <a:gd name="connsiteX13" fmla="*/ 1836095 w 5306200"/>
                <a:gd name="connsiteY13" fmla="*/ 54806 h 747096"/>
                <a:gd name="connsiteX14" fmla="*/ 2038013 w 5306200"/>
                <a:gd name="connsiteY14" fmla="*/ 43268 h 747096"/>
                <a:gd name="connsiteX15" fmla="*/ 2213970 w 5306200"/>
                <a:gd name="connsiteY15" fmla="*/ 34614 h 747096"/>
                <a:gd name="connsiteX16" fmla="*/ 2441849 w 5306200"/>
                <a:gd name="connsiteY16" fmla="*/ 25960 h 747096"/>
                <a:gd name="connsiteX17" fmla="*/ 2764918 w 5306200"/>
                <a:gd name="connsiteY17" fmla="*/ 20191 h 747096"/>
                <a:gd name="connsiteX18" fmla="*/ 2900491 w 5306200"/>
                <a:gd name="connsiteY18" fmla="*/ 17307 h 747096"/>
                <a:gd name="connsiteX19" fmla="*/ 3027411 w 5306200"/>
                <a:gd name="connsiteY19" fmla="*/ 14422 h 747096"/>
                <a:gd name="connsiteX20" fmla="*/ 3157216 w 5306200"/>
                <a:gd name="connsiteY20" fmla="*/ 11538 h 747096"/>
                <a:gd name="connsiteX21" fmla="*/ 3336057 w 5306200"/>
                <a:gd name="connsiteY21" fmla="*/ 8653 h 747096"/>
                <a:gd name="connsiteX22" fmla="*/ 3506245 w 5306200"/>
                <a:gd name="connsiteY22" fmla="*/ 8653 h 747096"/>
                <a:gd name="connsiteX23" fmla="*/ 3722586 w 5306200"/>
                <a:gd name="connsiteY23" fmla="*/ 11537 h 747096"/>
                <a:gd name="connsiteX24" fmla="*/ 5306200 w 5306200"/>
                <a:gd name="connsiteY24" fmla="*/ 0 h 747096"/>
                <a:gd name="connsiteX25" fmla="*/ 5306200 w 5306200"/>
                <a:gd name="connsiteY25" fmla="*/ 744212 h 747096"/>
                <a:gd name="connsiteX26" fmla="*/ 3177408 w 5306200"/>
                <a:gd name="connsiteY26" fmla="*/ 747096 h 747096"/>
                <a:gd name="connsiteX27" fmla="*/ 2952413 w 5306200"/>
                <a:gd name="connsiteY27" fmla="*/ 747096 h 747096"/>
                <a:gd name="connsiteX28" fmla="*/ 2877415 w 5306200"/>
                <a:gd name="connsiteY28" fmla="*/ 747096 h 747096"/>
                <a:gd name="connsiteX29" fmla="*/ 2551462 w 5306200"/>
                <a:gd name="connsiteY29" fmla="*/ 741327 h 747096"/>
                <a:gd name="connsiteX30" fmla="*/ 2456272 w 5306200"/>
                <a:gd name="connsiteY30" fmla="*/ 735558 h 747096"/>
                <a:gd name="connsiteX31" fmla="*/ 2366851 w 5306200"/>
                <a:gd name="connsiteY31" fmla="*/ 729789 h 747096"/>
                <a:gd name="connsiteX32" fmla="*/ 2263008 w 5306200"/>
                <a:gd name="connsiteY32" fmla="*/ 724020 h 747096"/>
                <a:gd name="connsiteX33" fmla="*/ 2075512 w 5306200"/>
                <a:gd name="connsiteY33" fmla="*/ 706713 h 747096"/>
                <a:gd name="connsiteX34" fmla="*/ 1882248 w 5306200"/>
                <a:gd name="connsiteY34" fmla="*/ 686521 h 747096"/>
                <a:gd name="connsiteX35" fmla="*/ 1697637 w 5306200"/>
                <a:gd name="connsiteY35" fmla="*/ 669213 h 747096"/>
                <a:gd name="connsiteX36" fmla="*/ 1513026 w 5306200"/>
                <a:gd name="connsiteY36" fmla="*/ 652832 h 747096"/>
                <a:gd name="connsiteX37" fmla="*/ 1319762 w 5306200"/>
                <a:gd name="connsiteY37" fmla="*/ 631714 h 747096"/>
                <a:gd name="connsiteX38" fmla="*/ 1063038 w 5306200"/>
                <a:gd name="connsiteY38" fmla="*/ 602869 h 747096"/>
                <a:gd name="connsiteX39" fmla="*/ 538051 w 5306200"/>
                <a:gd name="connsiteY39" fmla="*/ 522102 h 747096"/>
                <a:gd name="connsiteX40" fmla="*/ 373632 w 5306200"/>
                <a:gd name="connsiteY40" fmla="*/ 496141 h 747096"/>
                <a:gd name="connsiteX41" fmla="*/ 192723 w 5306200"/>
                <a:gd name="connsiteY41" fmla="*/ 467187 h 747096"/>
                <a:gd name="connsiteX42" fmla="*/ 0 w 5306200"/>
                <a:gd name="connsiteY42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16870 w 5306200"/>
                <a:gd name="connsiteY12" fmla="*/ 63460 h 747096"/>
                <a:gd name="connsiteX13" fmla="*/ 1836095 w 5306200"/>
                <a:gd name="connsiteY13" fmla="*/ 54806 h 747096"/>
                <a:gd name="connsiteX14" fmla="*/ 2038013 w 5306200"/>
                <a:gd name="connsiteY14" fmla="*/ 43268 h 747096"/>
                <a:gd name="connsiteX15" fmla="*/ 2213970 w 5306200"/>
                <a:gd name="connsiteY15" fmla="*/ 34614 h 747096"/>
                <a:gd name="connsiteX16" fmla="*/ 2441849 w 5306200"/>
                <a:gd name="connsiteY16" fmla="*/ 25960 h 747096"/>
                <a:gd name="connsiteX17" fmla="*/ 2764918 w 5306200"/>
                <a:gd name="connsiteY17" fmla="*/ 20191 h 747096"/>
                <a:gd name="connsiteX18" fmla="*/ 2900491 w 5306200"/>
                <a:gd name="connsiteY18" fmla="*/ 17307 h 747096"/>
                <a:gd name="connsiteX19" fmla="*/ 3027411 w 5306200"/>
                <a:gd name="connsiteY19" fmla="*/ 14422 h 747096"/>
                <a:gd name="connsiteX20" fmla="*/ 3157216 w 5306200"/>
                <a:gd name="connsiteY20" fmla="*/ 11538 h 747096"/>
                <a:gd name="connsiteX21" fmla="*/ 3336057 w 5306200"/>
                <a:gd name="connsiteY21" fmla="*/ 8653 h 747096"/>
                <a:gd name="connsiteX22" fmla="*/ 3506245 w 5306200"/>
                <a:gd name="connsiteY22" fmla="*/ 8653 h 747096"/>
                <a:gd name="connsiteX23" fmla="*/ 3722586 w 5306200"/>
                <a:gd name="connsiteY23" fmla="*/ 11537 h 747096"/>
                <a:gd name="connsiteX24" fmla="*/ 5306200 w 5306200"/>
                <a:gd name="connsiteY24" fmla="*/ 0 h 747096"/>
                <a:gd name="connsiteX25" fmla="*/ 5306200 w 5306200"/>
                <a:gd name="connsiteY25" fmla="*/ 744212 h 747096"/>
                <a:gd name="connsiteX26" fmla="*/ 3177408 w 5306200"/>
                <a:gd name="connsiteY26" fmla="*/ 747096 h 747096"/>
                <a:gd name="connsiteX27" fmla="*/ 2952413 w 5306200"/>
                <a:gd name="connsiteY27" fmla="*/ 747096 h 747096"/>
                <a:gd name="connsiteX28" fmla="*/ 2877415 w 5306200"/>
                <a:gd name="connsiteY28" fmla="*/ 747096 h 747096"/>
                <a:gd name="connsiteX29" fmla="*/ 2551462 w 5306200"/>
                <a:gd name="connsiteY29" fmla="*/ 741327 h 747096"/>
                <a:gd name="connsiteX30" fmla="*/ 2456272 w 5306200"/>
                <a:gd name="connsiteY30" fmla="*/ 735558 h 747096"/>
                <a:gd name="connsiteX31" fmla="*/ 2366851 w 5306200"/>
                <a:gd name="connsiteY31" fmla="*/ 729789 h 747096"/>
                <a:gd name="connsiteX32" fmla="*/ 2263008 w 5306200"/>
                <a:gd name="connsiteY32" fmla="*/ 724020 h 747096"/>
                <a:gd name="connsiteX33" fmla="*/ 2075512 w 5306200"/>
                <a:gd name="connsiteY33" fmla="*/ 706713 h 747096"/>
                <a:gd name="connsiteX34" fmla="*/ 1882248 w 5306200"/>
                <a:gd name="connsiteY34" fmla="*/ 686521 h 747096"/>
                <a:gd name="connsiteX35" fmla="*/ 1697637 w 5306200"/>
                <a:gd name="connsiteY35" fmla="*/ 669213 h 747096"/>
                <a:gd name="connsiteX36" fmla="*/ 1513026 w 5306200"/>
                <a:gd name="connsiteY36" fmla="*/ 652832 h 747096"/>
                <a:gd name="connsiteX37" fmla="*/ 1319762 w 5306200"/>
                <a:gd name="connsiteY37" fmla="*/ 631714 h 747096"/>
                <a:gd name="connsiteX38" fmla="*/ 1063038 w 5306200"/>
                <a:gd name="connsiteY38" fmla="*/ 602869 h 747096"/>
                <a:gd name="connsiteX39" fmla="*/ 538051 w 5306200"/>
                <a:gd name="connsiteY39" fmla="*/ 522102 h 747096"/>
                <a:gd name="connsiteX40" fmla="*/ 373632 w 5306200"/>
                <a:gd name="connsiteY40" fmla="*/ 496141 h 747096"/>
                <a:gd name="connsiteX41" fmla="*/ 192723 w 5306200"/>
                <a:gd name="connsiteY41" fmla="*/ 467187 h 747096"/>
                <a:gd name="connsiteX42" fmla="*/ 0 w 5306200"/>
                <a:gd name="connsiteY42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47350 w 5306200"/>
                <a:gd name="connsiteY12" fmla="*/ 29170 h 747096"/>
                <a:gd name="connsiteX13" fmla="*/ 1836095 w 5306200"/>
                <a:gd name="connsiteY13" fmla="*/ 54806 h 747096"/>
                <a:gd name="connsiteX14" fmla="*/ 2038013 w 5306200"/>
                <a:gd name="connsiteY14" fmla="*/ 43268 h 747096"/>
                <a:gd name="connsiteX15" fmla="*/ 2213970 w 5306200"/>
                <a:gd name="connsiteY15" fmla="*/ 34614 h 747096"/>
                <a:gd name="connsiteX16" fmla="*/ 2441849 w 5306200"/>
                <a:gd name="connsiteY16" fmla="*/ 25960 h 747096"/>
                <a:gd name="connsiteX17" fmla="*/ 2764918 w 5306200"/>
                <a:gd name="connsiteY17" fmla="*/ 20191 h 747096"/>
                <a:gd name="connsiteX18" fmla="*/ 2900491 w 5306200"/>
                <a:gd name="connsiteY18" fmla="*/ 17307 h 747096"/>
                <a:gd name="connsiteX19" fmla="*/ 3027411 w 5306200"/>
                <a:gd name="connsiteY19" fmla="*/ 14422 h 747096"/>
                <a:gd name="connsiteX20" fmla="*/ 3157216 w 5306200"/>
                <a:gd name="connsiteY20" fmla="*/ 11538 h 747096"/>
                <a:gd name="connsiteX21" fmla="*/ 3336057 w 5306200"/>
                <a:gd name="connsiteY21" fmla="*/ 8653 h 747096"/>
                <a:gd name="connsiteX22" fmla="*/ 3506245 w 5306200"/>
                <a:gd name="connsiteY22" fmla="*/ 8653 h 747096"/>
                <a:gd name="connsiteX23" fmla="*/ 3722586 w 5306200"/>
                <a:gd name="connsiteY23" fmla="*/ 11537 h 747096"/>
                <a:gd name="connsiteX24" fmla="*/ 5306200 w 5306200"/>
                <a:gd name="connsiteY24" fmla="*/ 0 h 747096"/>
                <a:gd name="connsiteX25" fmla="*/ 5306200 w 5306200"/>
                <a:gd name="connsiteY25" fmla="*/ 744212 h 747096"/>
                <a:gd name="connsiteX26" fmla="*/ 3177408 w 5306200"/>
                <a:gd name="connsiteY26" fmla="*/ 747096 h 747096"/>
                <a:gd name="connsiteX27" fmla="*/ 2952413 w 5306200"/>
                <a:gd name="connsiteY27" fmla="*/ 747096 h 747096"/>
                <a:gd name="connsiteX28" fmla="*/ 2877415 w 5306200"/>
                <a:gd name="connsiteY28" fmla="*/ 747096 h 747096"/>
                <a:gd name="connsiteX29" fmla="*/ 2551462 w 5306200"/>
                <a:gd name="connsiteY29" fmla="*/ 741327 h 747096"/>
                <a:gd name="connsiteX30" fmla="*/ 2456272 w 5306200"/>
                <a:gd name="connsiteY30" fmla="*/ 735558 h 747096"/>
                <a:gd name="connsiteX31" fmla="*/ 2366851 w 5306200"/>
                <a:gd name="connsiteY31" fmla="*/ 729789 h 747096"/>
                <a:gd name="connsiteX32" fmla="*/ 2263008 w 5306200"/>
                <a:gd name="connsiteY32" fmla="*/ 724020 h 747096"/>
                <a:gd name="connsiteX33" fmla="*/ 2075512 w 5306200"/>
                <a:gd name="connsiteY33" fmla="*/ 706713 h 747096"/>
                <a:gd name="connsiteX34" fmla="*/ 1882248 w 5306200"/>
                <a:gd name="connsiteY34" fmla="*/ 686521 h 747096"/>
                <a:gd name="connsiteX35" fmla="*/ 1697637 w 5306200"/>
                <a:gd name="connsiteY35" fmla="*/ 669213 h 747096"/>
                <a:gd name="connsiteX36" fmla="*/ 1513026 w 5306200"/>
                <a:gd name="connsiteY36" fmla="*/ 652832 h 747096"/>
                <a:gd name="connsiteX37" fmla="*/ 1319762 w 5306200"/>
                <a:gd name="connsiteY37" fmla="*/ 631714 h 747096"/>
                <a:gd name="connsiteX38" fmla="*/ 1063038 w 5306200"/>
                <a:gd name="connsiteY38" fmla="*/ 602869 h 747096"/>
                <a:gd name="connsiteX39" fmla="*/ 538051 w 5306200"/>
                <a:gd name="connsiteY39" fmla="*/ 522102 h 747096"/>
                <a:gd name="connsiteX40" fmla="*/ 373632 w 5306200"/>
                <a:gd name="connsiteY40" fmla="*/ 496141 h 747096"/>
                <a:gd name="connsiteX41" fmla="*/ 192723 w 5306200"/>
                <a:gd name="connsiteY41" fmla="*/ 467187 h 747096"/>
                <a:gd name="connsiteX42" fmla="*/ 0 w 5306200"/>
                <a:gd name="connsiteY42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47350 w 5306200"/>
                <a:gd name="connsiteY12" fmla="*/ 29170 h 747096"/>
                <a:gd name="connsiteX13" fmla="*/ 1870385 w 5306200"/>
                <a:gd name="connsiteY13" fmla="*/ 31946 h 747096"/>
                <a:gd name="connsiteX14" fmla="*/ 2038013 w 5306200"/>
                <a:gd name="connsiteY14" fmla="*/ 43268 h 747096"/>
                <a:gd name="connsiteX15" fmla="*/ 2213970 w 5306200"/>
                <a:gd name="connsiteY15" fmla="*/ 34614 h 747096"/>
                <a:gd name="connsiteX16" fmla="*/ 2441849 w 5306200"/>
                <a:gd name="connsiteY16" fmla="*/ 25960 h 747096"/>
                <a:gd name="connsiteX17" fmla="*/ 2764918 w 5306200"/>
                <a:gd name="connsiteY17" fmla="*/ 20191 h 747096"/>
                <a:gd name="connsiteX18" fmla="*/ 2900491 w 5306200"/>
                <a:gd name="connsiteY18" fmla="*/ 17307 h 747096"/>
                <a:gd name="connsiteX19" fmla="*/ 3027411 w 5306200"/>
                <a:gd name="connsiteY19" fmla="*/ 14422 h 747096"/>
                <a:gd name="connsiteX20" fmla="*/ 3157216 w 5306200"/>
                <a:gd name="connsiteY20" fmla="*/ 11538 h 747096"/>
                <a:gd name="connsiteX21" fmla="*/ 3336057 w 5306200"/>
                <a:gd name="connsiteY21" fmla="*/ 8653 h 747096"/>
                <a:gd name="connsiteX22" fmla="*/ 3506245 w 5306200"/>
                <a:gd name="connsiteY22" fmla="*/ 8653 h 747096"/>
                <a:gd name="connsiteX23" fmla="*/ 3722586 w 5306200"/>
                <a:gd name="connsiteY23" fmla="*/ 11537 h 747096"/>
                <a:gd name="connsiteX24" fmla="*/ 5306200 w 5306200"/>
                <a:gd name="connsiteY24" fmla="*/ 0 h 747096"/>
                <a:gd name="connsiteX25" fmla="*/ 5306200 w 5306200"/>
                <a:gd name="connsiteY25" fmla="*/ 744212 h 747096"/>
                <a:gd name="connsiteX26" fmla="*/ 3177408 w 5306200"/>
                <a:gd name="connsiteY26" fmla="*/ 747096 h 747096"/>
                <a:gd name="connsiteX27" fmla="*/ 2952413 w 5306200"/>
                <a:gd name="connsiteY27" fmla="*/ 747096 h 747096"/>
                <a:gd name="connsiteX28" fmla="*/ 2877415 w 5306200"/>
                <a:gd name="connsiteY28" fmla="*/ 747096 h 747096"/>
                <a:gd name="connsiteX29" fmla="*/ 2551462 w 5306200"/>
                <a:gd name="connsiteY29" fmla="*/ 741327 h 747096"/>
                <a:gd name="connsiteX30" fmla="*/ 2456272 w 5306200"/>
                <a:gd name="connsiteY30" fmla="*/ 735558 h 747096"/>
                <a:gd name="connsiteX31" fmla="*/ 2366851 w 5306200"/>
                <a:gd name="connsiteY31" fmla="*/ 729789 h 747096"/>
                <a:gd name="connsiteX32" fmla="*/ 2263008 w 5306200"/>
                <a:gd name="connsiteY32" fmla="*/ 724020 h 747096"/>
                <a:gd name="connsiteX33" fmla="*/ 2075512 w 5306200"/>
                <a:gd name="connsiteY33" fmla="*/ 706713 h 747096"/>
                <a:gd name="connsiteX34" fmla="*/ 1882248 w 5306200"/>
                <a:gd name="connsiteY34" fmla="*/ 686521 h 747096"/>
                <a:gd name="connsiteX35" fmla="*/ 1697637 w 5306200"/>
                <a:gd name="connsiteY35" fmla="*/ 669213 h 747096"/>
                <a:gd name="connsiteX36" fmla="*/ 1513026 w 5306200"/>
                <a:gd name="connsiteY36" fmla="*/ 652832 h 747096"/>
                <a:gd name="connsiteX37" fmla="*/ 1319762 w 5306200"/>
                <a:gd name="connsiteY37" fmla="*/ 631714 h 747096"/>
                <a:gd name="connsiteX38" fmla="*/ 1063038 w 5306200"/>
                <a:gd name="connsiteY38" fmla="*/ 602869 h 747096"/>
                <a:gd name="connsiteX39" fmla="*/ 538051 w 5306200"/>
                <a:gd name="connsiteY39" fmla="*/ 522102 h 747096"/>
                <a:gd name="connsiteX40" fmla="*/ 373632 w 5306200"/>
                <a:gd name="connsiteY40" fmla="*/ 496141 h 747096"/>
                <a:gd name="connsiteX41" fmla="*/ 192723 w 5306200"/>
                <a:gd name="connsiteY41" fmla="*/ 467187 h 747096"/>
                <a:gd name="connsiteX42" fmla="*/ 0 w 5306200"/>
                <a:gd name="connsiteY42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47350 w 5306200"/>
                <a:gd name="connsiteY12" fmla="*/ 29170 h 747096"/>
                <a:gd name="connsiteX13" fmla="*/ 1870385 w 5306200"/>
                <a:gd name="connsiteY13" fmla="*/ 31946 h 747096"/>
                <a:gd name="connsiteX14" fmla="*/ 2057063 w 5306200"/>
                <a:gd name="connsiteY14" fmla="*/ 31838 h 747096"/>
                <a:gd name="connsiteX15" fmla="*/ 2213970 w 5306200"/>
                <a:gd name="connsiteY15" fmla="*/ 34614 h 747096"/>
                <a:gd name="connsiteX16" fmla="*/ 2441849 w 5306200"/>
                <a:gd name="connsiteY16" fmla="*/ 25960 h 747096"/>
                <a:gd name="connsiteX17" fmla="*/ 2764918 w 5306200"/>
                <a:gd name="connsiteY17" fmla="*/ 20191 h 747096"/>
                <a:gd name="connsiteX18" fmla="*/ 2900491 w 5306200"/>
                <a:gd name="connsiteY18" fmla="*/ 17307 h 747096"/>
                <a:gd name="connsiteX19" fmla="*/ 3027411 w 5306200"/>
                <a:gd name="connsiteY19" fmla="*/ 14422 h 747096"/>
                <a:gd name="connsiteX20" fmla="*/ 3157216 w 5306200"/>
                <a:gd name="connsiteY20" fmla="*/ 11538 h 747096"/>
                <a:gd name="connsiteX21" fmla="*/ 3336057 w 5306200"/>
                <a:gd name="connsiteY21" fmla="*/ 8653 h 747096"/>
                <a:gd name="connsiteX22" fmla="*/ 3506245 w 5306200"/>
                <a:gd name="connsiteY22" fmla="*/ 8653 h 747096"/>
                <a:gd name="connsiteX23" fmla="*/ 3722586 w 5306200"/>
                <a:gd name="connsiteY23" fmla="*/ 11537 h 747096"/>
                <a:gd name="connsiteX24" fmla="*/ 5306200 w 5306200"/>
                <a:gd name="connsiteY24" fmla="*/ 0 h 747096"/>
                <a:gd name="connsiteX25" fmla="*/ 5306200 w 5306200"/>
                <a:gd name="connsiteY25" fmla="*/ 744212 h 747096"/>
                <a:gd name="connsiteX26" fmla="*/ 3177408 w 5306200"/>
                <a:gd name="connsiteY26" fmla="*/ 747096 h 747096"/>
                <a:gd name="connsiteX27" fmla="*/ 2952413 w 5306200"/>
                <a:gd name="connsiteY27" fmla="*/ 747096 h 747096"/>
                <a:gd name="connsiteX28" fmla="*/ 2877415 w 5306200"/>
                <a:gd name="connsiteY28" fmla="*/ 747096 h 747096"/>
                <a:gd name="connsiteX29" fmla="*/ 2551462 w 5306200"/>
                <a:gd name="connsiteY29" fmla="*/ 741327 h 747096"/>
                <a:gd name="connsiteX30" fmla="*/ 2456272 w 5306200"/>
                <a:gd name="connsiteY30" fmla="*/ 735558 h 747096"/>
                <a:gd name="connsiteX31" fmla="*/ 2366851 w 5306200"/>
                <a:gd name="connsiteY31" fmla="*/ 729789 h 747096"/>
                <a:gd name="connsiteX32" fmla="*/ 2263008 w 5306200"/>
                <a:gd name="connsiteY32" fmla="*/ 724020 h 747096"/>
                <a:gd name="connsiteX33" fmla="*/ 2075512 w 5306200"/>
                <a:gd name="connsiteY33" fmla="*/ 706713 h 747096"/>
                <a:gd name="connsiteX34" fmla="*/ 1882248 w 5306200"/>
                <a:gd name="connsiteY34" fmla="*/ 686521 h 747096"/>
                <a:gd name="connsiteX35" fmla="*/ 1697637 w 5306200"/>
                <a:gd name="connsiteY35" fmla="*/ 669213 h 747096"/>
                <a:gd name="connsiteX36" fmla="*/ 1513026 w 5306200"/>
                <a:gd name="connsiteY36" fmla="*/ 652832 h 747096"/>
                <a:gd name="connsiteX37" fmla="*/ 1319762 w 5306200"/>
                <a:gd name="connsiteY37" fmla="*/ 631714 h 747096"/>
                <a:gd name="connsiteX38" fmla="*/ 1063038 w 5306200"/>
                <a:gd name="connsiteY38" fmla="*/ 602869 h 747096"/>
                <a:gd name="connsiteX39" fmla="*/ 538051 w 5306200"/>
                <a:gd name="connsiteY39" fmla="*/ 522102 h 747096"/>
                <a:gd name="connsiteX40" fmla="*/ 373632 w 5306200"/>
                <a:gd name="connsiteY40" fmla="*/ 496141 h 747096"/>
                <a:gd name="connsiteX41" fmla="*/ 192723 w 5306200"/>
                <a:gd name="connsiteY41" fmla="*/ 467187 h 747096"/>
                <a:gd name="connsiteX42" fmla="*/ 0 w 5306200"/>
                <a:gd name="connsiteY42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47350 w 5306200"/>
                <a:gd name="connsiteY12" fmla="*/ 29170 h 747096"/>
                <a:gd name="connsiteX13" fmla="*/ 2057063 w 5306200"/>
                <a:gd name="connsiteY13" fmla="*/ 31838 h 747096"/>
                <a:gd name="connsiteX14" fmla="*/ 2213970 w 5306200"/>
                <a:gd name="connsiteY14" fmla="*/ 34614 h 747096"/>
                <a:gd name="connsiteX15" fmla="*/ 2441849 w 5306200"/>
                <a:gd name="connsiteY15" fmla="*/ 25960 h 747096"/>
                <a:gd name="connsiteX16" fmla="*/ 2764918 w 5306200"/>
                <a:gd name="connsiteY16" fmla="*/ 20191 h 747096"/>
                <a:gd name="connsiteX17" fmla="*/ 2900491 w 5306200"/>
                <a:gd name="connsiteY17" fmla="*/ 17307 h 747096"/>
                <a:gd name="connsiteX18" fmla="*/ 3027411 w 5306200"/>
                <a:gd name="connsiteY18" fmla="*/ 14422 h 747096"/>
                <a:gd name="connsiteX19" fmla="*/ 3157216 w 5306200"/>
                <a:gd name="connsiteY19" fmla="*/ 11538 h 747096"/>
                <a:gd name="connsiteX20" fmla="*/ 3336057 w 5306200"/>
                <a:gd name="connsiteY20" fmla="*/ 8653 h 747096"/>
                <a:gd name="connsiteX21" fmla="*/ 3506245 w 5306200"/>
                <a:gd name="connsiteY21" fmla="*/ 8653 h 747096"/>
                <a:gd name="connsiteX22" fmla="*/ 3722586 w 5306200"/>
                <a:gd name="connsiteY22" fmla="*/ 11537 h 747096"/>
                <a:gd name="connsiteX23" fmla="*/ 5306200 w 5306200"/>
                <a:gd name="connsiteY23" fmla="*/ 0 h 747096"/>
                <a:gd name="connsiteX24" fmla="*/ 5306200 w 5306200"/>
                <a:gd name="connsiteY24" fmla="*/ 744212 h 747096"/>
                <a:gd name="connsiteX25" fmla="*/ 3177408 w 5306200"/>
                <a:gd name="connsiteY25" fmla="*/ 747096 h 747096"/>
                <a:gd name="connsiteX26" fmla="*/ 2952413 w 5306200"/>
                <a:gd name="connsiteY26" fmla="*/ 747096 h 747096"/>
                <a:gd name="connsiteX27" fmla="*/ 2877415 w 5306200"/>
                <a:gd name="connsiteY27" fmla="*/ 747096 h 747096"/>
                <a:gd name="connsiteX28" fmla="*/ 2551462 w 5306200"/>
                <a:gd name="connsiteY28" fmla="*/ 741327 h 747096"/>
                <a:gd name="connsiteX29" fmla="*/ 2456272 w 5306200"/>
                <a:gd name="connsiteY29" fmla="*/ 735558 h 747096"/>
                <a:gd name="connsiteX30" fmla="*/ 2366851 w 5306200"/>
                <a:gd name="connsiteY30" fmla="*/ 729789 h 747096"/>
                <a:gd name="connsiteX31" fmla="*/ 2263008 w 5306200"/>
                <a:gd name="connsiteY31" fmla="*/ 724020 h 747096"/>
                <a:gd name="connsiteX32" fmla="*/ 2075512 w 5306200"/>
                <a:gd name="connsiteY32" fmla="*/ 706713 h 747096"/>
                <a:gd name="connsiteX33" fmla="*/ 1882248 w 5306200"/>
                <a:gd name="connsiteY33" fmla="*/ 686521 h 747096"/>
                <a:gd name="connsiteX34" fmla="*/ 1697637 w 5306200"/>
                <a:gd name="connsiteY34" fmla="*/ 669213 h 747096"/>
                <a:gd name="connsiteX35" fmla="*/ 1513026 w 5306200"/>
                <a:gd name="connsiteY35" fmla="*/ 652832 h 747096"/>
                <a:gd name="connsiteX36" fmla="*/ 1319762 w 5306200"/>
                <a:gd name="connsiteY36" fmla="*/ 631714 h 747096"/>
                <a:gd name="connsiteX37" fmla="*/ 1063038 w 5306200"/>
                <a:gd name="connsiteY37" fmla="*/ 602869 h 747096"/>
                <a:gd name="connsiteX38" fmla="*/ 538051 w 5306200"/>
                <a:gd name="connsiteY38" fmla="*/ 522102 h 747096"/>
                <a:gd name="connsiteX39" fmla="*/ 373632 w 5306200"/>
                <a:gd name="connsiteY39" fmla="*/ 496141 h 747096"/>
                <a:gd name="connsiteX40" fmla="*/ 192723 w 5306200"/>
                <a:gd name="connsiteY40" fmla="*/ 467187 h 747096"/>
                <a:gd name="connsiteX41" fmla="*/ 0 w 5306200"/>
                <a:gd name="connsiteY41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47350 w 5306200"/>
                <a:gd name="connsiteY12" fmla="*/ 29170 h 747096"/>
                <a:gd name="connsiteX13" fmla="*/ 2057063 w 5306200"/>
                <a:gd name="connsiteY13" fmla="*/ 31838 h 747096"/>
                <a:gd name="connsiteX14" fmla="*/ 2441849 w 5306200"/>
                <a:gd name="connsiteY14" fmla="*/ 25960 h 747096"/>
                <a:gd name="connsiteX15" fmla="*/ 2764918 w 5306200"/>
                <a:gd name="connsiteY15" fmla="*/ 20191 h 747096"/>
                <a:gd name="connsiteX16" fmla="*/ 2900491 w 5306200"/>
                <a:gd name="connsiteY16" fmla="*/ 17307 h 747096"/>
                <a:gd name="connsiteX17" fmla="*/ 3027411 w 5306200"/>
                <a:gd name="connsiteY17" fmla="*/ 14422 h 747096"/>
                <a:gd name="connsiteX18" fmla="*/ 3157216 w 5306200"/>
                <a:gd name="connsiteY18" fmla="*/ 11538 h 747096"/>
                <a:gd name="connsiteX19" fmla="*/ 3336057 w 5306200"/>
                <a:gd name="connsiteY19" fmla="*/ 8653 h 747096"/>
                <a:gd name="connsiteX20" fmla="*/ 3506245 w 5306200"/>
                <a:gd name="connsiteY20" fmla="*/ 8653 h 747096"/>
                <a:gd name="connsiteX21" fmla="*/ 3722586 w 5306200"/>
                <a:gd name="connsiteY21" fmla="*/ 11537 h 747096"/>
                <a:gd name="connsiteX22" fmla="*/ 5306200 w 5306200"/>
                <a:gd name="connsiteY22" fmla="*/ 0 h 747096"/>
                <a:gd name="connsiteX23" fmla="*/ 5306200 w 5306200"/>
                <a:gd name="connsiteY23" fmla="*/ 744212 h 747096"/>
                <a:gd name="connsiteX24" fmla="*/ 3177408 w 5306200"/>
                <a:gd name="connsiteY24" fmla="*/ 747096 h 747096"/>
                <a:gd name="connsiteX25" fmla="*/ 2952413 w 5306200"/>
                <a:gd name="connsiteY25" fmla="*/ 747096 h 747096"/>
                <a:gd name="connsiteX26" fmla="*/ 2877415 w 5306200"/>
                <a:gd name="connsiteY26" fmla="*/ 747096 h 747096"/>
                <a:gd name="connsiteX27" fmla="*/ 2551462 w 5306200"/>
                <a:gd name="connsiteY27" fmla="*/ 741327 h 747096"/>
                <a:gd name="connsiteX28" fmla="*/ 2456272 w 5306200"/>
                <a:gd name="connsiteY28" fmla="*/ 735558 h 747096"/>
                <a:gd name="connsiteX29" fmla="*/ 2366851 w 5306200"/>
                <a:gd name="connsiteY29" fmla="*/ 729789 h 747096"/>
                <a:gd name="connsiteX30" fmla="*/ 2263008 w 5306200"/>
                <a:gd name="connsiteY30" fmla="*/ 724020 h 747096"/>
                <a:gd name="connsiteX31" fmla="*/ 2075512 w 5306200"/>
                <a:gd name="connsiteY31" fmla="*/ 706713 h 747096"/>
                <a:gd name="connsiteX32" fmla="*/ 1882248 w 5306200"/>
                <a:gd name="connsiteY32" fmla="*/ 686521 h 747096"/>
                <a:gd name="connsiteX33" fmla="*/ 1697637 w 5306200"/>
                <a:gd name="connsiteY33" fmla="*/ 669213 h 747096"/>
                <a:gd name="connsiteX34" fmla="*/ 1513026 w 5306200"/>
                <a:gd name="connsiteY34" fmla="*/ 652832 h 747096"/>
                <a:gd name="connsiteX35" fmla="*/ 1319762 w 5306200"/>
                <a:gd name="connsiteY35" fmla="*/ 631714 h 747096"/>
                <a:gd name="connsiteX36" fmla="*/ 1063038 w 5306200"/>
                <a:gd name="connsiteY36" fmla="*/ 602869 h 747096"/>
                <a:gd name="connsiteX37" fmla="*/ 538051 w 5306200"/>
                <a:gd name="connsiteY37" fmla="*/ 522102 h 747096"/>
                <a:gd name="connsiteX38" fmla="*/ 373632 w 5306200"/>
                <a:gd name="connsiteY38" fmla="*/ 496141 h 747096"/>
                <a:gd name="connsiteX39" fmla="*/ 192723 w 5306200"/>
                <a:gd name="connsiteY39" fmla="*/ 467187 h 747096"/>
                <a:gd name="connsiteX40" fmla="*/ 0 w 5306200"/>
                <a:gd name="connsiteY40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57063 w 5306200"/>
                <a:gd name="connsiteY13" fmla="*/ 31838 h 747096"/>
                <a:gd name="connsiteX14" fmla="*/ 2441849 w 5306200"/>
                <a:gd name="connsiteY14" fmla="*/ 25960 h 747096"/>
                <a:gd name="connsiteX15" fmla="*/ 2764918 w 5306200"/>
                <a:gd name="connsiteY15" fmla="*/ 20191 h 747096"/>
                <a:gd name="connsiteX16" fmla="*/ 2900491 w 5306200"/>
                <a:gd name="connsiteY16" fmla="*/ 17307 h 747096"/>
                <a:gd name="connsiteX17" fmla="*/ 3027411 w 5306200"/>
                <a:gd name="connsiteY17" fmla="*/ 14422 h 747096"/>
                <a:gd name="connsiteX18" fmla="*/ 3157216 w 5306200"/>
                <a:gd name="connsiteY18" fmla="*/ 11538 h 747096"/>
                <a:gd name="connsiteX19" fmla="*/ 3336057 w 5306200"/>
                <a:gd name="connsiteY19" fmla="*/ 8653 h 747096"/>
                <a:gd name="connsiteX20" fmla="*/ 3506245 w 5306200"/>
                <a:gd name="connsiteY20" fmla="*/ 8653 h 747096"/>
                <a:gd name="connsiteX21" fmla="*/ 3722586 w 5306200"/>
                <a:gd name="connsiteY21" fmla="*/ 11537 h 747096"/>
                <a:gd name="connsiteX22" fmla="*/ 5306200 w 5306200"/>
                <a:gd name="connsiteY22" fmla="*/ 0 h 747096"/>
                <a:gd name="connsiteX23" fmla="*/ 5306200 w 5306200"/>
                <a:gd name="connsiteY23" fmla="*/ 744212 h 747096"/>
                <a:gd name="connsiteX24" fmla="*/ 3177408 w 5306200"/>
                <a:gd name="connsiteY24" fmla="*/ 747096 h 747096"/>
                <a:gd name="connsiteX25" fmla="*/ 2952413 w 5306200"/>
                <a:gd name="connsiteY25" fmla="*/ 747096 h 747096"/>
                <a:gd name="connsiteX26" fmla="*/ 2877415 w 5306200"/>
                <a:gd name="connsiteY26" fmla="*/ 747096 h 747096"/>
                <a:gd name="connsiteX27" fmla="*/ 2551462 w 5306200"/>
                <a:gd name="connsiteY27" fmla="*/ 741327 h 747096"/>
                <a:gd name="connsiteX28" fmla="*/ 2456272 w 5306200"/>
                <a:gd name="connsiteY28" fmla="*/ 735558 h 747096"/>
                <a:gd name="connsiteX29" fmla="*/ 2366851 w 5306200"/>
                <a:gd name="connsiteY29" fmla="*/ 729789 h 747096"/>
                <a:gd name="connsiteX30" fmla="*/ 2263008 w 5306200"/>
                <a:gd name="connsiteY30" fmla="*/ 724020 h 747096"/>
                <a:gd name="connsiteX31" fmla="*/ 2075512 w 5306200"/>
                <a:gd name="connsiteY31" fmla="*/ 706713 h 747096"/>
                <a:gd name="connsiteX32" fmla="*/ 1882248 w 5306200"/>
                <a:gd name="connsiteY32" fmla="*/ 686521 h 747096"/>
                <a:gd name="connsiteX33" fmla="*/ 1697637 w 5306200"/>
                <a:gd name="connsiteY33" fmla="*/ 669213 h 747096"/>
                <a:gd name="connsiteX34" fmla="*/ 1513026 w 5306200"/>
                <a:gd name="connsiteY34" fmla="*/ 652832 h 747096"/>
                <a:gd name="connsiteX35" fmla="*/ 1319762 w 5306200"/>
                <a:gd name="connsiteY35" fmla="*/ 631714 h 747096"/>
                <a:gd name="connsiteX36" fmla="*/ 1063038 w 5306200"/>
                <a:gd name="connsiteY36" fmla="*/ 602869 h 747096"/>
                <a:gd name="connsiteX37" fmla="*/ 538051 w 5306200"/>
                <a:gd name="connsiteY37" fmla="*/ 522102 h 747096"/>
                <a:gd name="connsiteX38" fmla="*/ 373632 w 5306200"/>
                <a:gd name="connsiteY38" fmla="*/ 496141 h 747096"/>
                <a:gd name="connsiteX39" fmla="*/ 192723 w 5306200"/>
                <a:gd name="connsiteY39" fmla="*/ 467187 h 747096"/>
                <a:gd name="connsiteX40" fmla="*/ 0 w 5306200"/>
                <a:gd name="connsiteY40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57063 w 5306200"/>
                <a:gd name="connsiteY13" fmla="*/ 31838 h 747096"/>
                <a:gd name="connsiteX14" fmla="*/ 2438039 w 5306200"/>
                <a:gd name="connsiteY14" fmla="*/ 14530 h 747096"/>
                <a:gd name="connsiteX15" fmla="*/ 2764918 w 5306200"/>
                <a:gd name="connsiteY15" fmla="*/ 20191 h 747096"/>
                <a:gd name="connsiteX16" fmla="*/ 2900491 w 5306200"/>
                <a:gd name="connsiteY16" fmla="*/ 17307 h 747096"/>
                <a:gd name="connsiteX17" fmla="*/ 3027411 w 5306200"/>
                <a:gd name="connsiteY17" fmla="*/ 14422 h 747096"/>
                <a:gd name="connsiteX18" fmla="*/ 3157216 w 5306200"/>
                <a:gd name="connsiteY18" fmla="*/ 11538 h 747096"/>
                <a:gd name="connsiteX19" fmla="*/ 3336057 w 5306200"/>
                <a:gd name="connsiteY19" fmla="*/ 8653 h 747096"/>
                <a:gd name="connsiteX20" fmla="*/ 3506245 w 5306200"/>
                <a:gd name="connsiteY20" fmla="*/ 8653 h 747096"/>
                <a:gd name="connsiteX21" fmla="*/ 3722586 w 5306200"/>
                <a:gd name="connsiteY21" fmla="*/ 11537 h 747096"/>
                <a:gd name="connsiteX22" fmla="*/ 5306200 w 5306200"/>
                <a:gd name="connsiteY22" fmla="*/ 0 h 747096"/>
                <a:gd name="connsiteX23" fmla="*/ 5306200 w 5306200"/>
                <a:gd name="connsiteY23" fmla="*/ 744212 h 747096"/>
                <a:gd name="connsiteX24" fmla="*/ 3177408 w 5306200"/>
                <a:gd name="connsiteY24" fmla="*/ 747096 h 747096"/>
                <a:gd name="connsiteX25" fmla="*/ 2952413 w 5306200"/>
                <a:gd name="connsiteY25" fmla="*/ 747096 h 747096"/>
                <a:gd name="connsiteX26" fmla="*/ 2877415 w 5306200"/>
                <a:gd name="connsiteY26" fmla="*/ 747096 h 747096"/>
                <a:gd name="connsiteX27" fmla="*/ 2551462 w 5306200"/>
                <a:gd name="connsiteY27" fmla="*/ 741327 h 747096"/>
                <a:gd name="connsiteX28" fmla="*/ 2456272 w 5306200"/>
                <a:gd name="connsiteY28" fmla="*/ 735558 h 747096"/>
                <a:gd name="connsiteX29" fmla="*/ 2366851 w 5306200"/>
                <a:gd name="connsiteY29" fmla="*/ 729789 h 747096"/>
                <a:gd name="connsiteX30" fmla="*/ 2263008 w 5306200"/>
                <a:gd name="connsiteY30" fmla="*/ 724020 h 747096"/>
                <a:gd name="connsiteX31" fmla="*/ 2075512 w 5306200"/>
                <a:gd name="connsiteY31" fmla="*/ 706713 h 747096"/>
                <a:gd name="connsiteX32" fmla="*/ 1882248 w 5306200"/>
                <a:gd name="connsiteY32" fmla="*/ 686521 h 747096"/>
                <a:gd name="connsiteX33" fmla="*/ 1697637 w 5306200"/>
                <a:gd name="connsiteY33" fmla="*/ 669213 h 747096"/>
                <a:gd name="connsiteX34" fmla="*/ 1513026 w 5306200"/>
                <a:gd name="connsiteY34" fmla="*/ 652832 h 747096"/>
                <a:gd name="connsiteX35" fmla="*/ 1319762 w 5306200"/>
                <a:gd name="connsiteY35" fmla="*/ 631714 h 747096"/>
                <a:gd name="connsiteX36" fmla="*/ 1063038 w 5306200"/>
                <a:gd name="connsiteY36" fmla="*/ 602869 h 747096"/>
                <a:gd name="connsiteX37" fmla="*/ 538051 w 5306200"/>
                <a:gd name="connsiteY37" fmla="*/ 522102 h 747096"/>
                <a:gd name="connsiteX38" fmla="*/ 373632 w 5306200"/>
                <a:gd name="connsiteY38" fmla="*/ 496141 h 747096"/>
                <a:gd name="connsiteX39" fmla="*/ 192723 w 5306200"/>
                <a:gd name="connsiteY39" fmla="*/ 467187 h 747096"/>
                <a:gd name="connsiteX40" fmla="*/ 0 w 5306200"/>
                <a:gd name="connsiteY40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2764918 w 5306200"/>
                <a:gd name="connsiteY15" fmla="*/ 20191 h 747096"/>
                <a:gd name="connsiteX16" fmla="*/ 2900491 w 5306200"/>
                <a:gd name="connsiteY16" fmla="*/ 17307 h 747096"/>
                <a:gd name="connsiteX17" fmla="*/ 3027411 w 5306200"/>
                <a:gd name="connsiteY17" fmla="*/ 14422 h 747096"/>
                <a:gd name="connsiteX18" fmla="*/ 3157216 w 5306200"/>
                <a:gd name="connsiteY18" fmla="*/ 11538 h 747096"/>
                <a:gd name="connsiteX19" fmla="*/ 3336057 w 5306200"/>
                <a:gd name="connsiteY19" fmla="*/ 8653 h 747096"/>
                <a:gd name="connsiteX20" fmla="*/ 3506245 w 5306200"/>
                <a:gd name="connsiteY20" fmla="*/ 8653 h 747096"/>
                <a:gd name="connsiteX21" fmla="*/ 3722586 w 5306200"/>
                <a:gd name="connsiteY21" fmla="*/ 11537 h 747096"/>
                <a:gd name="connsiteX22" fmla="*/ 5306200 w 5306200"/>
                <a:gd name="connsiteY22" fmla="*/ 0 h 747096"/>
                <a:gd name="connsiteX23" fmla="*/ 5306200 w 5306200"/>
                <a:gd name="connsiteY23" fmla="*/ 744212 h 747096"/>
                <a:gd name="connsiteX24" fmla="*/ 3177408 w 5306200"/>
                <a:gd name="connsiteY24" fmla="*/ 747096 h 747096"/>
                <a:gd name="connsiteX25" fmla="*/ 2952413 w 5306200"/>
                <a:gd name="connsiteY25" fmla="*/ 747096 h 747096"/>
                <a:gd name="connsiteX26" fmla="*/ 2877415 w 5306200"/>
                <a:gd name="connsiteY26" fmla="*/ 747096 h 747096"/>
                <a:gd name="connsiteX27" fmla="*/ 2551462 w 5306200"/>
                <a:gd name="connsiteY27" fmla="*/ 741327 h 747096"/>
                <a:gd name="connsiteX28" fmla="*/ 2456272 w 5306200"/>
                <a:gd name="connsiteY28" fmla="*/ 735558 h 747096"/>
                <a:gd name="connsiteX29" fmla="*/ 2366851 w 5306200"/>
                <a:gd name="connsiteY29" fmla="*/ 729789 h 747096"/>
                <a:gd name="connsiteX30" fmla="*/ 2263008 w 5306200"/>
                <a:gd name="connsiteY30" fmla="*/ 724020 h 747096"/>
                <a:gd name="connsiteX31" fmla="*/ 2075512 w 5306200"/>
                <a:gd name="connsiteY31" fmla="*/ 706713 h 747096"/>
                <a:gd name="connsiteX32" fmla="*/ 1882248 w 5306200"/>
                <a:gd name="connsiteY32" fmla="*/ 686521 h 747096"/>
                <a:gd name="connsiteX33" fmla="*/ 1697637 w 5306200"/>
                <a:gd name="connsiteY33" fmla="*/ 669213 h 747096"/>
                <a:gd name="connsiteX34" fmla="*/ 1513026 w 5306200"/>
                <a:gd name="connsiteY34" fmla="*/ 652832 h 747096"/>
                <a:gd name="connsiteX35" fmla="*/ 1319762 w 5306200"/>
                <a:gd name="connsiteY35" fmla="*/ 631714 h 747096"/>
                <a:gd name="connsiteX36" fmla="*/ 1063038 w 5306200"/>
                <a:gd name="connsiteY36" fmla="*/ 602869 h 747096"/>
                <a:gd name="connsiteX37" fmla="*/ 538051 w 5306200"/>
                <a:gd name="connsiteY37" fmla="*/ 522102 h 747096"/>
                <a:gd name="connsiteX38" fmla="*/ 373632 w 5306200"/>
                <a:gd name="connsiteY38" fmla="*/ 496141 h 747096"/>
                <a:gd name="connsiteX39" fmla="*/ 192723 w 5306200"/>
                <a:gd name="connsiteY39" fmla="*/ 467187 h 747096"/>
                <a:gd name="connsiteX40" fmla="*/ 0 w 5306200"/>
                <a:gd name="connsiteY40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2900491 w 5306200"/>
                <a:gd name="connsiteY15" fmla="*/ 17307 h 747096"/>
                <a:gd name="connsiteX16" fmla="*/ 3027411 w 5306200"/>
                <a:gd name="connsiteY16" fmla="*/ 14422 h 747096"/>
                <a:gd name="connsiteX17" fmla="*/ 3157216 w 5306200"/>
                <a:gd name="connsiteY17" fmla="*/ 11538 h 747096"/>
                <a:gd name="connsiteX18" fmla="*/ 3336057 w 5306200"/>
                <a:gd name="connsiteY18" fmla="*/ 8653 h 747096"/>
                <a:gd name="connsiteX19" fmla="*/ 3506245 w 5306200"/>
                <a:gd name="connsiteY19" fmla="*/ 8653 h 747096"/>
                <a:gd name="connsiteX20" fmla="*/ 3722586 w 5306200"/>
                <a:gd name="connsiteY20" fmla="*/ 11537 h 747096"/>
                <a:gd name="connsiteX21" fmla="*/ 5306200 w 5306200"/>
                <a:gd name="connsiteY21" fmla="*/ 0 h 747096"/>
                <a:gd name="connsiteX22" fmla="*/ 5306200 w 5306200"/>
                <a:gd name="connsiteY22" fmla="*/ 744212 h 747096"/>
                <a:gd name="connsiteX23" fmla="*/ 3177408 w 5306200"/>
                <a:gd name="connsiteY23" fmla="*/ 747096 h 747096"/>
                <a:gd name="connsiteX24" fmla="*/ 2952413 w 5306200"/>
                <a:gd name="connsiteY24" fmla="*/ 747096 h 747096"/>
                <a:gd name="connsiteX25" fmla="*/ 2877415 w 5306200"/>
                <a:gd name="connsiteY25" fmla="*/ 747096 h 747096"/>
                <a:gd name="connsiteX26" fmla="*/ 2551462 w 5306200"/>
                <a:gd name="connsiteY26" fmla="*/ 741327 h 747096"/>
                <a:gd name="connsiteX27" fmla="*/ 2456272 w 5306200"/>
                <a:gd name="connsiteY27" fmla="*/ 735558 h 747096"/>
                <a:gd name="connsiteX28" fmla="*/ 2366851 w 5306200"/>
                <a:gd name="connsiteY28" fmla="*/ 729789 h 747096"/>
                <a:gd name="connsiteX29" fmla="*/ 2263008 w 5306200"/>
                <a:gd name="connsiteY29" fmla="*/ 724020 h 747096"/>
                <a:gd name="connsiteX30" fmla="*/ 2075512 w 5306200"/>
                <a:gd name="connsiteY30" fmla="*/ 706713 h 747096"/>
                <a:gd name="connsiteX31" fmla="*/ 1882248 w 5306200"/>
                <a:gd name="connsiteY31" fmla="*/ 686521 h 747096"/>
                <a:gd name="connsiteX32" fmla="*/ 1697637 w 5306200"/>
                <a:gd name="connsiteY32" fmla="*/ 669213 h 747096"/>
                <a:gd name="connsiteX33" fmla="*/ 1513026 w 5306200"/>
                <a:gd name="connsiteY33" fmla="*/ 652832 h 747096"/>
                <a:gd name="connsiteX34" fmla="*/ 1319762 w 5306200"/>
                <a:gd name="connsiteY34" fmla="*/ 631714 h 747096"/>
                <a:gd name="connsiteX35" fmla="*/ 1063038 w 5306200"/>
                <a:gd name="connsiteY35" fmla="*/ 602869 h 747096"/>
                <a:gd name="connsiteX36" fmla="*/ 538051 w 5306200"/>
                <a:gd name="connsiteY36" fmla="*/ 522102 h 747096"/>
                <a:gd name="connsiteX37" fmla="*/ 373632 w 5306200"/>
                <a:gd name="connsiteY37" fmla="*/ 496141 h 747096"/>
                <a:gd name="connsiteX38" fmla="*/ 192723 w 5306200"/>
                <a:gd name="connsiteY38" fmla="*/ 467187 h 747096"/>
                <a:gd name="connsiteX39" fmla="*/ 0 w 5306200"/>
                <a:gd name="connsiteY39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27411 w 5306200"/>
                <a:gd name="connsiteY15" fmla="*/ 14422 h 747096"/>
                <a:gd name="connsiteX16" fmla="*/ 3157216 w 5306200"/>
                <a:gd name="connsiteY16" fmla="*/ 11538 h 747096"/>
                <a:gd name="connsiteX17" fmla="*/ 3336057 w 5306200"/>
                <a:gd name="connsiteY17" fmla="*/ 8653 h 747096"/>
                <a:gd name="connsiteX18" fmla="*/ 3506245 w 5306200"/>
                <a:gd name="connsiteY18" fmla="*/ 8653 h 747096"/>
                <a:gd name="connsiteX19" fmla="*/ 3722586 w 5306200"/>
                <a:gd name="connsiteY19" fmla="*/ 11537 h 747096"/>
                <a:gd name="connsiteX20" fmla="*/ 5306200 w 5306200"/>
                <a:gd name="connsiteY20" fmla="*/ 0 h 747096"/>
                <a:gd name="connsiteX21" fmla="*/ 5306200 w 5306200"/>
                <a:gd name="connsiteY21" fmla="*/ 744212 h 747096"/>
                <a:gd name="connsiteX22" fmla="*/ 3177408 w 5306200"/>
                <a:gd name="connsiteY22" fmla="*/ 747096 h 747096"/>
                <a:gd name="connsiteX23" fmla="*/ 2952413 w 5306200"/>
                <a:gd name="connsiteY23" fmla="*/ 747096 h 747096"/>
                <a:gd name="connsiteX24" fmla="*/ 2877415 w 5306200"/>
                <a:gd name="connsiteY24" fmla="*/ 747096 h 747096"/>
                <a:gd name="connsiteX25" fmla="*/ 2551462 w 5306200"/>
                <a:gd name="connsiteY25" fmla="*/ 741327 h 747096"/>
                <a:gd name="connsiteX26" fmla="*/ 2456272 w 5306200"/>
                <a:gd name="connsiteY26" fmla="*/ 735558 h 747096"/>
                <a:gd name="connsiteX27" fmla="*/ 2366851 w 5306200"/>
                <a:gd name="connsiteY27" fmla="*/ 729789 h 747096"/>
                <a:gd name="connsiteX28" fmla="*/ 2263008 w 5306200"/>
                <a:gd name="connsiteY28" fmla="*/ 724020 h 747096"/>
                <a:gd name="connsiteX29" fmla="*/ 2075512 w 5306200"/>
                <a:gd name="connsiteY29" fmla="*/ 706713 h 747096"/>
                <a:gd name="connsiteX30" fmla="*/ 1882248 w 5306200"/>
                <a:gd name="connsiteY30" fmla="*/ 686521 h 747096"/>
                <a:gd name="connsiteX31" fmla="*/ 1697637 w 5306200"/>
                <a:gd name="connsiteY31" fmla="*/ 669213 h 747096"/>
                <a:gd name="connsiteX32" fmla="*/ 1513026 w 5306200"/>
                <a:gd name="connsiteY32" fmla="*/ 652832 h 747096"/>
                <a:gd name="connsiteX33" fmla="*/ 1319762 w 5306200"/>
                <a:gd name="connsiteY33" fmla="*/ 631714 h 747096"/>
                <a:gd name="connsiteX34" fmla="*/ 1063038 w 5306200"/>
                <a:gd name="connsiteY34" fmla="*/ 602869 h 747096"/>
                <a:gd name="connsiteX35" fmla="*/ 538051 w 5306200"/>
                <a:gd name="connsiteY35" fmla="*/ 522102 h 747096"/>
                <a:gd name="connsiteX36" fmla="*/ 373632 w 5306200"/>
                <a:gd name="connsiteY36" fmla="*/ 496141 h 747096"/>
                <a:gd name="connsiteX37" fmla="*/ 192723 w 5306200"/>
                <a:gd name="connsiteY37" fmla="*/ 467187 h 747096"/>
                <a:gd name="connsiteX38" fmla="*/ 0 w 5306200"/>
                <a:gd name="connsiteY3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27411 w 5306200"/>
                <a:gd name="connsiteY15" fmla="*/ 14422 h 747096"/>
                <a:gd name="connsiteX16" fmla="*/ 3336057 w 5306200"/>
                <a:gd name="connsiteY16" fmla="*/ 8653 h 747096"/>
                <a:gd name="connsiteX17" fmla="*/ 3506245 w 5306200"/>
                <a:gd name="connsiteY17" fmla="*/ 8653 h 747096"/>
                <a:gd name="connsiteX18" fmla="*/ 3722586 w 5306200"/>
                <a:gd name="connsiteY18" fmla="*/ 11537 h 747096"/>
                <a:gd name="connsiteX19" fmla="*/ 5306200 w 5306200"/>
                <a:gd name="connsiteY19" fmla="*/ 0 h 747096"/>
                <a:gd name="connsiteX20" fmla="*/ 5306200 w 5306200"/>
                <a:gd name="connsiteY20" fmla="*/ 744212 h 747096"/>
                <a:gd name="connsiteX21" fmla="*/ 3177408 w 5306200"/>
                <a:gd name="connsiteY21" fmla="*/ 747096 h 747096"/>
                <a:gd name="connsiteX22" fmla="*/ 2952413 w 5306200"/>
                <a:gd name="connsiteY22" fmla="*/ 747096 h 747096"/>
                <a:gd name="connsiteX23" fmla="*/ 2877415 w 5306200"/>
                <a:gd name="connsiteY23" fmla="*/ 747096 h 747096"/>
                <a:gd name="connsiteX24" fmla="*/ 2551462 w 5306200"/>
                <a:gd name="connsiteY24" fmla="*/ 741327 h 747096"/>
                <a:gd name="connsiteX25" fmla="*/ 2456272 w 5306200"/>
                <a:gd name="connsiteY25" fmla="*/ 735558 h 747096"/>
                <a:gd name="connsiteX26" fmla="*/ 2366851 w 5306200"/>
                <a:gd name="connsiteY26" fmla="*/ 729789 h 747096"/>
                <a:gd name="connsiteX27" fmla="*/ 2263008 w 5306200"/>
                <a:gd name="connsiteY27" fmla="*/ 724020 h 747096"/>
                <a:gd name="connsiteX28" fmla="*/ 2075512 w 5306200"/>
                <a:gd name="connsiteY28" fmla="*/ 706713 h 747096"/>
                <a:gd name="connsiteX29" fmla="*/ 1882248 w 5306200"/>
                <a:gd name="connsiteY29" fmla="*/ 686521 h 747096"/>
                <a:gd name="connsiteX30" fmla="*/ 1697637 w 5306200"/>
                <a:gd name="connsiteY30" fmla="*/ 669213 h 747096"/>
                <a:gd name="connsiteX31" fmla="*/ 1513026 w 5306200"/>
                <a:gd name="connsiteY31" fmla="*/ 652832 h 747096"/>
                <a:gd name="connsiteX32" fmla="*/ 1319762 w 5306200"/>
                <a:gd name="connsiteY32" fmla="*/ 631714 h 747096"/>
                <a:gd name="connsiteX33" fmla="*/ 1063038 w 5306200"/>
                <a:gd name="connsiteY33" fmla="*/ 602869 h 747096"/>
                <a:gd name="connsiteX34" fmla="*/ 538051 w 5306200"/>
                <a:gd name="connsiteY34" fmla="*/ 522102 h 747096"/>
                <a:gd name="connsiteX35" fmla="*/ 373632 w 5306200"/>
                <a:gd name="connsiteY35" fmla="*/ 496141 h 747096"/>
                <a:gd name="connsiteX36" fmla="*/ 192723 w 5306200"/>
                <a:gd name="connsiteY36" fmla="*/ 467187 h 747096"/>
                <a:gd name="connsiteX37" fmla="*/ 0 w 5306200"/>
                <a:gd name="connsiteY37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27411 w 5306200"/>
                <a:gd name="connsiteY15" fmla="*/ 14422 h 747096"/>
                <a:gd name="connsiteX16" fmla="*/ 3506245 w 5306200"/>
                <a:gd name="connsiteY16" fmla="*/ 8653 h 747096"/>
                <a:gd name="connsiteX17" fmla="*/ 3722586 w 5306200"/>
                <a:gd name="connsiteY17" fmla="*/ 11537 h 747096"/>
                <a:gd name="connsiteX18" fmla="*/ 5306200 w 5306200"/>
                <a:gd name="connsiteY18" fmla="*/ 0 h 747096"/>
                <a:gd name="connsiteX19" fmla="*/ 5306200 w 5306200"/>
                <a:gd name="connsiteY19" fmla="*/ 744212 h 747096"/>
                <a:gd name="connsiteX20" fmla="*/ 3177408 w 5306200"/>
                <a:gd name="connsiteY20" fmla="*/ 747096 h 747096"/>
                <a:gd name="connsiteX21" fmla="*/ 2952413 w 5306200"/>
                <a:gd name="connsiteY21" fmla="*/ 747096 h 747096"/>
                <a:gd name="connsiteX22" fmla="*/ 2877415 w 5306200"/>
                <a:gd name="connsiteY22" fmla="*/ 747096 h 747096"/>
                <a:gd name="connsiteX23" fmla="*/ 2551462 w 5306200"/>
                <a:gd name="connsiteY23" fmla="*/ 741327 h 747096"/>
                <a:gd name="connsiteX24" fmla="*/ 2456272 w 5306200"/>
                <a:gd name="connsiteY24" fmla="*/ 735558 h 747096"/>
                <a:gd name="connsiteX25" fmla="*/ 2366851 w 5306200"/>
                <a:gd name="connsiteY25" fmla="*/ 729789 h 747096"/>
                <a:gd name="connsiteX26" fmla="*/ 2263008 w 5306200"/>
                <a:gd name="connsiteY26" fmla="*/ 724020 h 747096"/>
                <a:gd name="connsiteX27" fmla="*/ 2075512 w 5306200"/>
                <a:gd name="connsiteY27" fmla="*/ 706713 h 747096"/>
                <a:gd name="connsiteX28" fmla="*/ 1882248 w 5306200"/>
                <a:gd name="connsiteY28" fmla="*/ 686521 h 747096"/>
                <a:gd name="connsiteX29" fmla="*/ 1697637 w 5306200"/>
                <a:gd name="connsiteY29" fmla="*/ 669213 h 747096"/>
                <a:gd name="connsiteX30" fmla="*/ 1513026 w 5306200"/>
                <a:gd name="connsiteY30" fmla="*/ 652832 h 747096"/>
                <a:gd name="connsiteX31" fmla="*/ 1319762 w 5306200"/>
                <a:gd name="connsiteY31" fmla="*/ 631714 h 747096"/>
                <a:gd name="connsiteX32" fmla="*/ 1063038 w 5306200"/>
                <a:gd name="connsiteY32" fmla="*/ 602869 h 747096"/>
                <a:gd name="connsiteX33" fmla="*/ 538051 w 5306200"/>
                <a:gd name="connsiteY33" fmla="*/ 522102 h 747096"/>
                <a:gd name="connsiteX34" fmla="*/ 373632 w 5306200"/>
                <a:gd name="connsiteY34" fmla="*/ 496141 h 747096"/>
                <a:gd name="connsiteX35" fmla="*/ 192723 w 5306200"/>
                <a:gd name="connsiteY35" fmla="*/ 467187 h 747096"/>
                <a:gd name="connsiteX36" fmla="*/ 0 w 5306200"/>
                <a:gd name="connsiteY36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27411 w 5306200"/>
                <a:gd name="connsiteY15" fmla="*/ 14422 h 747096"/>
                <a:gd name="connsiteX16" fmla="*/ 3722586 w 5306200"/>
                <a:gd name="connsiteY16" fmla="*/ 1153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551462 w 5306200"/>
                <a:gd name="connsiteY22" fmla="*/ 741327 h 747096"/>
                <a:gd name="connsiteX23" fmla="*/ 2456272 w 5306200"/>
                <a:gd name="connsiteY23" fmla="*/ 735558 h 747096"/>
                <a:gd name="connsiteX24" fmla="*/ 2366851 w 5306200"/>
                <a:gd name="connsiteY24" fmla="*/ 729789 h 747096"/>
                <a:gd name="connsiteX25" fmla="*/ 2263008 w 5306200"/>
                <a:gd name="connsiteY25" fmla="*/ 724020 h 747096"/>
                <a:gd name="connsiteX26" fmla="*/ 2075512 w 5306200"/>
                <a:gd name="connsiteY26" fmla="*/ 706713 h 747096"/>
                <a:gd name="connsiteX27" fmla="*/ 1882248 w 5306200"/>
                <a:gd name="connsiteY27" fmla="*/ 686521 h 747096"/>
                <a:gd name="connsiteX28" fmla="*/ 1697637 w 5306200"/>
                <a:gd name="connsiteY28" fmla="*/ 669213 h 747096"/>
                <a:gd name="connsiteX29" fmla="*/ 1513026 w 5306200"/>
                <a:gd name="connsiteY29" fmla="*/ 652832 h 747096"/>
                <a:gd name="connsiteX30" fmla="*/ 1319762 w 5306200"/>
                <a:gd name="connsiteY30" fmla="*/ 631714 h 747096"/>
                <a:gd name="connsiteX31" fmla="*/ 1063038 w 5306200"/>
                <a:gd name="connsiteY31" fmla="*/ 602869 h 747096"/>
                <a:gd name="connsiteX32" fmla="*/ 538051 w 5306200"/>
                <a:gd name="connsiteY32" fmla="*/ 522102 h 747096"/>
                <a:gd name="connsiteX33" fmla="*/ 373632 w 5306200"/>
                <a:gd name="connsiteY33" fmla="*/ 496141 h 747096"/>
                <a:gd name="connsiteX34" fmla="*/ 192723 w 5306200"/>
                <a:gd name="connsiteY34" fmla="*/ 467187 h 747096"/>
                <a:gd name="connsiteX35" fmla="*/ 0 w 5306200"/>
                <a:gd name="connsiteY35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27411 w 5306200"/>
                <a:gd name="connsiteY15" fmla="*/ 14422 h 747096"/>
                <a:gd name="connsiteX16" fmla="*/ 3707346 w 5306200"/>
                <a:gd name="connsiteY16" fmla="*/ 391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551462 w 5306200"/>
                <a:gd name="connsiteY22" fmla="*/ 741327 h 747096"/>
                <a:gd name="connsiteX23" fmla="*/ 2456272 w 5306200"/>
                <a:gd name="connsiteY23" fmla="*/ 735558 h 747096"/>
                <a:gd name="connsiteX24" fmla="*/ 2366851 w 5306200"/>
                <a:gd name="connsiteY24" fmla="*/ 729789 h 747096"/>
                <a:gd name="connsiteX25" fmla="*/ 2263008 w 5306200"/>
                <a:gd name="connsiteY25" fmla="*/ 724020 h 747096"/>
                <a:gd name="connsiteX26" fmla="*/ 2075512 w 5306200"/>
                <a:gd name="connsiteY26" fmla="*/ 706713 h 747096"/>
                <a:gd name="connsiteX27" fmla="*/ 1882248 w 5306200"/>
                <a:gd name="connsiteY27" fmla="*/ 686521 h 747096"/>
                <a:gd name="connsiteX28" fmla="*/ 1697637 w 5306200"/>
                <a:gd name="connsiteY28" fmla="*/ 669213 h 747096"/>
                <a:gd name="connsiteX29" fmla="*/ 1513026 w 5306200"/>
                <a:gd name="connsiteY29" fmla="*/ 652832 h 747096"/>
                <a:gd name="connsiteX30" fmla="*/ 1319762 w 5306200"/>
                <a:gd name="connsiteY30" fmla="*/ 631714 h 747096"/>
                <a:gd name="connsiteX31" fmla="*/ 1063038 w 5306200"/>
                <a:gd name="connsiteY31" fmla="*/ 602869 h 747096"/>
                <a:gd name="connsiteX32" fmla="*/ 538051 w 5306200"/>
                <a:gd name="connsiteY32" fmla="*/ 522102 h 747096"/>
                <a:gd name="connsiteX33" fmla="*/ 373632 w 5306200"/>
                <a:gd name="connsiteY33" fmla="*/ 496141 h 747096"/>
                <a:gd name="connsiteX34" fmla="*/ 192723 w 5306200"/>
                <a:gd name="connsiteY34" fmla="*/ 467187 h 747096"/>
                <a:gd name="connsiteX35" fmla="*/ 0 w 5306200"/>
                <a:gd name="connsiteY35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04551 w 5306200"/>
                <a:gd name="connsiteY15" fmla="*/ 14422 h 747096"/>
                <a:gd name="connsiteX16" fmla="*/ 3707346 w 5306200"/>
                <a:gd name="connsiteY16" fmla="*/ 391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551462 w 5306200"/>
                <a:gd name="connsiteY22" fmla="*/ 741327 h 747096"/>
                <a:gd name="connsiteX23" fmla="*/ 2456272 w 5306200"/>
                <a:gd name="connsiteY23" fmla="*/ 735558 h 747096"/>
                <a:gd name="connsiteX24" fmla="*/ 2366851 w 5306200"/>
                <a:gd name="connsiteY24" fmla="*/ 729789 h 747096"/>
                <a:gd name="connsiteX25" fmla="*/ 2263008 w 5306200"/>
                <a:gd name="connsiteY25" fmla="*/ 724020 h 747096"/>
                <a:gd name="connsiteX26" fmla="*/ 2075512 w 5306200"/>
                <a:gd name="connsiteY26" fmla="*/ 706713 h 747096"/>
                <a:gd name="connsiteX27" fmla="*/ 1882248 w 5306200"/>
                <a:gd name="connsiteY27" fmla="*/ 686521 h 747096"/>
                <a:gd name="connsiteX28" fmla="*/ 1697637 w 5306200"/>
                <a:gd name="connsiteY28" fmla="*/ 669213 h 747096"/>
                <a:gd name="connsiteX29" fmla="*/ 1513026 w 5306200"/>
                <a:gd name="connsiteY29" fmla="*/ 652832 h 747096"/>
                <a:gd name="connsiteX30" fmla="*/ 1319762 w 5306200"/>
                <a:gd name="connsiteY30" fmla="*/ 631714 h 747096"/>
                <a:gd name="connsiteX31" fmla="*/ 1063038 w 5306200"/>
                <a:gd name="connsiteY31" fmla="*/ 602869 h 747096"/>
                <a:gd name="connsiteX32" fmla="*/ 538051 w 5306200"/>
                <a:gd name="connsiteY32" fmla="*/ 522102 h 747096"/>
                <a:gd name="connsiteX33" fmla="*/ 373632 w 5306200"/>
                <a:gd name="connsiteY33" fmla="*/ 496141 h 747096"/>
                <a:gd name="connsiteX34" fmla="*/ 192723 w 5306200"/>
                <a:gd name="connsiteY34" fmla="*/ 467187 h 747096"/>
                <a:gd name="connsiteX35" fmla="*/ 0 w 5306200"/>
                <a:gd name="connsiteY35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00540 w 5306200"/>
                <a:gd name="connsiteY15" fmla="*/ 10412 h 747096"/>
                <a:gd name="connsiteX16" fmla="*/ 3707346 w 5306200"/>
                <a:gd name="connsiteY16" fmla="*/ 391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551462 w 5306200"/>
                <a:gd name="connsiteY22" fmla="*/ 741327 h 747096"/>
                <a:gd name="connsiteX23" fmla="*/ 2456272 w 5306200"/>
                <a:gd name="connsiteY23" fmla="*/ 735558 h 747096"/>
                <a:gd name="connsiteX24" fmla="*/ 2366851 w 5306200"/>
                <a:gd name="connsiteY24" fmla="*/ 729789 h 747096"/>
                <a:gd name="connsiteX25" fmla="*/ 2263008 w 5306200"/>
                <a:gd name="connsiteY25" fmla="*/ 724020 h 747096"/>
                <a:gd name="connsiteX26" fmla="*/ 2075512 w 5306200"/>
                <a:gd name="connsiteY26" fmla="*/ 706713 h 747096"/>
                <a:gd name="connsiteX27" fmla="*/ 1882248 w 5306200"/>
                <a:gd name="connsiteY27" fmla="*/ 686521 h 747096"/>
                <a:gd name="connsiteX28" fmla="*/ 1697637 w 5306200"/>
                <a:gd name="connsiteY28" fmla="*/ 669213 h 747096"/>
                <a:gd name="connsiteX29" fmla="*/ 1513026 w 5306200"/>
                <a:gd name="connsiteY29" fmla="*/ 652832 h 747096"/>
                <a:gd name="connsiteX30" fmla="*/ 1319762 w 5306200"/>
                <a:gd name="connsiteY30" fmla="*/ 631714 h 747096"/>
                <a:gd name="connsiteX31" fmla="*/ 1063038 w 5306200"/>
                <a:gd name="connsiteY31" fmla="*/ 602869 h 747096"/>
                <a:gd name="connsiteX32" fmla="*/ 538051 w 5306200"/>
                <a:gd name="connsiteY32" fmla="*/ 522102 h 747096"/>
                <a:gd name="connsiteX33" fmla="*/ 373632 w 5306200"/>
                <a:gd name="connsiteY33" fmla="*/ 496141 h 747096"/>
                <a:gd name="connsiteX34" fmla="*/ 192723 w 5306200"/>
                <a:gd name="connsiteY34" fmla="*/ 467187 h 747096"/>
                <a:gd name="connsiteX35" fmla="*/ 0 w 5306200"/>
                <a:gd name="connsiteY35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00540 w 5306200"/>
                <a:gd name="connsiteY15" fmla="*/ 10412 h 747096"/>
                <a:gd name="connsiteX16" fmla="*/ 3707346 w 5306200"/>
                <a:gd name="connsiteY16" fmla="*/ 391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456272 w 5306200"/>
                <a:gd name="connsiteY22" fmla="*/ 735558 h 747096"/>
                <a:gd name="connsiteX23" fmla="*/ 2366851 w 5306200"/>
                <a:gd name="connsiteY23" fmla="*/ 729789 h 747096"/>
                <a:gd name="connsiteX24" fmla="*/ 2263008 w 5306200"/>
                <a:gd name="connsiteY24" fmla="*/ 724020 h 747096"/>
                <a:gd name="connsiteX25" fmla="*/ 2075512 w 5306200"/>
                <a:gd name="connsiteY25" fmla="*/ 706713 h 747096"/>
                <a:gd name="connsiteX26" fmla="*/ 1882248 w 5306200"/>
                <a:gd name="connsiteY26" fmla="*/ 686521 h 747096"/>
                <a:gd name="connsiteX27" fmla="*/ 1697637 w 5306200"/>
                <a:gd name="connsiteY27" fmla="*/ 669213 h 747096"/>
                <a:gd name="connsiteX28" fmla="*/ 1513026 w 5306200"/>
                <a:gd name="connsiteY28" fmla="*/ 652832 h 747096"/>
                <a:gd name="connsiteX29" fmla="*/ 1319762 w 5306200"/>
                <a:gd name="connsiteY29" fmla="*/ 631714 h 747096"/>
                <a:gd name="connsiteX30" fmla="*/ 1063038 w 5306200"/>
                <a:gd name="connsiteY30" fmla="*/ 602869 h 747096"/>
                <a:gd name="connsiteX31" fmla="*/ 538051 w 5306200"/>
                <a:gd name="connsiteY31" fmla="*/ 522102 h 747096"/>
                <a:gd name="connsiteX32" fmla="*/ 373632 w 5306200"/>
                <a:gd name="connsiteY32" fmla="*/ 496141 h 747096"/>
                <a:gd name="connsiteX33" fmla="*/ 192723 w 5306200"/>
                <a:gd name="connsiteY33" fmla="*/ 467187 h 747096"/>
                <a:gd name="connsiteX34" fmla="*/ 0 w 5306200"/>
                <a:gd name="connsiteY34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00540 w 5306200"/>
                <a:gd name="connsiteY15" fmla="*/ 10412 h 747096"/>
                <a:gd name="connsiteX16" fmla="*/ 3707346 w 5306200"/>
                <a:gd name="connsiteY16" fmla="*/ 391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456272 w 5306200"/>
                <a:gd name="connsiteY22" fmla="*/ 735558 h 747096"/>
                <a:gd name="connsiteX23" fmla="*/ 2263008 w 5306200"/>
                <a:gd name="connsiteY23" fmla="*/ 724020 h 747096"/>
                <a:gd name="connsiteX24" fmla="*/ 2075512 w 5306200"/>
                <a:gd name="connsiteY24" fmla="*/ 706713 h 747096"/>
                <a:gd name="connsiteX25" fmla="*/ 1882248 w 5306200"/>
                <a:gd name="connsiteY25" fmla="*/ 686521 h 747096"/>
                <a:gd name="connsiteX26" fmla="*/ 1697637 w 5306200"/>
                <a:gd name="connsiteY26" fmla="*/ 669213 h 747096"/>
                <a:gd name="connsiteX27" fmla="*/ 1513026 w 5306200"/>
                <a:gd name="connsiteY27" fmla="*/ 652832 h 747096"/>
                <a:gd name="connsiteX28" fmla="*/ 1319762 w 5306200"/>
                <a:gd name="connsiteY28" fmla="*/ 631714 h 747096"/>
                <a:gd name="connsiteX29" fmla="*/ 1063038 w 5306200"/>
                <a:gd name="connsiteY29" fmla="*/ 602869 h 747096"/>
                <a:gd name="connsiteX30" fmla="*/ 538051 w 5306200"/>
                <a:gd name="connsiteY30" fmla="*/ 522102 h 747096"/>
                <a:gd name="connsiteX31" fmla="*/ 373632 w 5306200"/>
                <a:gd name="connsiteY31" fmla="*/ 496141 h 747096"/>
                <a:gd name="connsiteX32" fmla="*/ 192723 w 5306200"/>
                <a:gd name="connsiteY32" fmla="*/ 467187 h 747096"/>
                <a:gd name="connsiteX33" fmla="*/ 0 w 5306200"/>
                <a:gd name="connsiteY33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00540 w 5306200"/>
                <a:gd name="connsiteY15" fmla="*/ 10412 h 747096"/>
                <a:gd name="connsiteX16" fmla="*/ 3707346 w 5306200"/>
                <a:gd name="connsiteY16" fmla="*/ 391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456272 w 5306200"/>
                <a:gd name="connsiteY22" fmla="*/ 735558 h 747096"/>
                <a:gd name="connsiteX23" fmla="*/ 2263008 w 5306200"/>
                <a:gd name="connsiteY23" fmla="*/ 724020 h 747096"/>
                <a:gd name="connsiteX24" fmla="*/ 1882248 w 5306200"/>
                <a:gd name="connsiteY24" fmla="*/ 686521 h 747096"/>
                <a:gd name="connsiteX25" fmla="*/ 1697637 w 5306200"/>
                <a:gd name="connsiteY25" fmla="*/ 669213 h 747096"/>
                <a:gd name="connsiteX26" fmla="*/ 1513026 w 5306200"/>
                <a:gd name="connsiteY26" fmla="*/ 652832 h 747096"/>
                <a:gd name="connsiteX27" fmla="*/ 1319762 w 5306200"/>
                <a:gd name="connsiteY27" fmla="*/ 631714 h 747096"/>
                <a:gd name="connsiteX28" fmla="*/ 1063038 w 5306200"/>
                <a:gd name="connsiteY28" fmla="*/ 602869 h 747096"/>
                <a:gd name="connsiteX29" fmla="*/ 538051 w 5306200"/>
                <a:gd name="connsiteY29" fmla="*/ 522102 h 747096"/>
                <a:gd name="connsiteX30" fmla="*/ 373632 w 5306200"/>
                <a:gd name="connsiteY30" fmla="*/ 496141 h 747096"/>
                <a:gd name="connsiteX31" fmla="*/ 192723 w 5306200"/>
                <a:gd name="connsiteY31" fmla="*/ 467187 h 747096"/>
                <a:gd name="connsiteX32" fmla="*/ 0 w 5306200"/>
                <a:gd name="connsiteY32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00540 w 5306200"/>
                <a:gd name="connsiteY15" fmla="*/ 10412 h 747096"/>
                <a:gd name="connsiteX16" fmla="*/ 3707346 w 5306200"/>
                <a:gd name="connsiteY16" fmla="*/ 391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456272 w 5306200"/>
                <a:gd name="connsiteY22" fmla="*/ 735558 h 747096"/>
                <a:gd name="connsiteX23" fmla="*/ 2178787 w 5306200"/>
                <a:gd name="connsiteY23" fmla="*/ 720010 h 747096"/>
                <a:gd name="connsiteX24" fmla="*/ 1882248 w 5306200"/>
                <a:gd name="connsiteY24" fmla="*/ 686521 h 747096"/>
                <a:gd name="connsiteX25" fmla="*/ 1697637 w 5306200"/>
                <a:gd name="connsiteY25" fmla="*/ 669213 h 747096"/>
                <a:gd name="connsiteX26" fmla="*/ 1513026 w 5306200"/>
                <a:gd name="connsiteY26" fmla="*/ 652832 h 747096"/>
                <a:gd name="connsiteX27" fmla="*/ 1319762 w 5306200"/>
                <a:gd name="connsiteY27" fmla="*/ 631714 h 747096"/>
                <a:gd name="connsiteX28" fmla="*/ 1063038 w 5306200"/>
                <a:gd name="connsiteY28" fmla="*/ 602869 h 747096"/>
                <a:gd name="connsiteX29" fmla="*/ 538051 w 5306200"/>
                <a:gd name="connsiteY29" fmla="*/ 522102 h 747096"/>
                <a:gd name="connsiteX30" fmla="*/ 373632 w 5306200"/>
                <a:gd name="connsiteY30" fmla="*/ 496141 h 747096"/>
                <a:gd name="connsiteX31" fmla="*/ 192723 w 5306200"/>
                <a:gd name="connsiteY31" fmla="*/ 467187 h 747096"/>
                <a:gd name="connsiteX32" fmla="*/ 0 w 5306200"/>
                <a:gd name="connsiteY32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00540 w 5306200"/>
                <a:gd name="connsiteY15" fmla="*/ 10412 h 747096"/>
                <a:gd name="connsiteX16" fmla="*/ 3707346 w 5306200"/>
                <a:gd name="connsiteY16" fmla="*/ 391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456272 w 5306200"/>
                <a:gd name="connsiteY22" fmla="*/ 735558 h 747096"/>
                <a:gd name="connsiteX23" fmla="*/ 2178787 w 5306200"/>
                <a:gd name="connsiteY23" fmla="*/ 720010 h 747096"/>
                <a:gd name="connsiteX24" fmla="*/ 1882248 w 5306200"/>
                <a:gd name="connsiteY24" fmla="*/ 686521 h 747096"/>
                <a:gd name="connsiteX25" fmla="*/ 1513026 w 5306200"/>
                <a:gd name="connsiteY25" fmla="*/ 652832 h 747096"/>
                <a:gd name="connsiteX26" fmla="*/ 1319762 w 5306200"/>
                <a:gd name="connsiteY26" fmla="*/ 631714 h 747096"/>
                <a:gd name="connsiteX27" fmla="*/ 1063038 w 5306200"/>
                <a:gd name="connsiteY27" fmla="*/ 602869 h 747096"/>
                <a:gd name="connsiteX28" fmla="*/ 538051 w 5306200"/>
                <a:gd name="connsiteY28" fmla="*/ 522102 h 747096"/>
                <a:gd name="connsiteX29" fmla="*/ 373632 w 5306200"/>
                <a:gd name="connsiteY29" fmla="*/ 496141 h 747096"/>
                <a:gd name="connsiteX30" fmla="*/ 192723 w 5306200"/>
                <a:gd name="connsiteY30" fmla="*/ 467187 h 747096"/>
                <a:gd name="connsiteX31" fmla="*/ 0 w 5306200"/>
                <a:gd name="connsiteY31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00540 w 5306200"/>
                <a:gd name="connsiteY15" fmla="*/ 10412 h 747096"/>
                <a:gd name="connsiteX16" fmla="*/ 3707346 w 5306200"/>
                <a:gd name="connsiteY16" fmla="*/ 391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456272 w 5306200"/>
                <a:gd name="connsiteY22" fmla="*/ 735558 h 747096"/>
                <a:gd name="connsiteX23" fmla="*/ 2178787 w 5306200"/>
                <a:gd name="connsiteY23" fmla="*/ 720010 h 747096"/>
                <a:gd name="connsiteX24" fmla="*/ 1882248 w 5306200"/>
                <a:gd name="connsiteY24" fmla="*/ 698552 h 747096"/>
                <a:gd name="connsiteX25" fmla="*/ 1513026 w 5306200"/>
                <a:gd name="connsiteY25" fmla="*/ 652832 h 747096"/>
                <a:gd name="connsiteX26" fmla="*/ 1319762 w 5306200"/>
                <a:gd name="connsiteY26" fmla="*/ 631714 h 747096"/>
                <a:gd name="connsiteX27" fmla="*/ 1063038 w 5306200"/>
                <a:gd name="connsiteY27" fmla="*/ 602869 h 747096"/>
                <a:gd name="connsiteX28" fmla="*/ 538051 w 5306200"/>
                <a:gd name="connsiteY28" fmla="*/ 522102 h 747096"/>
                <a:gd name="connsiteX29" fmla="*/ 373632 w 5306200"/>
                <a:gd name="connsiteY29" fmla="*/ 496141 h 747096"/>
                <a:gd name="connsiteX30" fmla="*/ 192723 w 5306200"/>
                <a:gd name="connsiteY30" fmla="*/ 467187 h 747096"/>
                <a:gd name="connsiteX31" fmla="*/ 0 w 5306200"/>
                <a:gd name="connsiteY31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1135969 w 5306200"/>
                <a:gd name="connsiteY9" fmla="*/ 61933 h 747096"/>
                <a:gd name="connsiteX10" fmla="*/ 1324233 w 5306200"/>
                <a:gd name="connsiteY10" fmla="*/ 45659 h 747096"/>
                <a:gd name="connsiteX11" fmla="*/ 1635920 w 5306200"/>
                <a:gd name="connsiteY11" fmla="*/ 25360 h 747096"/>
                <a:gd name="connsiteX12" fmla="*/ 2034203 w 5306200"/>
                <a:gd name="connsiteY12" fmla="*/ 12788 h 747096"/>
                <a:gd name="connsiteX13" fmla="*/ 2438039 w 5306200"/>
                <a:gd name="connsiteY13" fmla="*/ 14530 h 747096"/>
                <a:gd name="connsiteX14" fmla="*/ 3000540 w 5306200"/>
                <a:gd name="connsiteY14" fmla="*/ 10412 h 747096"/>
                <a:gd name="connsiteX15" fmla="*/ 3707346 w 5306200"/>
                <a:gd name="connsiteY15" fmla="*/ 3917 h 747096"/>
                <a:gd name="connsiteX16" fmla="*/ 5306200 w 5306200"/>
                <a:gd name="connsiteY16" fmla="*/ 0 h 747096"/>
                <a:gd name="connsiteX17" fmla="*/ 5306200 w 5306200"/>
                <a:gd name="connsiteY17" fmla="*/ 744212 h 747096"/>
                <a:gd name="connsiteX18" fmla="*/ 3177408 w 5306200"/>
                <a:gd name="connsiteY18" fmla="*/ 747096 h 747096"/>
                <a:gd name="connsiteX19" fmla="*/ 2952413 w 5306200"/>
                <a:gd name="connsiteY19" fmla="*/ 747096 h 747096"/>
                <a:gd name="connsiteX20" fmla="*/ 2877415 w 5306200"/>
                <a:gd name="connsiteY20" fmla="*/ 747096 h 747096"/>
                <a:gd name="connsiteX21" fmla="*/ 2456272 w 5306200"/>
                <a:gd name="connsiteY21" fmla="*/ 735558 h 747096"/>
                <a:gd name="connsiteX22" fmla="*/ 2178787 w 5306200"/>
                <a:gd name="connsiteY22" fmla="*/ 720010 h 747096"/>
                <a:gd name="connsiteX23" fmla="*/ 1882248 w 5306200"/>
                <a:gd name="connsiteY23" fmla="*/ 698552 h 747096"/>
                <a:gd name="connsiteX24" fmla="*/ 1513026 w 5306200"/>
                <a:gd name="connsiteY24" fmla="*/ 652832 h 747096"/>
                <a:gd name="connsiteX25" fmla="*/ 1319762 w 5306200"/>
                <a:gd name="connsiteY25" fmla="*/ 631714 h 747096"/>
                <a:gd name="connsiteX26" fmla="*/ 1063038 w 5306200"/>
                <a:gd name="connsiteY26" fmla="*/ 602869 h 747096"/>
                <a:gd name="connsiteX27" fmla="*/ 538051 w 5306200"/>
                <a:gd name="connsiteY27" fmla="*/ 522102 h 747096"/>
                <a:gd name="connsiteX28" fmla="*/ 373632 w 5306200"/>
                <a:gd name="connsiteY28" fmla="*/ 496141 h 747096"/>
                <a:gd name="connsiteX29" fmla="*/ 192723 w 5306200"/>
                <a:gd name="connsiteY29" fmla="*/ 467187 h 747096"/>
                <a:gd name="connsiteX30" fmla="*/ 0 w 5306200"/>
                <a:gd name="connsiteY30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1135969 w 5306200"/>
                <a:gd name="connsiteY9" fmla="*/ 61933 h 747096"/>
                <a:gd name="connsiteX10" fmla="*/ 1324233 w 5306200"/>
                <a:gd name="connsiteY10" fmla="*/ 45659 h 747096"/>
                <a:gd name="connsiteX11" fmla="*/ 1635920 w 5306200"/>
                <a:gd name="connsiteY11" fmla="*/ 25360 h 747096"/>
                <a:gd name="connsiteX12" fmla="*/ 2034203 w 5306200"/>
                <a:gd name="connsiteY12" fmla="*/ 12788 h 747096"/>
                <a:gd name="connsiteX13" fmla="*/ 2446060 w 5306200"/>
                <a:gd name="connsiteY13" fmla="*/ 2499 h 747096"/>
                <a:gd name="connsiteX14" fmla="*/ 3000540 w 5306200"/>
                <a:gd name="connsiteY14" fmla="*/ 10412 h 747096"/>
                <a:gd name="connsiteX15" fmla="*/ 3707346 w 5306200"/>
                <a:gd name="connsiteY15" fmla="*/ 3917 h 747096"/>
                <a:gd name="connsiteX16" fmla="*/ 5306200 w 5306200"/>
                <a:gd name="connsiteY16" fmla="*/ 0 h 747096"/>
                <a:gd name="connsiteX17" fmla="*/ 5306200 w 5306200"/>
                <a:gd name="connsiteY17" fmla="*/ 744212 h 747096"/>
                <a:gd name="connsiteX18" fmla="*/ 3177408 w 5306200"/>
                <a:gd name="connsiteY18" fmla="*/ 747096 h 747096"/>
                <a:gd name="connsiteX19" fmla="*/ 2952413 w 5306200"/>
                <a:gd name="connsiteY19" fmla="*/ 747096 h 747096"/>
                <a:gd name="connsiteX20" fmla="*/ 2877415 w 5306200"/>
                <a:gd name="connsiteY20" fmla="*/ 747096 h 747096"/>
                <a:gd name="connsiteX21" fmla="*/ 2456272 w 5306200"/>
                <a:gd name="connsiteY21" fmla="*/ 735558 h 747096"/>
                <a:gd name="connsiteX22" fmla="*/ 2178787 w 5306200"/>
                <a:gd name="connsiteY22" fmla="*/ 720010 h 747096"/>
                <a:gd name="connsiteX23" fmla="*/ 1882248 w 5306200"/>
                <a:gd name="connsiteY23" fmla="*/ 698552 h 747096"/>
                <a:gd name="connsiteX24" fmla="*/ 1513026 w 5306200"/>
                <a:gd name="connsiteY24" fmla="*/ 652832 h 747096"/>
                <a:gd name="connsiteX25" fmla="*/ 1319762 w 5306200"/>
                <a:gd name="connsiteY25" fmla="*/ 631714 h 747096"/>
                <a:gd name="connsiteX26" fmla="*/ 1063038 w 5306200"/>
                <a:gd name="connsiteY26" fmla="*/ 602869 h 747096"/>
                <a:gd name="connsiteX27" fmla="*/ 538051 w 5306200"/>
                <a:gd name="connsiteY27" fmla="*/ 522102 h 747096"/>
                <a:gd name="connsiteX28" fmla="*/ 373632 w 5306200"/>
                <a:gd name="connsiteY28" fmla="*/ 496141 h 747096"/>
                <a:gd name="connsiteX29" fmla="*/ 192723 w 5306200"/>
                <a:gd name="connsiteY29" fmla="*/ 467187 h 747096"/>
                <a:gd name="connsiteX30" fmla="*/ 0 w 5306200"/>
                <a:gd name="connsiteY30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1135969 w 5306200"/>
                <a:gd name="connsiteY9" fmla="*/ 61933 h 747096"/>
                <a:gd name="connsiteX10" fmla="*/ 1324233 w 5306200"/>
                <a:gd name="connsiteY10" fmla="*/ 45659 h 747096"/>
                <a:gd name="connsiteX11" fmla="*/ 1635920 w 5306200"/>
                <a:gd name="connsiteY11" fmla="*/ 25360 h 747096"/>
                <a:gd name="connsiteX12" fmla="*/ 2034203 w 5306200"/>
                <a:gd name="connsiteY12" fmla="*/ 12788 h 747096"/>
                <a:gd name="connsiteX13" fmla="*/ 2446060 w 5306200"/>
                <a:gd name="connsiteY13" fmla="*/ 2499 h 747096"/>
                <a:gd name="connsiteX14" fmla="*/ 3016583 w 5306200"/>
                <a:gd name="connsiteY14" fmla="*/ 6401 h 747096"/>
                <a:gd name="connsiteX15" fmla="*/ 3707346 w 5306200"/>
                <a:gd name="connsiteY15" fmla="*/ 3917 h 747096"/>
                <a:gd name="connsiteX16" fmla="*/ 5306200 w 5306200"/>
                <a:gd name="connsiteY16" fmla="*/ 0 h 747096"/>
                <a:gd name="connsiteX17" fmla="*/ 5306200 w 5306200"/>
                <a:gd name="connsiteY17" fmla="*/ 744212 h 747096"/>
                <a:gd name="connsiteX18" fmla="*/ 3177408 w 5306200"/>
                <a:gd name="connsiteY18" fmla="*/ 747096 h 747096"/>
                <a:gd name="connsiteX19" fmla="*/ 2952413 w 5306200"/>
                <a:gd name="connsiteY19" fmla="*/ 747096 h 747096"/>
                <a:gd name="connsiteX20" fmla="*/ 2877415 w 5306200"/>
                <a:gd name="connsiteY20" fmla="*/ 747096 h 747096"/>
                <a:gd name="connsiteX21" fmla="*/ 2456272 w 5306200"/>
                <a:gd name="connsiteY21" fmla="*/ 735558 h 747096"/>
                <a:gd name="connsiteX22" fmla="*/ 2178787 w 5306200"/>
                <a:gd name="connsiteY22" fmla="*/ 720010 h 747096"/>
                <a:gd name="connsiteX23" fmla="*/ 1882248 w 5306200"/>
                <a:gd name="connsiteY23" fmla="*/ 698552 h 747096"/>
                <a:gd name="connsiteX24" fmla="*/ 1513026 w 5306200"/>
                <a:gd name="connsiteY24" fmla="*/ 652832 h 747096"/>
                <a:gd name="connsiteX25" fmla="*/ 1319762 w 5306200"/>
                <a:gd name="connsiteY25" fmla="*/ 631714 h 747096"/>
                <a:gd name="connsiteX26" fmla="*/ 1063038 w 5306200"/>
                <a:gd name="connsiteY26" fmla="*/ 602869 h 747096"/>
                <a:gd name="connsiteX27" fmla="*/ 538051 w 5306200"/>
                <a:gd name="connsiteY27" fmla="*/ 522102 h 747096"/>
                <a:gd name="connsiteX28" fmla="*/ 373632 w 5306200"/>
                <a:gd name="connsiteY28" fmla="*/ 496141 h 747096"/>
                <a:gd name="connsiteX29" fmla="*/ 192723 w 5306200"/>
                <a:gd name="connsiteY29" fmla="*/ 467187 h 747096"/>
                <a:gd name="connsiteX30" fmla="*/ 0 w 5306200"/>
                <a:gd name="connsiteY30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1135969 w 5306200"/>
                <a:gd name="connsiteY9" fmla="*/ 61933 h 747096"/>
                <a:gd name="connsiteX10" fmla="*/ 1324233 w 5306200"/>
                <a:gd name="connsiteY10" fmla="*/ 45659 h 747096"/>
                <a:gd name="connsiteX11" fmla="*/ 1635920 w 5306200"/>
                <a:gd name="connsiteY11" fmla="*/ 25360 h 747096"/>
                <a:gd name="connsiteX12" fmla="*/ 2034203 w 5306200"/>
                <a:gd name="connsiteY12" fmla="*/ 12788 h 747096"/>
                <a:gd name="connsiteX13" fmla="*/ 2446060 w 5306200"/>
                <a:gd name="connsiteY13" fmla="*/ 2499 h 747096"/>
                <a:gd name="connsiteX14" fmla="*/ 3016583 w 5306200"/>
                <a:gd name="connsiteY14" fmla="*/ 6401 h 747096"/>
                <a:gd name="connsiteX15" fmla="*/ 3707346 w 5306200"/>
                <a:gd name="connsiteY15" fmla="*/ 3917 h 747096"/>
                <a:gd name="connsiteX16" fmla="*/ 5306200 w 5306200"/>
                <a:gd name="connsiteY16" fmla="*/ 0 h 747096"/>
                <a:gd name="connsiteX17" fmla="*/ 5306200 w 5306200"/>
                <a:gd name="connsiteY17" fmla="*/ 744212 h 747096"/>
                <a:gd name="connsiteX18" fmla="*/ 3177408 w 5306200"/>
                <a:gd name="connsiteY18" fmla="*/ 747096 h 747096"/>
                <a:gd name="connsiteX19" fmla="*/ 2952413 w 5306200"/>
                <a:gd name="connsiteY19" fmla="*/ 747096 h 747096"/>
                <a:gd name="connsiteX20" fmla="*/ 2877415 w 5306200"/>
                <a:gd name="connsiteY20" fmla="*/ 747096 h 747096"/>
                <a:gd name="connsiteX21" fmla="*/ 2456272 w 5306200"/>
                <a:gd name="connsiteY21" fmla="*/ 735558 h 747096"/>
                <a:gd name="connsiteX22" fmla="*/ 2178787 w 5306200"/>
                <a:gd name="connsiteY22" fmla="*/ 720010 h 747096"/>
                <a:gd name="connsiteX23" fmla="*/ 1882248 w 5306200"/>
                <a:gd name="connsiteY23" fmla="*/ 698552 h 747096"/>
                <a:gd name="connsiteX24" fmla="*/ 1513026 w 5306200"/>
                <a:gd name="connsiteY24" fmla="*/ 652832 h 747096"/>
                <a:gd name="connsiteX25" fmla="*/ 1319762 w 5306200"/>
                <a:gd name="connsiteY25" fmla="*/ 631714 h 747096"/>
                <a:gd name="connsiteX26" fmla="*/ 1063038 w 5306200"/>
                <a:gd name="connsiteY26" fmla="*/ 602869 h 747096"/>
                <a:gd name="connsiteX27" fmla="*/ 538051 w 5306200"/>
                <a:gd name="connsiteY27" fmla="*/ 522102 h 747096"/>
                <a:gd name="connsiteX28" fmla="*/ 373632 w 5306200"/>
                <a:gd name="connsiteY28" fmla="*/ 496141 h 747096"/>
                <a:gd name="connsiteX29" fmla="*/ 192723 w 5306200"/>
                <a:gd name="connsiteY29" fmla="*/ 467187 h 747096"/>
                <a:gd name="connsiteX30" fmla="*/ 0 w 5306200"/>
                <a:gd name="connsiteY30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1135969 w 5306200"/>
                <a:gd name="connsiteY9" fmla="*/ 61933 h 747096"/>
                <a:gd name="connsiteX10" fmla="*/ 1324233 w 5306200"/>
                <a:gd name="connsiteY10" fmla="*/ 45659 h 747096"/>
                <a:gd name="connsiteX11" fmla="*/ 1635920 w 5306200"/>
                <a:gd name="connsiteY11" fmla="*/ 25360 h 747096"/>
                <a:gd name="connsiteX12" fmla="*/ 2034203 w 5306200"/>
                <a:gd name="connsiteY12" fmla="*/ 12788 h 747096"/>
                <a:gd name="connsiteX13" fmla="*/ 2446060 w 5306200"/>
                <a:gd name="connsiteY13" fmla="*/ 2499 h 747096"/>
                <a:gd name="connsiteX14" fmla="*/ 3016583 w 5306200"/>
                <a:gd name="connsiteY14" fmla="*/ 6401 h 747096"/>
                <a:gd name="connsiteX15" fmla="*/ 3707346 w 5306200"/>
                <a:gd name="connsiteY15" fmla="*/ 3917 h 747096"/>
                <a:gd name="connsiteX16" fmla="*/ 5306200 w 5306200"/>
                <a:gd name="connsiteY16" fmla="*/ 0 h 747096"/>
                <a:gd name="connsiteX17" fmla="*/ 5306200 w 5306200"/>
                <a:gd name="connsiteY17" fmla="*/ 744212 h 747096"/>
                <a:gd name="connsiteX18" fmla="*/ 3177408 w 5306200"/>
                <a:gd name="connsiteY18" fmla="*/ 747096 h 747096"/>
                <a:gd name="connsiteX19" fmla="*/ 2952413 w 5306200"/>
                <a:gd name="connsiteY19" fmla="*/ 747096 h 747096"/>
                <a:gd name="connsiteX20" fmla="*/ 2877415 w 5306200"/>
                <a:gd name="connsiteY20" fmla="*/ 747096 h 747096"/>
                <a:gd name="connsiteX21" fmla="*/ 2456272 w 5306200"/>
                <a:gd name="connsiteY21" fmla="*/ 735558 h 747096"/>
                <a:gd name="connsiteX22" fmla="*/ 2178787 w 5306200"/>
                <a:gd name="connsiteY22" fmla="*/ 720010 h 747096"/>
                <a:gd name="connsiteX23" fmla="*/ 1882248 w 5306200"/>
                <a:gd name="connsiteY23" fmla="*/ 698552 h 747096"/>
                <a:gd name="connsiteX24" fmla="*/ 1513026 w 5306200"/>
                <a:gd name="connsiteY24" fmla="*/ 652832 h 747096"/>
                <a:gd name="connsiteX25" fmla="*/ 1319762 w 5306200"/>
                <a:gd name="connsiteY25" fmla="*/ 631714 h 747096"/>
                <a:gd name="connsiteX26" fmla="*/ 1063038 w 5306200"/>
                <a:gd name="connsiteY26" fmla="*/ 602869 h 747096"/>
                <a:gd name="connsiteX27" fmla="*/ 538051 w 5306200"/>
                <a:gd name="connsiteY27" fmla="*/ 522102 h 747096"/>
                <a:gd name="connsiteX28" fmla="*/ 373632 w 5306200"/>
                <a:gd name="connsiteY28" fmla="*/ 496141 h 747096"/>
                <a:gd name="connsiteX29" fmla="*/ 192723 w 5306200"/>
                <a:gd name="connsiteY29" fmla="*/ 467187 h 747096"/>
                <a:gd name="connsiteX30" fmla="*/ 0 w 5306200"/>
                <a:gd name="connsiteY30" fmla="*/ 436383 h 747096"/>
                <a:gd name="connsiteX0" fmla="*/ 0 w 6598025"/>
                <a:gd name="connsiteY0" fmla="*/ 165450 h 747096"/>
                <a:gd name="connsiteX1" fmla="*/ 1391426 w 6598025"/>
                <a:gd name="connsiteY1" fmla="*/ 386528 h 747096"/>
                <a:gd name="connsiteX2" fmla="*/ 1426040 w 6598025"/>
                <a:gd name="connsiteY2" fmla="*/ 369221 h 747096"/>
                <a:gd name="connsiteX3" fmla="*/ 1463539 w 6598025"/>
                <a:gd name="connsiteY3" fmla="*/ 349029 h 747096"/>
                <a:gd name="connsiteX4" fmla="*/ 1498154 w 6598025"/>
                <a:gd name="connsiteY4" fmla="*/ 331722 h 747096"/>
                <a:gd name="connsiteX5" fmla="*/ 1526999 w 6598025"/>
                <a:gd name="connsiteY5" fmla="*/ 317299 h 747096"/>
                <a:gd name="connsiteX6" fmla="*/ 1736645 w 6598025"/>
                <a:gd name="connsiteY6" fmla="*/ 223251 h 747096"/>
                <a:gd name="connsiteX7" fmla="*/ 1932795 w 6598025"/>
                <a:gd name="connsiteY7" fmla="*/ 158866 h 747096"/>
                <a:gd name="connsiteX8" fmla="*/ 2149135 w 6598025"/>
                <a:gd name="connsiteY8" fmla="*/ 107978 h 747096"/>
                <a:gd name="connsiteX9" fmla="*/ 2427794 w 6598025"/>
                <a:gd name="connsiteY9" fmla="*/ 61933 h 747096"/>
                <a:gd name="connsiteX10" fmla="*/ 2616058 w 6598025"/>
                <a:gd name="connsiteY10" fmla="*/ 45659 h 747096"/>
                <a:gd name="connsiteX11" fmla="*/ 2927745 w 6598025"/>
                <a:gd name="connsiteY11" fmla="*/ 25360 h 747096"/>
                <a:gd name="connsiteX12" fmla="*/ 3326028 w 6598025"/>
                <a:gd name="connsiteY12" fmla="*/ 12788 h 747096"/>
                <a:gd name="connsiteX13" fmla="*/ 3737885 w 6598025"/>
                <a:gd name="connsiteY13" fmla="*/ 2499 h 747096"/>
                <a:gd name="connsiteX14" fmla="*/ 4308408 w 6598025"/>
                <a:gd name="connsiteY14" fmla="*/ 6401 h 747096"/>
                <a:gd name="connsiteX15" fmla="*/ 4999171 w 6598025"/>
                <a:gd name="connsiteY15" fmla="*/ 3917 h 747096"/>
                <a:gd name="connsiteX16" fmla="*/ 6598025 w 6598025"/>
                <a:gd name="connsiteY16" fmla="*/ 0 h 747096"/>
                <a:gd name="connsiteX17" fmla="*/ 6598025 w 6598025"/>
                <a:gd name="connsiteY17" fmla="*/ 744212 h 747096"/>
                <a:gd name="connsiteX18" fmla="*/ 4469233 w 6598025"/>
                <a:gd name="connsiteY18" fmla="*/ 747096 h 747096"/>
                <a:gd name="connsiteX19" fmla="*/ 4244238 w 6598025"/>
                <a:gd name="connsiteY19" fmla="*/ 747096 h 747096"/>
                <a:gd name="connsiteX20" fmla="*/ 4169240 w 6598025"/>
                <a:gd name="connsiteY20" fmla="*/ 747096 h 747096"/>
                <a:gd name="connsiteX21" fmla="*/ 3748097 w 6598025"/>
                <a:gd name="connsiteY21" fmla="*/ 735558 h 747096"/>
                <a:gd name="connsiteX22" fmla="*/ 3470612 w 6598025"/>
                <a:gd name="connsiteY22" fmla="*/ 720010 h 747096"/>
                <a:gd name="connsiteX23" fmla="*/ 3174073 w 6598025"/>
                <a:gd name="connsiteY23" fmla="*/ 698552 h 747096"/>
                <a:gd name="connsiteX24" fmla="*/ 2804851 w 6598025"/>
                <a:gd name="connsiteY24" fmla="*/ 652832 h 747096"/>
                <a:gd name="connsiteX25" fmla="*/ 2611587 w 6598025"/>
                <a:gd name="connsiteY25" fmla="*/ 631714 h 747096"/>
                <a:gd name="connsiteX26" fmla="*/ 2354863 w 6598025"/>
                <a:gd name="connsiteY26" fmla="*/ 602869 h 747096"/>
                <a:gd name="connsiteX27" fmla="*/ 1829876 w 6598025"/>
                <a:gd name="connsiteY27" fmla="*/ 522102 h 747096"/>
                <a:gd name="connsiteX28" fmla="*/ 1665457 w 6598025"/>
                <a:gd name="connsiteY28" fmla="*/ 496141 h 747096"/>
                <a:gd name="connsiteX29" fmla="*/ 1484548 w 6598025"/>
                <a:gd name="connsiteY29" fmla="*/ 467187 h 747096"/>
                <a:gd name="connsiteX30" fmla="*/ 0 w 6598025"/>
                <a:gd name="connsiteY30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1426040 w 6598025"/>
                <a:gd name="connsiteY2" fmla="*/ 369221 h 747096"/>
                <a:gd name="connsiteX3" fmla="*/ 1463539 w 6598025"/>
                <a:gd name="connsiteY3" fmla="*/ 349029 h 747096"/>
                <a:gd name="connsiteX4" fmla="*/ 1498154 w 6598025"/>
                <a:gd name="connsiteY4" fmla="*/ 331722 h 747096"/>
                <a:gd name="connsiteX5" fmla="*/ 1526999 w 6598025"/>
                <a:gd name="connsiteY5" fmla="*/ 317299 h 747096"/>
                <a:gd name="connsiteX6" fmla="*/ 1736645 w 6598025"/>
                <a:gd name="connsiteY6" fmla="*/ 223251 h 747096"/>
                <a:gd name="connsiteX7" fmla="*/ 1932795 w 6598025"/>
                <a:gd name="connsiteY7" fmla="*/ 158866 h 747096"/>
                <a:gd name="connsiteX8" fmla="*/ 2149135 w 6598025"/>
                <a:gd name="connsiteY8" fmla="*/ 107978 h 747096"/>
                <a:gd name="connsiteX9" fmla="*/ 2427794 w 6598025"/>
                <a:gd name="connsiteY9" fmla="*/ 61933 h 747096"/>
                <a:gd name="connsiteX10" fmla="*/ 2616058 w 6598025"/>
                <a:gd name="connsiteY10" fmla="*/ 45659 h 747096"/>
                <a:gd name="connsiteX11" fmla="*/ 2927745 w 6598025"/>
                <a:gd name="connsiteY11" fmla="*/ 25360 h 747096"/>
                <a:gd name="connsiteX12" fmla="*/ 3326028 w 6598025"/>
                <a:gd name="connsiteY12" fmla="*/ 12788 h 747096"/>
                <a:gd name="connsiteX13" fmla="*/ 3737885 w 6598025"/>
                <a:gd name="connsiteY13" fmla="*/ 2499 h 747096"/>
                <a:gd name="connsiteX14" fmla="*/ 4308408 w 6598025"/>
                <a:gd name="connsiteY14" fmla="*/ 6401 h 747096"/>
                <a:gd name="connsiteX15" fmla="*/ 4999171 w 6598025"/>
                <a:gd name="connsiteY15" fmla="*/ 3917 h 747096"/>
                <a:gd name="connsiteX16" fmla="*/ 6598025 w 6598025"/>
                <a:gd name="connsiteY16" fmla="*/ 0 h 747096"/>
                <a:gd name="connsiteX17" fmla="*/ 6598025 w 6598025"/>
                <a:gd name="connsiteY17" fmla="*/ 744212 h 747096"/>
                <a:gd name="connsiteX18" fmla="*/ 4469233 w 6598025"/>
                <a:gd name="connsiteY18" fmla="*/ 747096 h 747096"/>
                <a:gd name="connsiteX19" fmla="*/ 4244238 w 6598025"/>
                <a:gd name="connsiteY19" fmla="*/ 747096 h 747096"/>
                <a:gd name="connsiteX20" fmla="*/ 4169240 w 6598025"/>
                <a:gd name="connsiteY20" fmla="*/ 747096 h 747096"/>
                <a:gd name="connsiteX21" fmla="*/ 3748097 w 6598025"/>
                <a:gd name="connsiteY21" fmla="*/ 735558 h 747096"/>
                <a:gd name="connsiteX22" fmla="*/ 3470612 w 6598025"/>
                <a:gd name="connsiteY22" fmla="*/ 720010 h 747096"/>
                <a:gd name="connsiteX23" fmla="*/ 3174073 w 6598025"/>
                <a:gd name="connsiteY23" fmla="*/ 698552 h 747096"/>
                <a:gd name="connsiteX24" fmla="*/ 2804851 w 6598025"/>
                <a:gd name="connsiteY24" fmla="*/ 652832 h 747096"/>
                <a:gd name="connsiteX25" fmla="*/ 2611587 w 6598025"/>
                <a:gd name="connsiteY25" fmla="*/ 631714 h 747096"/>
                <a:gd name="connsiteX26" fmla="*/ 2354863 w 6598025"/>
                <a:gd name="connsiteY26" fmla="*/ 602869 h 747096"/>
                <a:gd name="connsiteX27" fmla="*/ 1829876 w 6598025"/>
                <a:gd name="connsiteY27" fmla="*/ 522102 h 747096"/>
                <a:gd name="connsiteX28" fmla="*/ 1665457 w 6598025"/>
                <a:gd name="connsiteY28" fmla="*/ 496141 h 747096"/>
                <a:gd name="connsiteX29" fmla="*/ 1484548 w 6598025"/>
                <a:gd name="connsiteY29" fmla="*/ 467187 h 747096"/>
                <a:gd name="connsiteX30" fmla="*/ 0 w 6598025"/>
                <a:gd name="connsiteY30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463539 w 6598025"/>
                <a:gd name="connsiteY3" fmla="*/ 349029 h 747096"/>
                <a:gd name="connsiteX4" fmla="*/ 1498154 w 6598025"/>
                <a:gd name="connsiteY4" fmla="*/ 331722 h 747096"/>
                <a:gd name="connsiteX5" fmla="*/ 1526999 w 6598025"/>
                <a:gd name="connsiteY5" fmla="*/ 317299 h 747096"/>
                <a:gd name="connsiteX6" fmla="*/ 1736645 w 6598025"/>
                <a:gd name="connsiteY6" fmla="*/ 223251 h 747096"/>
                <a:gd name="connsiteX7" fmla="*/ 1932795 w 6598025"/>
                <a:gd name="connsiteY7" fmla="*/ 158866 h 747096"/>
                <a:gd name="connsiteX8" fmla="*/ 2149135 w 6598025"/>
                <a:gd name="connsiteY8" fmla="*/ 107978 h 747096"/>
                <a:gd name="connsiteX9" fmla="*/ 2427794 w 6598025"/>
                <a:gd name="connsiteY9" fmla="*/ 61933 h 747096"/>
                <a:gd name="connsiteX10" fmla="*/ 2616058 w 6598025"/>
                <a:gd name="connsiteY10" fmla="*/ 45659 h 747096"/>
                <a:gd name="connsiteX11" fmla="*/ 2927745 w 6598025"/>
                <a:gd name="connsiteY11" fmla="*/ 25360 h 747096"/>
                <a:gd name="connsiteX12" fmla="*/ 3326028 w 6598025"/>
                <a:gd name="connsiteY12" fmla="*/ 12788 h 747096"/>
                <a:gd name="connsiteX13" fmla="*/ 3737885 w 6598025"/>
                <a:gd name="connsiteY13" fmla="*/ 2499 h 747096"/>
                <a:gd name="connsiteX14" fmla="*/ 4308408 w 6598025"/>
                <a:gd name="connsiteY14" fmla="*/ 6401 h 747096"/>
                <a:gd name="connsiteX15" fmla="*/ 4999171 w 6598025"/>
                <a:gd name="connsiteY15" fmla="*/ 3917 h 747096"/>
                <a:gd name="connsiteX16" fmla="*/ 6598025 w 6598025"/>
                <a:gd name="connsiteY16" fmla="*/ 0 h 747096"/>
                <a:gd name="connsiteX17" fmla="*/ 6598025 w 6598025"/>
                <a:gd name="connsiteY17" fmla="*/ 744212 h 747096"/>
                <a:gd name="connsiteX18" fmla="*/ 4469233 w 6598025"/>
                <a:gd name="connsiteY18" fmla="*/ 747096 h 747096"/>
                <a:gd name="connsiteX19" fmla="*/ 4244238 w 6598025"/>
                <a:gd name="connsiteY19" fmla="*/ 747096 h 747096"/>
                <a:gd name="connsiteX20" fmla="*/ 4169240 w 6598025"/>
                <a:gd name="connsiteY20" fmla="*/ 747096 h 747096"/>
                <a:gd name="connsiteX21" fmla="*/ 3748097 w 6598025"/>
                <a:gd name="connsiteY21" fmla="*/ 735558 h 747096"/>
                <a:gd name="connsiteX22" fmla="*/ 3470612 w 6598025"/>
                <a:gd name="connsiteY22" fmla="*/ 720010 h 747096"/>
                <a:gd name="connsiteX23" fmla="*/ 3174073 w 6598025"/>
                <a:gd name="connsiteY23" fmla="*/ 698552 h 747096"/>
                <a:gd name="connsiteX24" fmla="*/ 2804851 w 6598025"/>
                <a:gd name="connsiteY24" fmla="*/ 652832 h 747096"/>
                <a:gd name="connsiteX25" fmla="*/ 2611587 w 6598025"/>
                <a:gd name="connsiteY25" fmla="*/ 631714 h 747096"/>
                <a:gd name="connsiteX26" fmla="*/ 2354863 w 6598025"/>
                <a:gd name="connsiteY26" fmla="*/ 602869 h 747096"/>
                <a:gd name="connsiteX27" fmla="*/ 1829876 w 6598025"/>
                <a:gd name="connsiteY27" fmla="*/ 522102 h 747096"/>
                <a:gd name="connsiteX28" fmla="*/ 1665457 w 6598025"/>
                <a:gd name="connsiteY28" fmla="*/ 496141 h 747096"/>
                <a:gd name="connsiteX29" fmla="*/ 1484548 w 6598025"/>
                <a:gd name="connsiteY29" fmla="*/ 467187 h 747096"/>
                <a:gd name="connsiteX30" fmla="*/ 0 w 6598025"/>
                <a:gd name="connsiteY30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498154 w 6598025"/>
                <a:gd name="connsiteY4" fmla="*/ 331722 h 747096"/>
                <a:gd name="connsiteX5" fmla="*/ 1526999 w 6598025"/>
                <a:gd name="connsiteY5" fmla="*/ 317299 h 747096"/>
                <a:gd name="connsiteX6" fmla="*/ 1736645 w 6598025"/>
                <a:gd name="connsiteY6" fmla="*/ 223251 h 747096"/>
                <a:gd name="connsiteX7" fmla="*/ 1932795 w 6598025"/>
                <a:gd name="connsiteY7" fmla="*/ 158866 h 747096"/>
                <a:gd name="connsiteX8" fmla="*/ 2149135 w 6598025"/>
                <a:gd name="connsiteY8" fmla="*/ 107978 h 747096"/>
                <a:gd name="connsiteX9" fmla="*/ 2427794 w 6598025"/>
                <a:gd name="connsiteY9" fmla="*/ 61933 h 747096"/>
                <a:gd name="connsiteX10" fmla="*/ 2616058 w 6598025"/>
                <a:gd name="connsiteY10" fmla="*/ 45659 h 747096"/>
                <a:gd name="connsiteX11" fmla="*/ 2927745 w 6598025"/>
                <a:gd name="connsiteY11" fmla="*/ 25360 h 747096"/>
                <a:gd name="connsiteX12" fmla="*/ 3326028 w 6598025"/>
                <a:gd name="connsiteY12" fmla="*/ 12788 h 747096"/>
                <a:gd name="connsiteX13" fmla="*/ 3737885 w 6598025"/>
                <a:gd name="connsiteY13" fmla="*/ 2499 h 747096"/>
                <a:gd name="connsiteX14" fmla="*/ 4308408 w 6598025"/>
                <a:gd name="connsiteY14" fmla="*/ 6401 h 747096"/>
                <a:gd name="connsiteX15" fmla="*/ 4999171 w 6598025"/>
                <a:gd name="connsiteY15" fmla="*/ 3917 h 747096"/>
                <a:gd name="connsiteX16" fmla="*/ 6598025 w 6598025"/>
                <a:gd name="connsiteY16" fmla="*/ 0 h 747096"/>
                <a:gd name="connsiteX17" fmla="*/ 6598025 w 6598025"/>
                <a:gd name="connsiteY17" fmla="*/ 744212 h 747096"/>
                <a:gd name="connsiteX18" fmla="*/ 4469233 w 6598025"/>
                <a:gd name="connsiteY18" fmla="*/ 747096 h 747096"/>
                <a:gd name="connsiteX19" fmla="*/ 4244238 w 6598025"/>
                <a:gd name="connsiteY19" fmla="*/ 747096 h 747096"/>
                <a:gd name="connsiteX20" fmla="*/ 4169240 w 6598025"/>
                <a:gd name="connsiteY20" fmla="*/ 747096 h 747096"/>
                <a:gd name="connsiteX21" fmla="*/ 3748097 w 6598025"/>
                <a:gd name="connsiteY21" fmla="*/ 735558 h 747096"/>
                <a:gd name="connsiteX22" fmla="*/ 3470612 w 6598025"/>
                <a:gd name="connsiteY22" fmla="*/ 720010 h 747096"/>
                <a:gd name="connsiteX23" fmla="*/ 3174073 w 6598025"/>
                <a:gd name="connsiteY23" fmla="*/ 698552 h 747096"/>
                <a:gd name="connsiteX24" fmla="*/ 2804851 w 6598025"/>
                <a:gd name="connsiteY24" fmla="*/ 652832 h 747096"/>
                <a:gd name="connsiteX25" fmla="*/ 2611587 w 6598025"/>
                <a:gd name="connsiteY25" fmla="*/ 631714 h 747096"/>
                <a:gd name="connsiteX26" fmla="*/ 2354863 w 6598025"/>
                <a:gd name="connsiteY26" fmla="*/ 602869 h 747096"/>
                <a:gd name="connsiteX27" fmla="*/ 1829876 w 6598025"/>
                <a:gd name="connsiteY27" fmla="*/ 522102 h 747096"/>
                <a:gd name="connsiteX28" fmla="*/ 1665457 w 6598025"/>
                <a:gd name="connsiteY28" fmla="*/ 496141 h 747096"/>
                <a:gd name="connsiteX29" fmla="*/ 1484548 w 6598025"/>
                <a:gd name="connsiteY29" fmla="*/ 467187 h 747096"/>
                <a:gd name="connsiteX30" fmla="*/ 0 w 6598025"/>
                <a:gd name="connsiteY30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526999 w 6598025"/>
                <a:gd name="connsiteY5" fmla="*/ 317299 h 747096"/>
                <a:gd name="connsiteX6" fmla="*/ 1736645 w 6598025"/>
                <a:gd name="connsiteY6" fmla="*/ 223251 h 747096"/>
                <a:gd name="connsiteX7" fmla="*/ 1932795 w 6598025"/>
                <a:gd name="connsiteY7" fmla="*/ 158866 h 747096"/>
                <a:gd name="connsiteX8" fmla="*/ 2149135 w 6598025"/>
                <a:gd name="connsiteY8" fmla="*/ 107978 h 747096"/>
                <a:gd name="connsiteX9" fmla="*/ 2427794 w 6598025"/>
                <a:gd name="connsiteY9" fmla="*/ 61933 h 747096"/>
                <a:gd name="connsiteX10" fmla="*/ 2616058 w 6598025"/>
                <a:gd name="connsiteY10" fmla="*/ 45659 h 747096"/>
                <a:gd name="connsiteX11" fmla="*/ 2927745 w 6598025"/>
                <a:gd name="connsiteY11" fmla="*/ 25360 h 747096"/>
                <a:gd name="connsiteX12" fmla="*/ 3326028 w 6598025"/>
                <a:gd name="connsiteY12" fmla="*/ 12788 h 747096"/>
                <a:gd name="connsiteX13" fmla="*/ 3737885 w 6598025"/>
                <a:gd name="connsiteY13" fmla="*/ 2499 h 747096"/>
                <a:gd name="connsiteX14" fmla="*/ 4308408 w 6598025"/>
                <a:gd name="connsiteY14" fmla="*/ 6401 h 747096"/>
                <a:gd name="connsiteX15" fmla="*/ 4999171 w 6598025"/>
                <a:gd name="connsiteY15" fmla="*/ 3917 h 747096"/>
                <a:gd name="connsiteX16" fmla="*/ 6598025 w 6598025"/>
                <a:gd name="connsiteY16" fmla="*/ 0 h 747096"/>
                <a:gd name="connsiteX17" fmla="*/ 6598025 w 6598025"/>
                <a:gd name="connsiteY17" fmla="*/ 744212 h 747096"/>
                <a:gd name="connsiteX18" fmla="*/ 4469233 w 6598025"/>
                <a:gd name="connsiteY18" fmla="*/ 747096 h 747096"/>
                <a:gd name="connsiteX19" fmla="*/ 4244238 w 6598025"/>
                <a:gd name="connsiteY19" fmla="*/ 747096 h 747096"/>
                <a:gd name="connsiteX20" fmla="*/ 4169240 w 6598025"/>
                <a:gd name="connsiteY20" fmla="*/ 747096 h 747096"/>
                <a:gd name="connsiteX21" fmla="*/ 3748097 w 6598025"/>
                <a:gd name="connsiteY21" fmla="*/ 735558 h 747096"/>
                <a:gd name="connsiteX22" fmla="*/ 3470612 w 6598025"/>
                <a:gd name="connsiteY22" fmla="*/ 720010 h 747096"/>
                <a:gd name="connsiteX23" fmla="*/ 3174073 w 6598025"/>
                <a:gd name="connsiteY23" fmla="*/ 698552 h 747096"/>
                <a:gd name="connsiteX24" fmla="*/ 2804851 w 6598025"/>
                <a:gd name="connsiteY24" fmla="*/ 652832 h 747096"/>
                <a:gd name="connsiteX25" fmla="*/ 2611587 w 6598025"/>
                <a:gd name="connsiteY25" fmla="*/ 631714 h 747096"/>
                <a:gd name="connsiteX26" fmla="*/ 2354863 w 6598025"/>
                <a:gd name="connsiteY26" fmla="*/ 602869 h 747096"/>
                <a:gd name="connsiteX27" fmla="*/ 1829876 w 6598025"/>
                <a:gd name="connsiteY27" fmla="*/ 522102 h 747096"/>
                <a:gd name="connsiteX28" fmla="*/ 1665457 w 6598025"/>
                <a:gd name="connsiteY28" fmla="*/ 496141 h 747096"/>
                <a:gd name="connsiteX29" fmla="*/ 1484548 w 6598025"/>
                <a:gd name="connsiteY29" fmla="*/ 467187 h 747096"/>
                <a:gd name="connsiteX30" fmla="*/ 0 w 6598025"/>
                <a:gd name="connsiteY30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666516 w 6598025"/>
                <a:gd name="connsiteY5" fmla="*/ 123446 h 747096"/>
                <a:gd name="connsiteX6" fmla="*/ 1736645 w 6598025"/>
                <a:gd name="connsiteY6" fmla="*/ 223251 h 747096"/>
                <a:gd name="connsiteX7" fmla="*/ 1932795 w 6598025"/>
                <a:gd name="connsiteY7" fmla="*/ 158866 h 747096"/>
                <a:gd name="connsiteX8" fmla="*/ 2149135 w 6598025"/>
                <a:gd name="connsiteY8" fmla="*/ 107978 h 747096"/>
                <a:gd name="connsiteX9" fmla="*/ 2427794 w 6598025"/>
                <a:gd name="connsiteY9" fmla="*/ 61933 h 747096"/>
                <a:gd name="connsiteX10" fmla="*/ 2616058 w 6598025"/>
                <a:gd name="connsiteY10" fmla="*/ 45659 h 747096"/>
                <a:gd name="connsiteX11" fmla="*/ 2927745 w 6598025"/>
                <a:gd name="connsiteY11" fmla="*/ 25360 h 747096"/>
                <a:gd name="connsiteX12" fmla="*/ 3326028 w 6598025"/>
                <a:gd name="connsiteY12" fmla="*/ 12788 h 747096"/>
                <a:gd name="connsiteX13" fmla="*/ 3737885 w 6598025"/>
                <a:gd name="connsiteY13" fmla="*/ 2499 h 747096"/>
                <a:gd name="connsiteX14" fmla="*/ 4308408 w 6598025"/>
                <a:gd name="connsiteY14" fmla="*/ 6401 h 747096"/>
                <a:gd name="connsiteX15" fmla="*/ 4999171 w 6598025"/>
                <a:gd name="connsiteY15" fmla="*/ 3917 h 747096"/>
                <a:gd name="connsiteX16" fmla="*/ 6598025 w 6598025"/>
                <a:gd name="connsiteY16" fmla="*/ 0 h 747096"/>
                <a:gd name="connsiteX17" fmla="*/ 6598025 w 6598025"/>
                <a:gd name="connsiteY17" fmla="*/ 744212 h 747096"/>
                <a:gd name="connsiteX18" fmla="*/ 4469233 w 6598025"/>
                <a:gd name="connsiteY18" fmla="*/ 747096 h 747096"/>
                <a:gd name="connsiteX19" fmla="*/ 4244238 w 6598025"/>
                <a:gd name="connsiteY19" fmla="*/ 747096 h 747096"/>
                <a:gd name="connsiteX20" fmla="*/ 4169240 w 6598025"/>
                <a:gd name="connsiteY20" fmla="*/ 747096 h 747096"/>
                <a:gd name="connsiteX21" fmla="*/ 3748097 w 6598025"/>
                <a:gd name="connsiteY21" fmla="*/ 735558 h 747096"/>
                <a:gd name="connsiteX22" fmla="*/ 3470612 w 6598025"/>
                <a:gd name="connsiteY22" fmla="*/ 720010 h 747096"/>
                <a:gd name="connsiteX23" fmla="*/ 3174073 w 6598025"/>
                <a:gd name="connsiteY23" fmla="*/ 698552 h 747096"/>
                <a:gd name="connsiteX24" fmla="*/ 2804851 w 6598025"/>
                <a:gd name="connsiteY24" fmla="*/ 652832 h 747096"/>
                <a:gd name="connsiteX25" fmla="*/ 2611587 w 6598025"/>
                <a:gd name="connsiteY25" fmla="*/ 631714 h 747096"/>
                <a:gd name="connsiteX26" fmla="*/ 2354863 w 6598025"/>
                <a:gd name="connsiteY26" fmla="*/ 602869 h 747096"/>
                <a:gd name="connsiteX27" fmla="*/ 1829876 w 6598025"/>
                <a:gd name="connsiteY27" fmla="*/ 522102 h 747096"/>
                <a:gd name="connsiteX28" fmla="*/ 1665457 w 6598025"/>
                <a:gd name="connsiteY28" fmla="*/ 496141 h 747096"/>
                <a:gd name="connsiteX29" fmla="*/ 1484548 w 6598025"/>
                <a:gd name="connsiteY29" fmla="*/ 467187 h 747096"/>
                <a:gd name="connsiteX30" fmla="*/ 0 w 6598025"/>
                <a:gd name="connsiteY30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666516 w 6598025"/>
                <a:gd name="connsiteY5" fmla="*/ 123446 h 747096"/>
                <a:gd name="connsiteX6" fmla="*/ 1777032 w 6598025"/>
                <a:gd name="connsiteY6" fmla="*/ 113523 h 747096"/>
                <a:gd name="connsiteX7" fmla="*/ 1932795 w 6598025"/>
                <a:gd name="connsiteY7" fmla="*/ 158866 h 747096"/>
                <a:gd name="connsiteX8" fmla="*/ 2149135 w 6598025"/>
                <a:gd name="connsiteY8" fmla="*/ 107978 h 747096"/>
                <a:gd name="connsiteX9" fmla="*/ 2427794 w 6598025"/>
                <a:gd name="connsiteY9" fmla="*/ 61933 h 747096"/>
                <a:gd name="connsiteX10" fmla="*/ 2616058 w 6598025"/>
                <a:gd name="connsiteY10" fmla="*/ 45659 h 747096"/>
                <a:gd name="connsiteX11" fmla="*/ 2927745 w 6598025"/>
                <a:gd name="connsiteY11" fmla="*/ 25360 h 747096"/>
                <a:gd name="connsiteX12" fmla="*/ 3326028 w 6598025"/>
                <a:gd name="connsiteY12" fmla="*/ 12788 h 747096"/>
                <a:gd name="connsiteX13" fmla="*/ 3737885 w 6598025"/>
                <a:gd name="connsiteY13" fmla="*/ 2499 h 747096"/>
                <a:gd name="connsiteX14" fmla="*/ 4308408 w 6598025"/>
                <a:gd name="connsiteY14" fmla="*/ 6401 h 747096"/>
                <a:gd name="connsiteX15" fmla="*/ 4999171 w 6598025"/>
                <a:gd name="connsiteY15" fmla="*/ 3917 h 747096"/>
                <a:gd name="connsiteX16" fmla="*/ 6598025 w 6598025"/>
                <a:gd name="connsiteY16" fmla="*/ 0 h 747096"/>
                <a:gd name="connsiteX17" fmla="*/ 6598025 w 6598025"/>
                <a:gd name="connsiteY17" fmla="*/ 744212 h 747096"/>
                <a:gd name="connsiteX18" fmla="*/ 4469233 w 6598025"/>
                <a:gd name="connsiteY18" fmla="*/ 747096 h 747096"/>
                <a:gd name="connsiteX19" fmla="*/ 4244238 w 6598025"/>
                <a:gd name="connsiteY19" fmla="*/ 747096 h 747096"/>
                <a:gd name="connsiteX20" fmla="*/ 4169240 w 6598025"/>
                <a:gd name="connsiteY20" fmla="*/ 747096 h 747096"/>
                <a:gd name="connsiteX21" fmla="*/ 3748097 w 6598025"/>
                <a:gd name="connsiteY21" fmla="*/ 735558 h 747096"/>
                <a:gd name="connsiteX22" fmla="*/ 3470612 w 6598025"/>
                <a:gd name="connsiteY22" fmla="*/ 720010 h 747096"/>
                <a:gd name="connsiteX23" fmla="*/ 3174073 w 6598025"/>
                <a:gd name="connsiteY23" fmla="*/ 698552 h 747096"/>
                <a:gd name="connsiteX24" fmla="*/ 2804851 w 6598025"/>
                <a:gd name="connsiteY24" fmla="*/ 652832 h 747096"/>
                <a:gd name="connsiteX25" fmla="*/ 2611587 w 6598025"/>
                <a:gd name="connsiteY25" fmla="*/ 631714 h 747096"/>
                <a:gd name="connsiteX26" fmla="*/ 2354863 w 6598025"/>
                <a:gd name="connsiteY26" fmla="*/ 602869 h 747096"/>
                <a:gd name="connsiteX27" fmla="*/ 1829876 w 6598025"/>
                <a:gd name="connsiteY27" fmla="*/ 522102 h 747096"/>
                <a:gd name="connsiteX28" fmla="*/ 1665457 w 6598025"/>
                <a:gd name="connsiteY28" fmla="*/ 496141 h 747096"/>
                <a:gd name="connsiteX29" fmla="*/ 1484548 w 6598025"/>
                <a:gd name="connsiteY29" fmla="*/ 467187 h 747096"/>
                <a:gd name="connsiteX30" fmla="*/ 0 w 6598025"/>
                <a:gd name="connsiteY30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666516 w 6598025"/>
                <a:gd name="connsiteY5" fmla="*/ 123446 h 747096"/>
                <a:gd name="connsiteX6" fmla="*/ 1777032 w 6598025"/>
                <a:gd name="connsiteY6" fmla="*/ 113523 h 747096"/>
                <a:gd name="connsiteX7" fmla="*/ 1932795 w 6598025"/>
                <a:gd name="connsiteY7" fmla="*/ 158866 h 747096"/>
                <a:gd name="connsiteX8" fmla="*/ 1928429 w 6598025"/>
                <a:gd name="connsiteY8" fmla="*/ 96984 h 747096"/>
                <a:gd name="connsiteX9" fmla="*/ 2149135 w 6598025"/>
                <a:gd name="connsiteY9" fmla="*/ 107978 h 747096"/>
                <a:gd name="connsiteX10" fmla="*/ 2427794 w 6598025"/>
                <a:gd name="connsiteY10" fmla="*/ 61933 h 747096"/>
                <a:gd name="connsiteX11" fmla="*/ 2616058 w 6598025"/>
                <a:gd name="connsiteY11" fmla="*/ 45659 h 747096"/>
                <a:gd name="connsiteX12" fmla="*/ 2927745 w 6598025"/>
                <a:gd name="connsiteY12" fmla="*/ 25360 h 747096"/>
                <a:gd name="connsiteX13" fmla="*/ 3326028 w 6598025"/>
                <a:gd name="connsiteY13" fmla="*/ 12788 h 747096"/>
                <a:gd name="connsiteX14" fmla="*/ 3737885 w 6598025"/>
                <a:gd name="connsiteY14" fmla="*/ 2499 h 747096"/>
                <a:gd name="connsiteX15" fmla="*/ 4308408 w 6598025"/>
                <a:gd name="connsiteY15" fmla="*/ 6401 h 747096"/>
                <a:gd name="connsiteX16" fmla="*/ 4999171 w 6598025"/>
                <a:gd name="connsiteY16" fmla="*/ 3917 h 747096"/>
                <a:gd name="connsiteX17" fmla="*/ 6598025 w 6598025"/>
                <a:gd name="connsiteY17" fmla="*/ 0 h 747096"/>
                <a:gd name="connsiteX18" fmla="*/ 6598025 w 6598025"/>
                <a:gd name="connsiteY18" fmla="*/ 744212 h 747096"/>
                <a:gd name="connsiteX19" fmla="*/ 4469233 w 6598025"/>
                <a:gd name="connsiteY19" fmla="*/ 747096 h 747096"/>
                <a:gd name="connsiteX20" fmla="*/ 4244238 w 6598025"/>
                <a:gd name="connsiteY20" fmla="*/ 747096 h 747096"/>
                <a:gd name="connsiteX21" fmla="*/ 4169240 w 6598025"/>
                <a:gd name="connsiteY21" fmla="*/ 747096 h 747096"/>
                <a:gd name="connsiteX22" fmla="*/ 3748097 w 6598025"/>
                <a:gd name="connsiteY22" fmla="*/ 735558 h 747096"/>
                <a:gd name="connsiteX23" fmla="*/ 3470612 w 6598025"/>
                <a:gd name="connsiteY23" fmla="*/ 720010 h 747096"/>
                <a:gd name="connsiteX24" fmla="*/ 3174073 w 6598025"/>
                <a:gd name="connsiteY24" fmla="*/ 698552 h 747096"/>
                <a:gd name="connsiteX25" fmla="*/ 2804851 w 6598025"/>
                <a:gd name="connsiteY25" fmla="*/ 652832 h 747096"/>
                <a:gd name="connsiteX26" fmla="*/ 2611587 w 6598025"/>
                <a:gd name="connsiteY26" fmla="*/ 631714 h 747096"/>
                <a:gd name="connsiteX27" fmla="*/ 2354863 w 6598025"/>
                <a:gd name="connsiteY27" fmla="*/ 602869 h 747096"/>
                <a:gd name="connsiteX28" fmla="*/ 1829876 w 6598025"/>
                <a:gd name="connsiteY28" fmla="*/ 522102 h 747096"/>
                <a:gd name="connsiteX29" fmla="*/ 1665457 w 6598025"/>
                <a:gd name="connsiteY29" fmla="*/ 496141 h 747096"/>
                <a:gd name="connsiteX30" fmla="*/ 1484548 w 6598025"/>
                <a:gd name="connsiteY30" fmla="*/ 467187 h 747096"/>
                <a:gd name="connsiteX31" fmla="*/ 0 w 6598025"/>
                <a:gd name="connsiteY31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666516 w 6598025"/>
                <a:gd name="connsiteY5" fmla="*/ 123446 h 747096"/>
                <a:gd name="connsiteX6" fmla="*/ 1777032 w 6598025"/>
                <a:gd name="connsiteY6" fmla="*/ 113523 h 747096"/>
                <a:gd name="connsiteX7" fmla="*/ 1870379 w 6598025"/>
                <a:gd name="connsiteY7" fmla="*/ 107660 h 747096"/>
                <a:gd name="connsiteX8" fmla="*/ 1928429 w 6598025"/>
                <a:gd name="connsiteY8" fmla="*/ 96984 h 747096"/>
                <a:gd name="connsiteX9" fmla="*/ 2149135 w 6598025"/>
                <a:gd name="connsiteY9" fmla="*/ 107978 h 747096"/>
                <a:gd name="connsiteX10" fmla="*/ 2427794 w 6598025"/>
                <a:gd name="connsiteY10" fmla="*/ 61933 h 747096"/>
                <a:gd name="connsiteX11" fmla="*/ 2616058 w 6598025"/>
                <a:gd name="connsiteY11" fmla="*/ 45659 h 747096"/>
                <a:gd name="connsiteX12" fmla="*/ 2927745 w 6598025"/>
                <a:gd name="connsiteY12" fmla="*/ 25360 h 747096"/>
                <a:gd name="connsiteX13" fmla="*/ 3326028 w 6598025"/>
                <a:gd name="connsiteY13" fmla="*/ 12788 h 747096"/>
                <a:gd name="connsiteX14" fmla="*/ 3737885 w 6598025"/>
                <a:gd name="connsiteY14" fmla="*/ 2499 h 747096"/>
                <a:gd name="connsiteX15" fmla="*/ 4308408 w 6598025"/>
                <a:gd name="connsiteY15" fmla="*/ 6401 h 747096"/>
                <a:gd name="connsiteX16" fmla="*/ 4999171 w 6598025"/>
                <a:gd name="connsiteY16" fmla="*/ 3917 h 747096"/>
                <a:gd name="connsiteX17" fmla="*/ 6598025 w 6598025"/>
                <a:gd name="connsiteY17" fmla="*/ 0 h 747096"/>
                <a:gd name="connsiteX18" fmla="*/ 6598025 w 6598025"/>
                <a:gd name="connsiteY18" fmla="*/ 744212 h 747096"/>
                <a:gd name="connsiteX19" fmla="*/ 4469233 w 6598025"/>
                <a:gd name="connsiteY19" fmla="*/ 747096 h 747096"/>
                <a:gd name="connsiteX20" fmla="*/ 4244238 w 6598025"/>
                <a:gd name="connsiteY20" fmla="*/ 747096 h 747096"/>
                <a:gd name="connsiteX21" fmla="*/ 4169240 w 6598025"/>
                <a:gd name="connsiteY21" fmla="*/ 747096 h 747096"/>
                <a:gd name="connsiteX22" fmla="*/ 3748097 w 6598025"/>
                <a:gd name="connsiteY22" fmla="*/ 735558 h 747096"/>
                <a:gd name="connsiteX23" fmla="*/ 3470612 w 6598025"/>
                <a:gd name="connsiteY23" fmla="*/ 720010 h 747096"/>
                <a:gd name="connsiteX24" fmla="*/ 3174073 w 6598025"/>
                <a:gd name="connsiteY24" fmla="*/ 698552 h 747096"/>
                <a:gd name="connsiteX25" fmla="*/ 2804851 w 6598025"/>
                <a:gd name="connsiteY25" fmla="*/ 652832 h 747096"/>
                <a:gd name="connsiteX26" fmla="*/ 2611587 w 6598025"/>
                <a:gd name="connsiteY26" fmla="*/ 631714 h 747096"/>
                <a:gd name="connsiteX27" fmla="*/ 2354863 w 6598025"/>
                <a:gd name="connsiteY27" fmla="*/ 602869 h 747096"/>
                <a:gd name="connsiteX28" fmla="*/ 1829876 w 6598025"/>
                <a:gd name="connsiteY28" fmla="*/ 522102 h 747096"/>
                <a:gd name="connsiteX29" fmla="*/ 1665457 w 6598025"/>
                <a:gd name="connsiteY29" fmla="*/ 496141 h 747096"/>
                <a:gd name="connsiteX30" fmla="*/ 1484548 w 6598025"/>
                <a:gd name="connsiteY30" fmla="*/ 467187 h 747096"/>
                <a:gd name="connsiteX31" fmla="*/ 0 w 6598025"/>
                <a:gd name="connsiteY31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666516 w 6598025"/>
                <a:gd name="connsiteY5" fmla="*/ 123446 h 747096"/>
                <a:gd name="connsiteX6" fmla="*/ 1777032 w 6598025"/>
                <a:gd name="connsiteY6" fmla="*/ 113523 h 747096"/>
                <a:gd name="connsiteX7" fmla="*/ 1928429 w 6598025"/>
                <a:gd name="connsiteY7" fmla="*/ 96984 h 747096"/>
                <a:gd name="connsiteX8" fmla="*/ 2149135 w 6598025"/>
                <a:gd name="connsiteY8" fmla="*/ 107978 h 747096"/>
                <a:gd name="connsiteX9" fmla="*/ 2427794 w 6598025"/>
                <a:gd name="connsiteY9" fmla="*/ 61933 h 747096"/>
                <a:gd name="connsiteX10" fmla="*/ 2616058 w 6598025"/>
                <a:gd name="connsiteY10" fmla="*/ 45659 h 747096"/>
                <a:gd name="connsiteX11" fmla="*/ 2927745 w 6598025"/>
                <a:gd name="connsiteY11" fmla="*/ 25360 h 747096"/>
                <a:gd name="connsiteX12" fmla="*/ 3326028 w 6598025"/>
                <a:gd name="connsiteY12" fmla="*/ 12788 h 747096"/>
                <a:gd name="connsiteX13" fmla="*/ 3737885 w 6598025"/>
                <a:gd name="connsiteY13" fmla="*/ 2499 h 747096"/>
                <a:gd name="connsiteX14" fmla="*/ 4308408 w 6598025"/>
                <a:gd name="connsiteY14" fmla="*/ 6401 h 747096"/>
                <a:gd name="connsiteX15" fmla="*/ 4999171 w 6598025"/>
                <a:gd name="connsiteY15" fmla="*/ 3917 h 747096"/>
                <a:gd name="connsiteX16" fmla="*/ 6598025 w 6598025"/>
                <a:gd name="connsiteY16" fmla="*/ 0 h 747096"/>
                <a:gd name="connsiteX17" fmla="*/ 6598025 w 6598025"/>
                <a:gd name="connsiteY17" fmla="*/ 744212 h 747096"/>
                <a:gd name="connsiteX18" fmla="*/ 4469233 w 6598025"/>
                <a:gd name="connsiteY18" fmla="*/ 747096 h 747096"/>
                <a:gd name="connsiteX19" fmla="*/ 4244238 w 6598025"/>
                <a:gd name="connsiteY19" fmla="*/ 747096 h 747096"/>
                <a:gd name="connsiteX20" fmla="*/ 4169240 w 6598025"/>
                <a:gd name="connsiteY20" fmla="*/ 747096 h 747096"/>
                <a:gd name="connsiteX21" fmla="*/ 3748097 w 6598025"/>
                <a:gd name="connsiteY21" fmla="*/ 735558 h 747096"/>
                <a:gd name="connsiteX22" fmla="*/ 3470612 w 6598025"/>
                <a:gd name="connsiteY22" fmla="*/ 720010 h 747096"/>
                <a:gd name="connsiteX23" fmla="*/ 3174073 w 6598025"/>
                <a:gd name="connsiteY23" fmla="*/ 698552 h 747096"/>
                <a:gd name="connsiteX24" fmla="*/ 2804851 w 6598025"/>
                <a:gd name="connsiteY24" fmla="*/ 652832 h 747096"/>
                <a:gd name="connsiteX25" fmla="*/ 2611587 w 6598025"/>
                <a:gd name="connsiteY25" fmla="*/ 631714 h 747096"/>
                <a:gd name="connsiteX26" fmla="*/ 2354863 w 6598025"/>
                <a:gd name="connsiteY26" fmla="*/ 602869 h 747096"/>
                <a:gd name="connsiteX27" fmla="*/ 1829876 w 6598025"/>
                <a:gd name="connsiteY27" fmla="*/ 522102 h 747096"/>
                <a:gd name="connsiteX28" fmla="*/ 1665457 w 6598025"/>
                <a:gd name="connsiteY28" fmla="*/ 496141 h 747096"/>
                <a:gd name="connsiteX29" fmla="*/ 1484548 w 6598025"/>
                <a:gd name="connsiteY29" fmla="*/ 467187 h 747096"/>
                <a:gd name="connsiteX30" fmla="*/ 0 w 6598025"/>
                <a:gd name="connsiteY30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777032 w 6598025"/>
                <a:gd name="connsiteY5" fmla="*/ 113523 h 747096"/>
                <a:gd name="connsiteX6" fmla="*/ 1928429 w 6598025"/>
                <a:gd name="connsiteY6" fmla="*/ 96984 h 747096"/>
                <a:gd name="connsiteX7" fmla="*/ 2149135 w 6598025"/>
                <a:gd name="connsiteY7" fmla="*/ 107978 h 747096"/>
                <a:gd name="connsiteX8" fmla="*/ 2427794 w 6598025"/>
                <a:gd name="connsiteY8" fmla="*/ 61933 h 747096"/>
                <a:gd name="connsiteX9" fmla="*/ 2616058 w 6598025"/>
                <a:gd name="connsiteY9" fmla="*/ 45659 h 747096"/>
                <a:gd name="connsiteX10" fmla="*/ 2927745 w 6598025"/>
                <a:gd name="connsiteY10" fmla="*/ 25360 h 747096"/>
                <a:gd name="connsiteX11" fmla="*/ 3326028 w 6598025"/>
                <a:gd name="connsiteY11" fmla="*/ 12788 h 747096"/>
                <a:gd name="connsiteX12" fmla="*/ 3737885 w 6598025"/>
                <a:gd name="connsiteY12" fmla="*/ 2499 h 747096"/>
                <a:gd name="connsiteX13" fmla="*/ 4308408 w 6598025"/>
                <a:gd name="connsiteY13" fmla="*/ 6401 h 747096"/>
                <a:gd name="connsiteX14" fmla="*/ 4999171 w 6598025"/>
                <a:gd name="connsiteY14" fmla="*/ 3917 h 747096"/>
                <a:gd name="connsiteX15" fmla="*/ 6598025 w 6598025"/>
                <a:gd name="connsiteY15" fmla="*/ 0 h 747096"/>
                <a:gd name="connsiteX16" fmla="*/ 6598025 w 6598025"/>
                <a:gd name="connsiteY16" fmla="*/ 744212 h 747096"/>
                <a:gd name="connsiteX17" fmla="*/ 4469233 w 6598025"/>
                <a:gd name="connsiteY17" fmla="*/ 747096 h 747096"/>
                <a:gd name="connsiteX18" fmla="*/ 4244238 w 6598025"/>
                <a:gd name="connsiteY18" fmla="*/ 747096 h 747096"/>
                <a:gd name="connsiteX19" fmla="*/ 4169240 w 6598025"/>
                <a:gd name="connsiteY19" fmla="*/ 747096 h 747096"/>
                <a:gd name="connsiteX20" fmla="*/ 3748097 w 6598025"/>
                <a:gd name="connsiteY20" fmla="*/ 735558 h 747096"/>
                <a:gd name="connsiteX21" fmla="*/ 3470612 w 6598025"/>
                <a:gd name="connsiteY21" fmla="*/ 720010 h 747096"/>
                <a:gd name="connsiteX22" fmla="*/ 3174073 w 6598025"/>
                <a:gd name="connsiteY22" fmla="*/ 698552 h 747096"/>
                <a:gd name="connsiteX23" fmla="*/ 2804851 w 6598025"/>
                <a:gd name="connsiteY23" fmla="*/ 652832 h 747096"/>
                <a:gd name="connsiteX24" fmla="*/ 2611587 w 6598025"/>
                <a:gd name="connsiteY24" fmla="*/ 631714 h 747096"/>
                <a:gd name="connsiteX25" fmla="*/ 2354863 w 6598025"/>
                <a:gd name="connsiteY25" fmla="*/ 602869 h 747096"/>
                <a:gd name="connsiteX26" fmla="*/ 1829876 w 6598025"/>
                <a:gd name="connsiteY26" fmla="*/ 522102 h 747096"/>
                <a:gd name="connsiteX27" fmla="*/ 1665457 w 6598025"/>
                <a:gd name="connsiteY27" fmla="*/ 496141 h 747096"/>
                <a:gd name="connsiteX28" fmla="*/ 1484548 w 6598025"/>
                <a:gd name="connsiteY28" fmla="*/ 467187 h 747096"/>
                <a:gd name="connsiteX29" fmla="*/ 0 w 6598025"/>
                <a:gd name="connsiteY29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777032 w 6598025"/>
                <a:gd name="connsiteY5" fmla="*/ 113523 h 747096"/>
                <a:gd name="connsiteX6" fmla="*/ 1928429 w 6598025"/>
                <a:gd name="connsiteY6" fmla="*/ 96984 h 747096"/>
                <a:gd name="connsiteX7" fmla="*/ 2160150 w 6598025"/>
                <a:gd name="connsiteY7" fmla="*/ 86032 h 747096"/>
                <a:gd name="connsiteX8" fmla="*/ 2427794 w 6598025"/>
                <a:gd name="connsiteY8" fmla="*/ 61933 h 747096"/>
                <a:gd name="connsiteX9" fmla="*/ 2616058 w 6598025"/>
                <a:gd name="connsiteY9" fmla="*/ 45659 h 747096"/>
                <a:gd name="connsiteX10" fmla="*/ 2927745 w 6598025"/>
                <a:gd name="connsiteY10" fmla="*/ 25360 h 747096"/>
                <a:gd name="connsiteX11" fmla="*/ 3326028 w 6598025"/>
                <a:gd name="connsiteY11" fmla="*/ 12788 h 747096"/>
                <a:gd name="connsiteX12" fmla="*/ 3737885 w 6598025"/>
                <a:gd name="connsiteY12" fmla="*/ 2499 h 747096"/>
                <a:gd name="connsiteX13" fmla="*/ 4308408 w 6598025"/>
                <a:gd name="connsiteY13" fmla="*/ 6401 h 747096"/>
                <a:gd name="connsiteX14" fmla="*/ 4999171 w 6598025"/>
                <a:gd name="connsiteY14" fmla="*/ 3917 h 747096"/>
                <a:gd name="connsiteX15" fmla="*/ 6598025 w 6598025"/>
                <a:gd name="connsiteY15" fmla="*/ 0 h 747096"/>
                <a:gd name="connsiteX16" fmla="*/ 6598025 w 6598025"/>
                <a:gd name="connsiteY16" fmla="*/ 744212 h 747096"/>
                <a:gd name="connsiteX17" fmla="*/ 4469233 w 6598025"/>
                <a:gd name="connsiteY17" fmla="*/ 747096 h 747096"/>
                <a:gd name="connsiteX18" fmla="*/ 4244238 w 6598025"/>
                <a:gd name="connsiteY18" fmla="*/ 747096 h 747096"/>
                <a:gd name="connsiteX19" fmla="*/ 4169240 w 6598025"/>
                <a:gd name="connsiteY19" fmla="*/ 747096 h 747096"/>
                <a:gd name="connsiteX20" fmla="*/ 3748097 w 6598025"/>
                <a:gd name="connsiteY20" fmla="*/ 735558 h 747096"/>
                <a:gd name="connsiteX21" fmla="*/ 3470612 w 6598025"/>
                <a:gd name="connsiteY21" fmla="*/ 720010 h 747096"/>
                <a:gd name="connsiteX22" fmla="*/ 3174073 w 6598025"/>
                <a:gd name="connsiteY22" fmla="*/ 698552 h 747096"/>
                <a:gd name="connsiteX23" fmla="*/ 2804851 w 6598025"/>
                <a:gd name="connsiteY23" fmla="*/ 652832 h 747096"/>
                <a:gd name="connsiteX24" fmla="*/ 2611587 w 6598025"/>
                <a:gd name="connsiteY24" fmla="*/ 631714 h 747096"/>
                <a:gd name="connsiteX25" fmla="*/ 2354863 w 6598025"/>
                <a:gd name="connsiteY25" fmla="*/ 602869 h 747096"/>
                <a:gd name="connsiteX26" fmla="*/ 1829876 w 6598025"/>
                <a:gd name="connsiteY26" fmla="*/ 522102 h 747096"/>
                <a:gd name="connsiteX27" fmla="*/ 1665457 w 6598025"/>
                <a:gd name="connsiteY27" fmla="*/ 496141 h 747096"/>
                <a:gd name="connsiteX28" fmla="*/ 1484548 w 6598025"/>
                <a:gd name="connsiteY28" fmla="*/ 467187 h 747096"/>
                <a:gd name="connsiteX29" fmla="*/ 0 w 6598025"/>
                <a:gd name="connsiteY29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777032 w 6598025"/>
                <a:gd name="connsiteY5" fmla="*/ 113523 h 747096"/>
                <a:gd name="connsiteX6" fmla="*/ 2160150 w 6598025"/>
                <a:gd name="connsiteY6" fmla="*/ 86032 h 747096"/>
                <a:gd name="connsiteX7" fmla="*/ 2427794 w 6598025"/>
                <a:gd name="connsiteY7" fmla="*/ 61933 h 747096"/>
                <a:gd name="connsiteX8" fmla="*/ 2616058 w 6598025"/>
                <a:gd name="connsiteY8" fmla="*/ 45659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854134 w 6598025"/>
                <a:gd name="connsiteY5" fmla="*/ 102550 h 747096"/>
                <a:gd name="connsiteX6" fmla="*/ 2160150 w 6598025"/>
                <a:gd name="connsiteY6" fmla="*/ 86032 h 747096"/>
                <a:gd name="connsiteX7" fmla="*/ 2427794 w 6598025"/>
                <a:gd name="connsiteY7" fmla="*/ 61933 h 747096"/>
                <a:gd name="connsiteX8" fmla="*/ 2616058 w 6598025"/>
                <a:gd name="connsiteY8" fmla="*/ 45659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854134 w 6598025"/>
                <a:gd name="connsiteY5" fmla="*/ 102550 h 747096"/>
                <a:gd name="connsiteX6" fmla="*/ 2160150 w 6598025"/>
                <a:gd name="connsiteY6" fmla="*/ 86032 h 747096"/>
                <a:gd name="connsiteX7" fmla="*/ 2427794 w 6598025"/>
                <a:gd name="connsiteY7" fmla="*/ 61933 h 747096"/>
                <a:gd name="connsiteX8" fmla="*/ 2616058 w 6598025"/>
                <a:gd name="connsiteY8" fmla="*/ 45659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9555 w 6598025"/>
                <a:gd name="connsiteY4" fmla="*/ 86663 h 747096"/>
                <a:gd name="connsiteX5" fmla="*/ 1854134 w 6598025"/>
                <a:gd name="connsiteY5" fmla="*/ 102550 h 747096"/>
                <a:gd name="connsiteX6" fmla="*/ 2160150 w 6598025"/>
                <a:gd name="connsiteY6" fmla="*/ 86032 h 747096"/>
                <a:gd name="connsiteX7" fmla="*/ 2427794 w 6598025"/>
                <a:gd name="connsiteY7" fmla="*/ 61933 h 747096"/>
                <a:gd name="connsiteX8" fmla="*/ 2616058 w 6598025"/>
                <a:gd name="connsiteY8" fmla="*/ 45659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4264 w 6598025"/>
                <a:gd name="connsiteY3" fmla="*/ 103970 h 747096"/>
                <a:gd name="connsiteX4" fmla="*/ 1549555 w 6598025"/>
                <a:gd name="connsiteY4" fmla="*/ 86663 h 747096"/>
                <a:gd name="connsiteX5" fmla="*/ 1854134 w 6598025"/>
                <a:gd name="connsiteY5" fmla="*/ 102550 h 747096"/>
                <a:gd name="connsiteX6" fmla="*/ 2160150 w 6598025"/>
                <a:gd name="connsiteY6" fmla="*/ 86032 h 747096"/>
                <a:gd name="connsiteX7" fmla="*/ 2427794 w 6598025"/>
                <a:gd name="connsiteY7" fmla="*/ 61933 h 747096"/>
                <a:gd name="connsiteX8" fmla="*/ 2616058 w 6598025"/>
                <a:gd name="connsiteY8" fmla="*/ 45659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4264 w 6598025"/>
                <a:gd name="connsiteY3" fmla="*/ 103970 h 747096"/>
                <a:gd name="connsiteX4" fmla="*/ 1549555 w 6598025"/>
                <a:gd name="connsiteY4" fmla="*/ 86663 h 747096"/>
                <a:gd name="connsiteX5" fmla="*/ 1868820 w 6598025"/>
                <a:gd name="connsiteY5" fmla="*/ 73289 h 747096"/>
                <a:gd name="connsiteX6" fmla="*/ 2160150 w 6598025"/>
                <a:gd name="connsiteY6" fmla="*/ 86032 h 747096"/>
                <a:gd name="connsiteX7" fmla="*/ 2427794 w 6598025"/>
                <a:gd name="connsiteY7" fmla="*/ 61933 h 747096"/>
                <a:gd name="connsiteX8" fmla="*/ 2616058 w 6598025"/>
                <a:gd name="connsiteY8" fmla="*/ 45659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4264 w 6598025"/>
                <a:gd name="connsiteY3" fmla="*/ 103970 h 747096"/>
                <a:gd name="connsiteX4" fmla="*/ 1549555 w 6598025"/>
                <a:gd name="connsiteY4" fmla="*/ 86663 h 747096"/>
                <a:gd name="connsiteX5" fmla="*/ 1868820 w 6598025"/>
                <a:gd name="connsiteY5" fmla="*/ 73289 h 747096"/>
                <a:gd name="connsiteX6" fmla="*/ 2178508 w 6598025"/>
                <a:gd name="connsiteY6" fmla="*/ 64086 h 747096"/>
                <a:gd name="connsiteX7" fmla="*/ 2427794 w 6598025"/>
                <a:gd name="connsiteY7" fmla="*/ 61933 h 747096"/>
                <a:gd name="connsiteX8" fmla="*/ 2616058 w 6598025"/>
                <a:gd name="connsiteY8" fmla="*/ 45659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4264 w 6598025"/>
                <a:gd name="connsiteY3" fmla="*/ 103970 h 747096"/>
                <a:gd name="connsiteX4" fmla="*/ 1549555 w 6598025"/>
                <a:gd name="connsiteY4" fmla="*/ 86663 h 747096"/>
                <a:gd name="connsiteX5" fmla="*/ 1868820 w 6598025"/>
                <a:gd name="connsiteY5" fmla="*/ 73289 h 747096"/>
                <a:gd name="connsiteX6" fmla="*/ 2178508 w 6598025"/>
                <a:gd name="connsiteY6" fmla="*/ 64086 h 747096"/>
                <a:gd name="connsiteX7" fmla="*/ 2435138 w 6598025"/>
                <a:gd name="connsiteY7" fmla="*/ 50960 h 747096"/>
                <a:gd name="connsiteX8" fmla="*/ 2616058 w 6598025"/>
                <a:gd name="connsiteY8" fmla="*/ 45659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4264 w 6598025"/>
                <a:gd name="connsiteY3" fmla="*/ 103970 h 747096"/>
                <a:gd name="connsiteX4" fmla="*/ 1549555 w 6598025"/>
                <a:gd name="connsiteY4" fmla="*/ 86663 h 747096"/>
                <a:gd name="connsiteX5" fmla="*/ 1868820 w 6598025"/>
                <a:gd name="connsiteY5" fmla="*/ 73289 h 747096"/>
                <a:gd name="connsiteX6" fmla="*/ 2178508 w 6598025"/>
                <a:gd name="connsiteY6" fmla="*/ 64086 h 747096"/>
                <a:gd name="connsiteX7" fmla="*/ 2435138 w 6598025"/>
                <a:gd name="connsiteY7" fmla="*/ 50960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4264 w 6598025"/>
                <a:gd name="connsiteY3" fmla="*/ 103970 h 747096"/>
                <a:gd name="connsiteX4" fmla="*/ 1549555 w 6598025"/>
                <a:gd name="connsiteY4" fmla="*/ 86663 h 747096"/>
                <a:gd name="connsiteX5" fmla="*/ 1868820 w 6598025"/>
                <a:gd name="connsiteY5" fmla="*/ 73289 h 747096"/>
                <a:gd name="connsiteX6" fmla="*/ 2178508 w 6598025"/>
                <a:gd name="connsiteY6" fmla="*/ 64086 h 747096"/>
                <a:gd name="connsiteX7" fmla="*/ 2435138 w 6598025"/>
                <a:gd name="connsiteY7" fmla="*/ 50960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4264 w 6598025"/>
                <a:gd name="connsiteY3" fmla="*/ 103970 h 747096"/>
                <a:gd name="connsiteX4" fmla="*/ 1549555 w 6598025"/>
                <a:gd name="connsiteY4" fmla="*/ 86663 h 747096"/>
                <a:gd name="connsiteX5" fmla="*/ 1868820 w 6598025"/>
                <a:gd name="connsiteY5" fmla="*/ 73289 h 747096"/>
                <a:gd name="connsiteX6" fmla="*/ 2178508 w 6598025"/>
                <a:gd name="connsiteY6" fmla="*/ 64086 h 747096"/>
                <a:gd name="connsiteX7" fmla="*/ 2435138 w 6598025"/>
                <a:gd name="connsiteY7" fmla="*/ 50960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484548 w 6598025"/>
                <a:gd name="connsiteY26" fmla="*/ 467187 h 747096"/>
                <a:gd name="connsiteX27" fmla="*/ 0 w 6598025"/>
                <a:gd name="connsiteY27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4264 w 6598025"/>
                <a:gd name="connsiteY3" fmla="*/ 103970 h 747096"/>
                <a:gd name="connsiteX4" fmla="*/ 1549555 w 6598025"/>
                <a:gd name="connsiteY4" fmla="*/ 86663 h 747096"/>
                <a:gd name="connsiteX5" fmla="*/ 1868820 w 6598025"/>
                <a:gd name="connsiteY5" fmla="*/ 73289 h 747096"/>
                <a:gd name="connsiteX6" fmla="*/ 2178508 w 6598025"/>
                <a:gd name="connsiteY6" fmla="*/ 64086 h 747096"/>
                <a:gd name="connsiteX7" fmla="*/ 2435138 w 6598025"/>
                <a:gd name="connsiteY7" fmla="*/ 50960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54264 w 6598025"/>
                <a:gd name="connsiteY3" fmla="*/ 103970 h 747096"/>
                <a:gd name="connsiteX4" fmla="*/ 1549555 w 6598025"/>
                <a:gd name="connsiteY4" fmla="*/ 86663 h 747096"/>
                <a:gd name="connsiteX5" fmla="*/ 1868820 w 6598025"/>
                <a:gd name="connsiteY5" fmla="*/ 73289 h 747096"/>
                <a:gd name="connsiteX6" fmla="*/ 2178508 w 6598025"/>
                <a:gd name="connsiteY6" fmla="*/ 64086 h 747096"/>
                <a:gd name="connsiteX7" fmla="*/ 2435138 w 6598025"/>
                <a:gd name="connsiteY7" fmla="*/ 50960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49555 w 6598025"/>
                <a:gd name="connsiteY4" fmla="*/ 86663 h 747096"/>
                <a:gd name="connsiteX5" fmla="*/ 1868820 w 6598025"/>
                <a:gd name="connsiteY5" fmla="*/ 73289 h 747096"/>
                <a:gd name="connsiteX6" fmla="*/ 2178508 w 6598025"/>
                <a:gd name="connsiteY6" fmla="*/ 64086 h 747096"/>
                <a:gd name="connsiteX7" fmla="*/ 2435138 w 6598025"/>
                <a:gd name="connsiteY7" fmla="*/ 50960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68820 w 6598025"/>
                <a:gd name="connsiteY5" fmla="*/ 73289 h 747096"/>
                <a:gd name="connsiteX6" fmla="*/ 2178508 w 6598025"/>
                <a:gd name="connsiteY6" fmla="*/ 64086 h 747096"/>
                <a:gd name="connsiteX7" fmla="*/ 2435138 w 6598025"/>
                <a:gd name="connsiteY7" fmla="*/ 50960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78508 w 6598025"/>
                <a:gd name="connsiteY6" fmla="*/ 64086 h 747096"/>
                <a:gd name="connsiteX7" fmla="*/ 2435138 w 6598025"/>
                <a:gd name="connsiteY7" fmla="*/ 50960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435138 w 6598025"/>
                <a:gd name="connsiteY7" fmla="*/ 50960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453019 w 6598025"/>
                <a:gd name="connsiteY7" fmla="*/ 9396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453019 w 6598025"/>
                <a:gd name="connsiteY7" fmla="*/ 9396 h 747096"/>
                <a:gd name="connsiteX8" fmla="*/ 2684387 w 6598025"/>
                <a:gd name="connsiteY8" fmla="*/ 8655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453019 w 6598025"/>
                <a:gd name="connsiteY7" fmla="*/ 9396 h 747096"/>
                <a:gd name="connsiteX8" fmla="*/ 2684387 w 6598025"/>
                <a:gd name="connsiteY8" fmla="*/ 8655 h 747096"/>
                <a:gd name="connsiteX9" fmla="*/ 2963507 w 6598025"/>
                <a:gd name="connsiteY9" fmla="*/ 13485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464940 w 6598025"/>
                <a:gd name="connsiteY7" fmla="*/ 15334 h 747096"/>
                <a:gd name="connsiteX8" fmla="*/ 2684387 w 6598025"/>
                <a:gd name="connsiteY8" fmla="*/ 8655 h 747096"/>
                <a:gd name="connsiteX9" fmla="*/ 2963507 w 6598025"/>
                <a:gd name="connsiteY9" fmla="*/ 13485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464940 w 6598025"/>
                <a:gd name="connsiteY7" fmla="*/ 15334 h 747096"/>
                <a:gd name="connsiteX8" fmla="*/ 2684387 w 6598025"/>
                <a:gd name="connsiteY8" fmla="*/ 8655 h 747096"/>
                <a:gd name="connsiteX9" fmla="*/ 2963507 w 6598025"/>
                <a:gd name="connsiteY9" fmla="*/ 13485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464940 w 6598025"/>
                <a:gd name="connsiteY7" fmla="*/ 15334 h 747096"/>
                <a:gd name="connsiteX8" fmla="*/ 2684387 w 6598025"/>
                <a:gd name="connsiteY8" fmla="*/ 8655 h 747096"/>
                <a:gd name="connsiteX9" fmla="*/ 2963507 w 6598025"/>
                <a:gd name="connsiteY9" fmla="*/ 13485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684387 w 6598025"/>
                <a:gd name="connsiteY7" fmla="*/ 8655 h 747096"/>
                <a:gd name="connsiteX8" fmla="*/ 2963507 w 6598025"/>
                <a:gd name="connsiteY8" fmla="*/ 13485 h 747096"/>
                <a:gd name="connsiteX9" fmla="*/ 3326028 w 6598025"/>
                <a:gd name="connsiteY9" fmla="*/ 12788 h 747096"/>
                <a:gd name="connsiteX10" fmla="*/ 3737885 w 6598025"/>
                <a:gd name="connsiteY10" fmla="*/ 2499 h 747096"/>
                <a:gd name="connsiteX11" fmla="*/ 4308408 w 6598025"/>
                <a:gd name="connsiteY11" fmla="*/ 6401 h 747096"/>
                <a:gd name="connsiteX12" fmla="*/ 4999171 w 6598025"/>
                <a:gd name="connsiteY12" fmla="*/ 3917 h 747096"/>
                <a:gd name="connsiteX13" fmla="*/ 6598025 w 6598025"/>
                <a:gd name="connsiteY13" fmla="*/ 0 h 747096"/>
                <a:gd name="connsiteX14" fmla="*/ 6598025 w 6598025"/>
                <a:gd name="connsiteY14" fmla="*/ 744212 h 747096"/>
                <a:gd name="connsiteX15" fmla="*/ 4469233 w 6598025"/>
                <a:gd name="connsiteY15" fmla="*/ 747096 h 747096"/>
                <a:gd name="connsiteX16" fmla="*/ 4244238 w 6598025"/>
                <a:gd name="connsiteY16" fmla="*/ 747096 h 747096"/>
                <a:gd name="connsiteX17" fmla="*/ 4169240 w 6598025"/>
                <a:gd name="connsiteY17" fmla="*/ 747096 h 747096"/>
                <a:gd name="connsiteX18" fmla="*/ 3748097 w 6598025"/>
                <a:gd name="connsiteY18" fmla="*/ 735558 h 747096"/>
                <a:gd name="connsiteX19" fmla="*/ 3470612 w 6598025"/>
                <a:gd name="connsiteY19" fmla="*/ 720010 h 747096"/>
                <a:gd name="connsiteX20" fmla="*/ 3174073 w 6598025"/>
                <a:gd name="connsiteY20" fmla="*/ 698552 h 747096"/>
                <a:gd name="connsiteX21" fmla="*/ 2804851 w 6598025"/>
                <a:gd name="connsiteY21" fmla="*/ 652832 h 747096"/>
                <a:gd name="connsiteX22" fmla="*/ 2611587 w 6598025"/>
                <a:gd name="connsiteY22" fmla="*/ 631714 h 747096"/>
                <a:gd name="connsiteX23" fmla="*/ 2354863 w 6598025"/>
                <a:gd name="connsiteY23" fmla="*/ 602869 h 747096"/>
                <a:gd name="connsiteX24" fmla="*/ 1829876 w 6598025"/>
                <a:gd name="connsiteY24" fmla="*/ 522102 h 747096"/>
                <a:gd name="connsiteX25" fmla="*/ 0 w 6598025"/>
                <a:gd name="connsiteY25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684387 w 6598025"/>
                <a:gd name="connsiteY7" fmla="*/ 8655 h 747096"/>
                <a:gd name="connsiteX8" fmla="*/ 3326028 w 6598025"/>
                <a:gd name="connsiteY8" fmla="*/ 12788 h 747096"/>
                <a:gd name="connsiteX9" fmla="*/ 3737885 w 6598025"/>
                <a:gd name="connsiteY9" fmla="*/ 2499 h 747096"/>
                <a:gd name="connsiteX10" fmla="*/ 4308408 w 6598025"/>
                <a:gd name="connsiteY10" fmla="*/ 6401 h 747096"/>
                <a:gd name="connsiteX11" fmla="*/ 4999171 w 6598025"/>
                <a:gd name="connsiteY11" fmla="*/ 3917 h 747096"/>
                <a:gd name="connsiteX12" fmla="*/ 6598025 w 6598025"/>
                <a:gd name="connsiteY12" fmla="*/ 0 h 747096"/>
                <a:gd name="connsiteX13" fmla="*/ 6598025 w 6598025"/>
                <a:gd name="connsiteY13" fmla="*/ 744212 h 747096"/>
                <a:gd name="connsiteX14" fmla="*/ 4469233 w 6598025"/>
                <a:gd name="connsiteY14" fmla="*/ 747096 h 747096"/>
                <a:gd name="connsiteX15" fmla="*/ 4244238 w 6598025"/>
                <a:gd name="connsiteY15" fmla="*/ 747096 h 747096"/>
                <a:gd name="connsiteX16" fmla="*/ 4169240 w 6598025"/>
                <a:gd name="connsiteY16" fmla="*/ 747096 h 747096"/>
                <a:gd name="connsiteX17" fmla="*/ 3748097 w 6598025"/>
                <a:gd name="connsiteY17" fmla="*/ 735558 h 747096"/>
                <a:gd name="connsiteX18" fmla="*/ 3470612 w 6598025"/>
                <a:gd name="connsiteY18" fmla="*/ 720010 h 747096"/>
                <a:gd name="connsiteX19" fmla="*/ 3174073 w 6598025"/>
                <a:gd name="connsiteY19" fmla="*/ 698552 h 747096"/>
                <a:gd name="connsiteX20" fmla="*/ 2804851 w 6598025"/>
                <a:gd name="connsiteY20" fmla="*/ 652832 h 747096"/>
                <a:gd name="connsiteX21" fmla="*/ 2611587 w 6598025"/>
                <a:gd name="connsiteY21" fmla="*/ 631714 h 747096"/>
                <a:gd name="connsiteX22" fmla="*/ 2354863 w 6598025"/>
                <a:gd name="connsiteY22" fmla="*/ 602869 h 747096"/>
                <a:gd name="connsiteX23" fmla="*/ 1829876 w 6598025"/>
                <a:gd name="connsiteY23" fmla="*/ 522102 h 747096"/>
                <a:gd name="connsiteX24" fmla="*/ 0 w 6598025"/>
                <a:gd name="connsiteY24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684387 w 6598025"/>
                <a:gd name="connsiteY7" fmla="*/ 8655 h 747096"/>
                <a:gd name="connsiteX8" fmla="*/ 3737885 w 6598025"/>
                <a:gd name="connsiteY8" fmla="*/ 2499 h 747096"/>
                <a:gd name="connsiteX9" fmla="*/ 4308408 w 6598025"/>
                <a:gd name="connsiteY9" fmla="*/ 6401 h 747096"/>
                <a:gd name="connsiteX10" fmla="*/ 4999171 w 6598025"/>
                <a:gd name="connsiteY10" fmla="*/ 3917 h 747096"/>
                <a:gd name="connsiteX11" fmla="*/ 6598025 w 6598025"/>
                <a:gd name="connsiteY11" fmla="*/ 0 h 747096"/>
                <a:gd name="connsiteX12" fmla="*/ 6598025 w 6598025"/>
                <a:gd name="connsiteY12" fmla="*/ 744212 h 747096"/>
                <a:gd name="connsiteX13" fmla="*/ 4469233 w 6598025"/>
                <a:gd name="connsiteY13" fmla="*/ 747096 h 747096"/>
                <a:gd name="connsiteX14" fmla="*/ 4244238 w 6598025"/>
                <a:gd name="connsiteY14" fmla="*/ 747096 h 747096"/>
                <a:gd name="connsiteX15" fmla="*/ 4169240 w 6598025"/>
                <a:gd name="connsiteY15" fmla="*/ 747096 h 747096"/>
                <a:gd name="connsiteX16" fmla="*/ 3748097 w 6598025"/>
                <a:gd name="connsiteY16" fmla="*/ 735558 h 747096"/>
                <a:gd name="connsiteX17" fmla="*/ 3470612 w 6598025"/>
                <a:gd name="connsiteY17" fmla="*/ 720010 h 747096"/>
                <a:gd name="connsiteX18" fmla="*/ 3174073 w 6598025"/>
                <a:gd name="connsiteY18" fmla="*/ 698552 h 747096"/>
                <a:gd name="connsiteX19" fmla="*/ 2804851 w 6598025"/>
                <a:gd name="connsiteY19" fmla="*/ 652832 h 747096"/>
                <a:gd name="connsiteX20" fmla="*/ 2611587 w 6598025"/>
                <a:gd name="connsiteY20" fmla="*/ 631714 h 747096"/>
                <a:gd name="connsiteX21" fmla="*/ 2354863 w 6598025"/>
                <a:gd name="connsiteY21" fmla="*/ 602869 h 747096"/>
                <a:gd name="connsiteX22" fmla="*/ 1829876 w 6598025"/>
                <a:gd name="connsiteY22" fmla="*/ 522102 h 747096"/>
                <a:gd name="connsiteX23" fmla="*/ 0 w 6598025"/>
                <a:gd name="connsiteY23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684387 w 6598025"/>
                <a:gd name="connsiteY7" fmla="*/ 8655 h 747096"/>
                <a:gd name="connsiteX8" fmla="*/ 3737885 w 6598025"/>
                <a:gd name="connsiteY8" fmla="*/ 2499 h 747096"/>
                <a:gd name="connsiteX9" fmla="*/ 4308408 w 6598025"/>
                <a:gd name="connsiteY9" fmla="*/ 6401 h 747096"/>
                <a:gd name="connsiteX10" fmla="*/ 4999171 w 6598025"/>
                <a:gd name="connsiteY10" fmla="*/ 3917 h 747096"/>
                <a:gd name="connsiteX11" fmla="*/ 6598025 w 6598025"/>
                <a:gd name="connsiteY11" fmla="*/ 0 h 747096"/>
                <a:gd name="connsiteX12" fmla="*/ 6598025 w 6598025"/>
                <a:gd name="connsiteY12" fmla="*/ 744212 h 747096"/>
                <a:gd name="connsiteX13" fmla="*/ 4469233 w 6598025"/>
                <a:gd name="connsiteY13" fmla="*/ 747096 h 747096"/>
                <a:gd name="connsiteX14" fmla="*/ 4244238 w 6598025"/>
                <a:gd name="connsiteY14" fmla="*/ 747096 h 747096"/>
                <a:gd name="connsiteX15" fmla="*/ 4169240 w 6598025"/>
                <a:gd name="connsiteY15" fmla="*/ 747096 h 747096"/>
                <a:gd name="connsiteX16" fmla="*/ 3748097 w 6598025"/>
                <a:gd name="connsiteY16" fmla="*/ 735558 h 747096"/>
                <a:gd name="connsiteX17" fmla="*/ 3470612 w 6598025"/>
                <a:gd name="connsiteY17" fmla="*/ 720010 h 747096"/>
                <a:gd name="connsiteX18" fmla="*/ 3174073 w 6598025"/>
                <a:gd name="connsiteY18" fmla="*/ 698552 h 747096"/>
                <a:gd name="connsiteX19" fmla="*/ 2804851 w 6598025"/>
                <a:gd name="connsiteY19" fmla="*/ 652832 h 747096"/>
                <a:gd name="connsiteX20" fmla="*/ 2611587 w 6598025"/>
                <a:gd name="connsiteY20" fmla="*/ 631714 h 747096"/>
                <a:gd name="connsiteX21" fmla="*/ 2354863 w 6598025"/>
                <a:gd name="connsiteY21" fmla="*/ 602869 h 747096"/>
                <a:gd name="connsiteX22" fmla="*/ 1829876 w 6598025"/>
                <a:gd name="connsiteY22" fmla="*/ 522102 h 747096"/>
                <a:gd name="connsiteX23" fmla="*/ 0 w 6598025"/>
                <a:gd name="connsiteY23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684387 w 6598025"/>
                <a:gd name="connsiteY7" fmla="*/ 8655 h 747096"/>
                <a:gd name="connsiteX8" fmla="*/ 3737885 w 6598025"/>
                <a:gd name="connsiteY8" fmla="*/ 2499 h 747096"/>
                <a:gd name="connsiteX9" fmla="*/ 4308408 w 6598025"/>
                <a:gd name="connsiteY9" fmla="*/ 6401 h 747096"/>
                <a:gd name="connsiteX10" fmla="*/ 4999171 w 6598025"/>
                <a:gd name="connsiteY10" fmla="*/ 3917 h 747096"/>
                <a:gd name="connsiteX11" fmla="*/ 6598025 w 6598025"/>
                <a:gd name="connsiteY11" fmla="*/ 0 h 747096"/>
                <a:gd name="connsiteX12" fmla="*/ 6598025 w 6598025"/>
                <a:gd name="connsiteY12" fmla="*/ 744212 h 747096"/>
                <a:gd name="connsiteX13" fmla="*/ 4469233 w 6598025"/>
                <a:gd name="connsiteY13" fmla="*/ 747096 h 747096"/>
                <a:gd name="connsiteX14" fmla="*/ 4244238 w 6598025"/>
                <a:gd name="connsiteY14" fmla="*/ 747096 h 747096"/>
                <a:gd name="connsiteX15" fmla="*/ 4169240 w 6598025"/>
                <a:gd name="connsiteY15" fmla="*/ 747096 h 747096"/>
                <a:gd name="connsiteX16" fmla="*/ 3748097 w 6598025"/>
                <a:gd name="connsiteY16" fmla="*/ 735558 h 747096"/>
                <a:gd name="connsiteX17" fmla="*/ 3470612 w 6598025"/>
                <a:gd name="connsiteY17" fmla="*/ 720010 h 747096"/>
                <a:gd name="connsiteX18" fmla="*/ 3174073 w 6598025"/>
                <a:gd name="connsiteY18" fmla="*/ 698552 h 747096"/>
                <a:gd name="connsiteX19" fmla="*/ 2804851 w 6598025"/>
                <a:gd name="connsiteY19" fmla="*/ 652832 h 747096"/>
                <a:gd name="connsiteX20" fmla="*/ 2611587 w 6598025"/>
                <a:gd name="connsiteY20" fmla="*/ 631714 h 747096"/>
                <a:gd name="connsiteX21" fmla="*/ 2354863 w 6598025"/>
                <a:gd name="connsiteY21" fmla="*/ 602869 h 747096"/>
                <a:gd name="connsiteX22" fmla="*/ 1829876 w 6598025"/>
                <a:gd name="connsiteY22" fmla="*/ 522102 h 747096"/>
                <a:gd name="connsiteX23" fmla="*/ 0 w 6598025"/>
                <a:gd name="connsiteY23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97690 w 6598025"/>
                <a:gd name="connsiteY2" fmla="*/ 104069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684387 w 6598025"/>
                <a:gd name="connsiteY7" fmla="*/ 8655 h 747096"/>
                <a:gd name="connsiteX8" fmla="*/ 3737885 w 6598025"/>
                <a:gd name="connsiteY8" fmla="*/ 2499 h 747096"/>
                <a:gd name="connsiteX9" fmla="*/ 4308408 w 6598025"/>
                <a:gd name="connsiteY9" fmla="*/ 6401 h 747096"/>
                <a:gd name="connsiteX10" fmla="*/ 4999171 w 6598025"/>
                <a:gd name="connsiteY10" fmla="*/ 3917 h 747096"/>
                <a:gd name="connsiteX11" fmla="*/ 6598025 w 6598025"/>
                <a:gd name="connsiteY11" fmla="*/ 0 h 747096"/>
                <a:gd name="connsiteX12" fmla="*/ 6598025 w 6598025"/>
                <a:gd name="connsiteY12" fmla="*/ 744212 h 747096"/>
                <a:gd name="connsiteX13" fmla="*/ 4469233 w 6598025"/>
                <a:gd name="connsiteY13" fmla="*/ 747096 h 747096"/>
                <a:gd name="connsiteX14" fmla="*/ 4244238 w 6598025"/>
                <a:gd name="connsiteY14" fmla="*/ 747096 h 747096"/>
                <a:gd name="connsiteX15" fmla="*/ 4169240 w 6598025"/>
                <a:gd name="connsiteY15" fmla="*/ 747096 h 747096"/>
                <a:gd name="connsiteX16" fmla="*/ 3748097 w 6598025"/>
                <a:gd name="connsiteY16" fmla="*/ 735558 h 747096"/>
                <a:gd name="connsiteX17" fmla="*/ 3470612 w 6598025"/>
                <a:gd name="connsiteY17" fmla="*/ 720010 h 747096"/>
                <a:gd name="connsiteX18" fmla="*/ 3174073 w 6598025"/>
                <a:gd name="connsiteY18" fmla="*/ 698552 h 747096"/>
                <a:gd name="connsiteX19" fmla="*/ 2804851 w 6598025"/>
                <a:gd name="connsiteY19" fmla="*/ 652832 h 747096"/>
                <a:gd name="connsiteX20" fmla="*/ 2611587 w 6598025"/>
                <a:gd name="connsiteY20" fmla="*/ 631714 h 747096"/>
                <a:gd name="connsiteX21" fmla="*/ 2354863 w 6598025"/>
                <a:gd name="connsiteY21" fmla="*/ 602869 h 747096"/>
                <a:gd name="connsiteX22" fmla="*/ 1829876 w 6598025"/>
                <a:gd name="connsiteY22" fmla="*/ 522102 h 747096"/>
                <a:gd name="connsiteX23" fmla="*/ 0 w 6598025"/>
                <a:gd name="connsiteY23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97690 w 6598025"/>
                <a:gd name="connsiteY2" fmla="*/ 104069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684387 w 6598025"/>
                <a:gd name="connsiteY7" fmla="*/ 8655 h 747096"/>
                <a:gd name="connsiteX8" fmla="*/ 3737885 w 6598025"/>
                <a:gd name="connsiteY8" fmla="*/ 2499 h 747096"/>
                <a:gd name="connsiteX9" fmla="*/ 4308408 w 6598025"/>
                <a:gd name="connsiteY9" fmla="*/ 6401 h 747096"/>
                <a:gd name="connsiteX10" fmla="*/ 4999171 w 6598025"/>
                <a:gd name="connsiteY10" fmla="*/ 3917 h 747096"/>
                <a:gd name="connsiteX11" fmla="*/ 6598025 w 6598025"/>
                <a:gd name="connsiteY11" fmla="*/ 0 h 747096"/>
                <a:gd name="connsiteX12" fmla="*/ 6598025 w 6598025"/>
                <a:gd name="connsiteY12" fmla="*/ 744212 h 747096"/>
                <a:gd name="connsiteX13" fmla="*/ 4469233 w 6598025"/>
                <a:gd name="connsiteY13" fmla="*/ 747096 h 747096"/>
                <a:gd name="connsiteX14" fmla="*/ 4244238 w 6598025"/>
                <a:gd name="connsiteY14" fmla="*/ 747096 h 747096"/>
                <a:gd name="connsiteX15" fmla="*/ 4169240 w 6598025"/>
                <a:gd name="connsiteY15" fmla="*/ 747096 h 747096"/>
                <a:gd name="connsiteX16" fmla="*/ 3748097 w 6598025"/>
                <a:gd name="connsiteY16" fmla="*/ 735558 h 747096"/>
                <a:gd name="connsiteX17" fmla="*/ 3470612 w 6598025"/>
                <a:gd name="connsiteY17" fmla="*/ 720010 h 747096"/>
                <a:gd name="connsiteX18" fmla="*/ 3174073 w 6598025"/>
                <a:gd name="connsiteY18" fmla="*/ 698552 h 747096"/>
                <a:gd name="connsiteX19" fmla="*/ 2804851 w 6598025"/>
                <a:gd name="connsiteY19" fmla="*/ 652832 h 747096"/>
                <a:gd name="connsiteX20" fmla="*/ 2611587 w 6598025"/>
                <a:gd name="connsiteY20" fmla="*/ 631714 h 747096"/>
                <a:gd name="connsiteX21" fmla="*/ 2354863 w 6598025"/>
                <a:gd name="connsiteY21" fmla="*/ 602869 h 747096"/>
                <a:gd name="connsiteX22" fmla="*/ 1829876 w 6598025"/>
                <a:gd name="connsiteY22" fmla="*/ 522102 h 747096"/>
                <a:gd name="connsiteX23" fmla="*/ 0 w 6598025"/>
                <a:gd name="connsiteY23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97690 w 6598025"/>
                <a:gd name="connsiteY2" fmla="*/ 104069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684387 w 6598025"/>
                <a:gd name="connsiteY7" fmla="*/ 8655 h 747096"/>
                <a:gd name="connsiteX8" fmla="*/ 3737885 w 6598025"/>
                <a:gd name="connsiteY8" fmla="*/ 2499 h 747096"/>
                <a:gd name="connsiteX9" fmla="*/ 4308408 w 6598025"/>
                <a:gd name="connsiteY9" fmla="*/ 6401 h 747096"/>
                <a:gd name="connsiteX10" fmla="*/ 4999171 w 6598025"/>
                <a:gd name="connsiteY10" fmla="*/ 3917 h 747096"/>
                <a:gd name="connsiteX11" fmla="*/ 6598025 w 6598025"/>
                <a:gd name="connsiteY11" fmla="*/ 0 h 747096"/>
                <a:gd name="connsiteX12" fmla="*/ 6598025 w 6598025"/>
                <a:gd name="connsiteY12" fmla="*/ 744212 h 747096"/>
                <a:gd name="connsiteX13" fmla="*/ 4469233 w 6598025"/>
                <a:gd name="connsiteY13" fmla="*/ 747096 h 747096"/>
                <a:gd name="connsiteX14" fmla="*/ 4244238 w 6598025"/>
                <a:gd name="connsiteY14" fmla="*/ 747096 h 747096"/>
                <a:gd name="connsiteX15" fmla="*/ 4169240 w 6598025"/>
                <a:gd name="connsiteY15" fmla="*/ 747096 h 747096"/>
                <a:gd name="connsiteX16" fmla="*/ 3748097 w 6598025"/>
                <a:gd name="connsiteY16" fmla="*/ 735558 h 747096"/>
                <a:gd name="connsiteX17" fmla="*/ 3470612 w 6598025"/>
                <a:gd name="connsiteY17" fmla="*/ 720010 h 747096"/>
                <a:gd name="connsiteX18" fmla="*/ 3174073 w 6598025"/>
                <a:gd name="connsiteY18" fmla="*/ 698552 h 747096"/>
                <a:gd name="connsiteX19" fmla="*/ 2611587 w 6598025"/>
                <a:gd name="connsiteY19" fmla="*/ 631714 h 747096"/>
                <a:gd name="connsiteX20" fmla="*/ 2354863 w 6598025"/>
                <a:gd name="connsiteY20" fmla="*/ 602869 h 747096"/>
                <a:gd name="connsiteX21" fmla="*/ 1829876 w 6598025"/>
                <a:gd name="connsiteY21" fmla="*/ 522102 h 747096"/>
                <a:gd name="connsiteX22" fmla="*/ 0 w 6598025"/>
                <a:gd name="connsiteY22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97690 w 6598025"/>
                <a:gd name="connsiteY2" fmla="*/ 104069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684387 w 6598025"/>
                <a:gd name="connsiteY7" fmla="*/ 8655 h 747096"/>
                <a:gd name="connsiteX8" fmla="*/ 3737885 w 6598025"/>
                <a:gd name="connsiteY8" fmla="*/ 2499 h 747096"/>
                <a:gd name="connsiteX9" fmla="*/ 4308408 w 6598025"/>
                <a:gd name="connsiteY9" fmla="*/ 6401 h 747096"/>
                <a:gd name="connsiteX10" fmla="*/ 4999171 w 6598025"/>
                <a:gd name="connsiteY10" fmla="*/ 3917 h 747096"/>
                <a:gd name="connsiteX11" fmla="*/ 6598025 w 6598025"/>
                <a:gd name="connsiteY11" fmla="*/ 0 h 747096"/>
                <a:gd name="connsiteX12" fmla="*/ 6598025 w 6598025"/>
                <a:gd name="connsiteY12" fmla="*/ 744212 h 747096"/>
                <a:gd name="connsiteX13" fmla="*/ 4469233 w 6598025"/>
                <a:gd name="connsiteY13" fmla="*/ 747096 h 747096"/>
                <a:gd name="connsiteX14" fmla="*/ 4244238 w 6598025"/>
                <a:gd name="connsiteY14" fmla="*/ 747096 h 747096"/>
                <a:gd name="connsiteX15" fmla="*/ 3748097 w 6598025"/>
                <a:gd name="connsiteY15" fmla="*/ 735558 h 747096"/>
                <a:gd name="connsiteX16" fmla="*/ 3470612 w 6598025"/>
                <a:gd name="connsiteY16" fmla="*/ 720010 h 747096"/>
                <a:gd name="connsiteX17" fmla="*/ 3174073 w 6598025"/>
                <a:gd name="connsiteY17" fmla="*/ 698552 h 747096"/>
                <a:gd name="connsiteX18" fmla="*/ 2611587 w 6598025"/>
                <a:gd name="connsiteY18" fmla="*/ 631714 h 747096"/>
                <a:gd name="connsiteX19" fmla="*/ 2354863 w 6598025"/>
                <a:gd name="connsiteY19" fmla="*/ 602869 h 747096"/>
                <a:gd name="connsiteX20" fmla="*/ 1829876 w 6598025"/>
                <a:gd name="connsiteY20" fmla="*/ 522102 h 747096"/>
                <a:gd name="connsiteX21" fmla="*/ 0 w 6598025"/>
                <a:gd name="connsiteY21" fmla="*/ 165450 h 74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598025" h="747096">
                  <a:moveTo>
                    <a:pt x="0" y="165450"/>
                  </a:moveTo>
                  <a:lnTo>
                    <a:pt x="330362" y="145127"/>
                  </a:lnTo>
                  <a:lnTo>
                    <a:pt x="797690" y="104069"/>
                  </a:lnTo>
                  <a:lnTo>
                    <a:pt x="1295985" y="74281"/>
                  </a:lnTo>
                  <a:lnTo>
                    <a:pt x="1585317" y="56975"/>
                  </a:lnTo>
                  <a:lnTo>
                    <a:pt x="1886701" y="37663"/>
                  </a:lnTo>
                  <a:cubicBezTo>
                    <a:pt x="1989691" y="33291"/>
                    <a:pt x="2083352" y="29743"/>
                    <a:pt x="2184469" y="28460"/>
                  </a:cubicBezTo>
                  <a:lnTo>
                    <a:pt x="2684387" y="8655"/>
                  </a:lnTo>
                  <a:lnTo>
                    <a:pt x="3737885" y="2499"/>
                  </a:lnTo>
                  <a:lnTo>
                    <a:pt x="4308408" y="6401"/>
                  </a:lnTo>
                  <a:lnTo>
                    <a:pt x="4999171" y="3917"/>
                  </a:lnTo>
                  <a:lnTo>
                    <a:pt x="6598025" y="0"/>
                  </a:lnTo>
                  <a:lnTo>
                    <a:pt x="6598025" y="744212"/>
                  </a:lnTo>
                  <a:lnTo>
                    <a:pt x="4469233" y="747096"/>
                  </a:lnTo>
                  <a:lnTo>
                    <a:pt x="4244238" y="747096"/>
                  </a:lnTo>
                  <a:lnTo>
                    <a:pt x="3748097" y="735558"/>
                  </a:lnTo>
                  <a:cubicBezTo>
                    <a:pt x="3631659" y="731044"/>
                    <a:pt x="3563107" y="725193"/>
                    <a:pt x="3470612" y="720010"/>
                  </a:cubicBezTo>
                  <a:lnTo>
                    <a:pt x="3174073" y="698552"/>
                  </a:lnTo>
                  <a:lnTo>
                    <a:pt x="2611587" y="631714"/>
                  </a:lnTo>
                  <a:lnTo>
                    <a:pt x="2354863" y="602869"/>
                  </a:lnTo>
                  <a:lnTo>
                    <a:pt x="1829876" y="522102"/>
                  </a:lnTo>
                  <a:lnTo>
                    <a:pt x="0" y="16545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6" name="Group 45" hidden="1"/>
          <p:cNvGrpSpPr/>
          <p:nvPr userDrawn="1"/>
        </p:nvGrpSpPr>
        <p:grpSpPr>
          <a:xfrm>
            <a:off x="-250426" y="-248204"/>
            <a:ext cx="12579836" cy="10338568"/>
            <a:chOff x="-94871" y="-186153"/>
            <a:chExt cx="9248972" cy="7753926"/>
          </a:xfrm>
        </p:grpSpPr>
        <p:sp>
          <p:nvSpPr>
            <p:cNvPr id="42" name="Freeform 41"/>
            <p:cNvSpPr>
              <a:spLocks/>
            </p:cNvSpPr>
            <p:nvPr userDrawn="1"/>
          </p:nvSpPr>
          <p:spPr bwMode="auto">
            <a:xfrm rot="7359879">
              <a:off x="1731890" y="23803"/>
              <a:ext cx="5937912" cy="8456220"/>
            </a:xfrm>
            <a:custGeom>
              <a:avLst/>
              <a:gdLst>
                <a:gd name="connsiteX0" fmla="*/ 1576791 w 5937912"/>
                <a:gd name="connsiteY0" fmla="*/ 5964846 h 8456220"/>
                <a:gd name="connsiteX1" fmla="*/ 1122616 w 5937912"/>
                <a:gd name="connsiteY1" fmla="*/ 5153283 h 8456220"/>
                <a:gd name="connsiteX2" fmla="*/ 1317 w 5937912"/>
                <a:gd name="connsiteY2" fmla="*/ 860987 h 8456220"/>
                <a:gd name="connsiteX3" fmla="*/ 0 w 5937912"/>
                <a:gd name="connsiteY3" fmla="*/ 841677 h 8456220"/>
                <a:gd name="connsiteX4" fmla="*/ 1312826 w 5937912"/>
                <a:gd name="connsiteY4" fmla="*/ 0 h 8456220"/>
                <a:gd name="connsiteX5" fmla="*/ 5937912 w 5937912"/>
                <a:gd name="connsiteY5" fmla="*/ 7214097 h 8456220"/>
                <a:gd name="connsiteX6" fmla="*/ 4000477 w 5937912"/>
                <a:gd name="connsiteY6" fmla="*/ 8456220 h 8456220"/>
                <a:gd name="connsiteX7" fmla="*/ 3905396 w 5937912"/>
                <a:gd name="connsiteY7" fmla="*/ 8407067 h 8456220"/>
                <a:gd name="connsiteX8" fmla="*/ 2139968 w 5937912"/>
                <a:gd name="connsiteY8" fmla="*/ 6776410 h 8456220"/>
                <a:gd name="connsiteX9" fmla="*/ 1576791 w 5937912"/>
                <a:gd name="connsiteY9" fmla="*/ 5964846 h 8456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37912" h="8456220">
                  <a:moveTo>
                    <a:pt x="1576791" y="5964846"/>
                  </a:moveTo>
                  <a:cubicBezTo>
                    <a:pt x="1413288" y="5706622"/>
                    <a:pt x="1267952" y="5448397"/>
                    <a:pt x="1122616" y="5153283"/>
                  </a:cubicBezTo>
                  <a:cubicBezTo>
                    <a:pt x="526510" y="3821811"/>
                    <a:pt x="126002" y="2391045"/>
                    <a:pt x="1317" y="860987"/>
                  </a:cubicBezTo>
                  <a:lnTo>
                    <a:pt x="0" y="841677"/>
                  </a:lnTo>
                  <a:lnTo>
                    <a:pt x="1312826" y="0"/>
                  </a:lnTo>
                  <a:lnTo>
                    <a:pt x="5937912" y="7214097"/>
                  </a:lnTo>
                  <a:lnTo>
                    <a:pt x="4000477" y="8456220"/>
                  </a:lnTo>
                  <a:lnTo>
                    <a:pt x="3905396" y="8407067"/>
                  </a:lnTo>
                  <a:cubicBezTo>
                    <a:pt x="3286760" y="8050243"/>
                    <a:pt x="2684978" y="7514195"/>
                    <a:pt x="2139968" y="6776410"/>
                  </a:cubicBezTo>
                  <a:cubicBezTo>
                    <a:pt x="1921964" y="6481296"/>
                    <a:pt x="1740294" y="6223071"/>
                    <a:pt x="1576791" y="5964846"/>
                  </a:cubicBezTo>
                  <a:close/>
                </a:path>
              </a:pathLst>
            </a:custGeom>
            <a:solidFill>
              <a:srgbClr val="0095D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400" dirty="0">
                <a:solidFill>
                  <a:srgbClr val="444492"/>
                </a:solidFill>
              </a:endParaRPr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 rot="10800000">
              <a:off x="-580" y="1976715"/>
              <a:ext cx="9154681" cy="3160320"/>
            </a:xfrm>
            <a:custGeom>
              <a:avLst/>
              <a:gdLst>
                <a:gd name="connsiteX0" fmla="*/ 0 w 9154681"/>
                <a:gd name="connsiteY0" fmla="*/ 3360626 h 3360626"/>
                <a:gd name="connsiteX1" fmla="*/ 0 w 9154681"/>
                <a:gd name="connsiteY1" fmla="*/ 0 h 3360626"/>
                <a:gd name="connsiteX2" fmla="*/ 8936232 w 9154681"/>
                <a:gd name="connsiteY2" fmla="*/ 0 h 3360626"/>
                <a:gd name="connsiteX3" fmla="*/ 9014405 w 9154681"/>
                <a:gd name="connsiteY3" fmla="*/ 84036 h 3360626"/>
                <a:gd name="connsiteX4" fmla="*/ 9154681 w 9154681"/>
                <a:gd name="connsiteY4" fmla="*/ 249114 h 3360626"/>
                <a:gd name="connsiteX5" fmla="*/ 9154681 w 9154681"/>
                <a:gd name="connsiteY5" fmla="*/ 2283670 h 3360626"/>
                <a:gd name="connsiteX6" fmla="*/ 9076403 w 9154681"/>
                <a:gd name="connsiteY6" fmla="*/ 2244605 h 3360626"/>
                <a:gd name="connsiteX7" fmla="*/ 65356 w 9154681"/>
                <a:gd name="connsiteY7" fmla="*/ 3357654 h 336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4681" h="3360626">
                  <a:moveTo>
                    <a:pt x="0" y="3360626"/>
                  </a:moveTo>
                  <a:lnTo>
                    <a:pt x="0" y="0"/>
                  </a:lnTo>
                  <a:lnTo>
                    <a:pt x="8936232" y="0"/>
                  </a:lnTo>
                  <a:lnTo>
                    <a:pt x="9014405" y="84036"/>
                  </a:lnTo>
                  <a:lnTo>
                    <a:pt x="9154681" y="249114"/>
                  </a:lnTo>
                  <a:lnTo>
                    <a:pt x="9154681" y="2283670"/>
                  </a:lnTo>
                  <a:lnTo>
                    <a:pt x="9076403" y="2244605"/>
                  </a:lnTo>
                  <a:cubicBezTo>
                    <a:pt x="6226987" y="898485"/>
                    <a:pt x="3159170" y="3123495"/>
                    <a:pt x="65356" y="3357654"/>
                  </a:cubicBezTo>
                  <a:close/>
                </a:path>
              </a:pathLst>
            </a:custGeom>
            <a:solidFill>
              <a:srgbClr val="81BC55"/>
            </a:solidFill>
            <a:ln w="7302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400" dirty="0">
                <a:solidFill>
                  <a:srgbClr val="444492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 rot="18440126" flipH="1">
              <a:off x="611114" y="-892138"/>
              <a:ext cx="7753926" cy="9165895"/>
            </a:xfrm>
            <a:custGeom>
              <a:avLst/>
              <a:gdLst>
                <a:gd name="connsiteX0" fmla="*/ 5268899 w 7753926"/>
                <a:gd name="connsiteY0" fmla="*/ 0 h 9165895"/>
                <a:gd name="connsiteX1" fmla="*/ 5214173 w 7753926"/>
                <a:gd name="connsiteY1" fmla="*/ 74916 h 9165895"/>
                <a:gd name="connsiteX2" fmla="*/ 169182 w 7753926"/>
                <a:gd name="connsiteY2" fmla="*/ 7366223 h 9165895"/>
                <a:gd name="connsiteX3" fmla="*/ 0 w 7753926"/>
                <a:gd name="connsiteY3" fmla="*/ 7481484 h 9165895"/>
                <a:gd name="connsiteX4" fmla="*/ 2208270 w 7753926"/>
                <a:gd name="connsiteY4" fmla="*/ 9165895 h 9165895"/>
                <a:gd name="connsiteX5" fmla="*/ 7753926 w 7753926"/>
                <a:gd name="connsiteY5" fmla="*/ 1895513 h 9165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53926" h="9165895">
                  <a:moveTo>
                    <a:pt x="5268899" y="0"/>
                  </a:moveTo>
                  <a:lnTo>
                    <a:pt x="5214173" y="74916"/>
                  </a:lnTo>
                  <a:cubicBezTo>
                    <a:pt x="3566207" y="2395009"/>
                    <a:pt x="2733114" y="5526627"/>
                    <a:pt x="169182" y="7366223"/>
                  </a:cubicBezTo>
                  <a:lnTo>
                    <a:pt x="0" y="7481484"/>
                  </a:lnTo>
                  <a:lnTo>
                    <a:pt x="2208270" y="9165895"/>
                  </a:lnTo>
                  <a:lnTo>
                    <a:pt x="7753926" y="1895513"/>
                  </a:lnTo>
                  <a:close/>
                </a:path>
              </a:pathLst>
            </a:custGeom>
            <a:solidFill>
              <a:srgbClr val="134782"/>
            </a:solidFill>
            <a:ln w="6032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43" name="Title 1"/>
          <p:cNvSpPr>
            <a:spLocks noGrp="1"/>
          </p:cNvSpPr>
          <p:nvPr>
            <p:ph type="ctrTitle"/>
          </p:nvPr>
        </p:nvSpPr>
        <p:spPr>
          <a:xfrm>
            <a:off x="334436" y="4368345"/>
            <a:ext cx="11523133" cy="875369"/>
          </a:xfrm>
          <a:prstGeom prst="rect">
            <a:avLst/>
          </a:prstGeom>
        </p:spPr>
        <p:txBody>
          <a:bodyPr lIns="91436" tIns="45718" rIns="91436" bIns="45718" anchor="b">
            <a:normAutofit/>
          </a:bodyPr>
          <a:lstStyle>
            <a:lvl1pPr algn="ctr">
              <a:defRPr sz="3733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4" name="Subtitle 2"/>
          <p:cNvSpPr>
            <a:spLocks noGrp="1"/>
          </p:cNvSpPr>
          <p:nvPr>
            <p:ph type="subTitle" idx="1"/>
          </p:nvPr>
        </p:nvSpPr>
        <p:spPr>
          <a:xfrm>
            <a:off x="334436" y="5444355"/>
            <a:ext cx="11523133" cy="615796"/>
          </a:xfrm>
          <a:prstGeom prst="rect">
            <a:avLst/>
          </a:prstGeom>
          <a:noFill/>
        </p:spPr>
        <p:txBody>
          <a:bodyPr lIns="91436" tIns="45718" rIns="91436" bIns="45718" anchor="b">
            <a:normAutofit/>
          </a:bodyPr>
          <a:lstStyle>
            <a:lvl1pPr marL="0" indent="0" algn="ctr"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6275" y="334520"/>
            <a:ext cx="1873504" cy="401869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9783473" y="277771"/>
            <a:ext cx="0" cy="515368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054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7"/>
          <p:cNvSpPr>
            <a:spLocks noGrp="1"/>
          </p:cNvSpPr>
          <p:nvPr>
            <p:ph type="title"/>
          </p:nvPr>
        </p:nvSpPr>
        <p:spPr>
          <a:xfrm>
            <a:off x="326264" y="2426"/>
            <a:ext cx="10972800" cy="732335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Espace réservé du texte 18"/>
          <p:cNvSpPr>
            <a:spLocks noGrp="1"/>
          </p:cNvSpPr>
          <p:nvPr>
            <p:ph idx="1"/>
          </p:nvPr>
        </p:nvSpPr>
        <p:spPr>
          <a:xfrm>
            <a:off x="326285" y="1431732"/>
            <a:ext cx="10965404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08549" y="6355114"/>
            <a:ext cx="6035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pPr defTabSz="609585"/>
            <a:fld id="{7792293E-955E-FA4A-ADE3-619116714F24}" type="slidenum">
              <a:rPr lang="en-US" smtClean="0">
                <a:solidFill>
                  <a:srgbClr val="585856"/>
                </a:solidFill>
              </a:rPr>
              <a:pPr defTabSz="609585"/>
              <a:t>‹#›</a:t>
            </a:fld>
            <a:endParaRPr lang="en-US" dirty="0">
              <a:solidFill>
                <a:srgbClr val="5858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1374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3555" y="117918"/>
            <a:ext cx="10477500" cy="69398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42907" y="1206500"/>
            <a:ext cx="11552767" cy="14691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33665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-4307" y="6351341"/>
            <a:ext cx="12196308" cy="506659"/>
            <a:chOff x="-3231" y="4763506"/>
            <a:chExt cx="9147231" cy="379994"/>
          </a:xfrm>
        </p:grpSpPr>
        <p:sp>
          <p:nvSpPr>
            <p:cNvPr id="18" name="Freeform 17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  <p:sp>
          <p:nvSpPr>
            <p:cNvPr id="19" name="Freeform 18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>
                <a:alpha val="7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34434" y="272724"/>
            <a:ext cx="11523133" cy="525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34433" y="1198880"/>
            <a:ext cx="11523135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5896972"/>
            <a:ext cx="1873504" cy="401869"/>
          </a:xfrm>
          <a:prstGeom prst="rect">
            <a:avLst/>
          </a:prstGeom>
        </p:spPr>
      </p:pic>
      <p:sp>
        <p:nvSpPr>
          <p:cNvPr id="1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34432" y="5463117"/>
            <a:ext cx="5647773" cy="381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Footnotes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09791" y="5463117"/>
            <a:ext cx="5647773" cy="381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r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Referenc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33681" y="6346195"/>
            <a:ext cx="2823887" cy="3600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93A60AA-2399-48DC-9473-E7280D604B21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0" name="Footer Placeholder 2">
            <a:extLst>
              <a:ext uri="{FF2B5EF4-FFF2-40B4-BE49-F238E27FC236}">
                <a16:creationId xmlns="" xmlns:a16="http://schemas.microsoft.com/office/drawing/2014/main" id="{AC8AB1B8-F7E7-4C7C-9963-56E2293E6530}"/>
              </a:ext>
            </a:extLst>
          </p:cNvPr>
          <p:cNvSpPr txBox="1">
            <a:spLocks/>
          </p:cNvSpPr>
          <p:nvPr userDrawn="1"/>
        </p:nvSpPr>
        <p:spPr>
          <a:xfrm>
            <a:off x="4237792" y="6640198"/>
            <a:ext cx="3708000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en-US" sz="700" dirty="0">
                <a:solidFill>
                  <a:srgbClr val="FFFFFF"/>
                </a:solidFill>
              </a:rPr>
              <a:t>FOR INTERNAL USE ONLY  –  DO NOT DISTRIBUTE OR USE IN PROMOTION 			</a:t>
            </a:r>
            <a:endParaRPr lang="en-GB" sz="7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889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-4307" y="6351341"/>
            <a:ext cx="12196308" cy="506659"/>
            <a:chOff x="-3231" y="4763506"/>
            <a:chExt cx="9147231" cy="379994"/>
          </a:xfrm>
        </p:grpSpPr>
        <p:sp>
          <p:nvSpPr>
            <p:cNvPr id="18" name="Freeform 17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  <p:sp>
          <p:nvSpPr>
            <p:cNvPr id="19" name="Freeform 18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34029" y="272724"/>
            <a:ext cx="11523537" cy="4363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defRPr sz="3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>
          <a:xfrm>
            <a:off x="9033681" y="6346195"/>
            <a:ext cx="2823887" cy="360096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333" smtClean="0">
                <a:solidFill>
                  <a:srgbClr val="FFFFFF"/>
                </a:solidFill>
              </a:rPr>
              <a:pPr/>
              <a:t>‹#›</a:t>
            </a:fld>
            <a:endParaRPr lang="en-GB" sz="1333" dirty="0">
              <a:solidFill>
                <a:srgbClr val="FFFFFF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36"/>
            <a:ext cx="1873504" cy="401869"/>
          </a:xfrm>
          <a:prstGeom prst="rect">
            <a:avLst/>
          </a:prstGeom>
        </p:spPr>
      </p:pic>
      <p:cxnSp>
        <p:nvCxnSpPr>
          <p:cNvPr id="25" name="Straight Connector 24"/>
          <p:cNvCxnSpPr/>
          <p:nvPr userDrawn="1"/>
        </p:nvCxnSpPr>
        <p:spPr>
          <a:xfrm>
            <a:off x="383118" y="841873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2" name="Text Placeholder 5">
            <a:extLst>
              <a:ext uri="{FF2B5EF4-FFF2-40B4-BE49-F238E27FC236}">
                <a16:creationId xmlns="" xmlns:a16="http://schemas.microsoft.com/office/drawing/2014/main" id="{2467AB3C-1D6E-4FB5-ACBB-448BAB08D7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5781" y="5557613"/>
            <a:ext cx="5606424" cy="381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Footnot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="" xmlns:a16="http://schemas.microsoft.com/office/drawing/2014/main" id="{232EEA83-1D64-4FAD-ADDC-420D8A0E32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19791" y="5548447"/>
            <a:ext cx="5647773" cy="381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r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References</a:t>
            </a:r>
          </a:p>
        </p:txBody>
      </p:sp>
      <p:sp>
        <p:nvSpPr>
          <p:cNvPr id="11" name="Footer Placeholder 2">
            <a:extLst>
              <a:ext uri="{FF2B5EF4-FFF2-40B4-BE49-F238E27FC236}">
                <a16:creationId xmlns="" xmlns:a16="http://schemas.microsoft.com/office/drawing/2014/main" id="{AC8AB1B8-F7E7-4C7C-9963-56E2293E6530}"/>
              </a:ext>
            </a:extLst>
          </p:cNvPr>
          <p:cNvSpPr txBox="1">
            <a:spLocks/>
          </p:cNvSpPr>
          <p:nvPr userDrawn="1"/>
        </p:nvSpPr>
        <p:spPr>
          <a:xfrm>
            <a:off x="593776" y="6653846"/>
            <a:ext cx="10842170" cy="32633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en-US" sz="700" dirty="0">
                <a:solidFill>
                  <a:srgbClr val="FFFFFF"/>
                </a:solidFill>
              </a:rPr>
              <a:t>FOR MEDICAL and SCIENTIFIC PURPOSES ONLY – INTERNAL USE ONLY  			DO NOT DISTRIBUTE OR USE IN PROMOTION 			</a:t>
            </a:r>
            <a:r>
              <a:rPr lang="en-GB" sz="700" dirty="0">
                <a:solidFill>
                  <a:srgbClr val="FFFFFF"/>
                </a:solidFill>
              </a:rPr>
              <a:t>SAGLB.TJO.18.09.1130.  Dated </a:t>
            </a:r>
            <a:r>
              <a:rPr lang="en-GB" sz="700" dirty="0">
                <a:solidFill>
                  <a:srgbClr val="FF0000"/>
                </a:solidFill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17963342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55600"/>
            <a:ext cx="1144524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54858"/>
            <a:ext cx="5386917" cy="639763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3200" b="1">
                <a:solidFill>
                  <a:schemeClr val="accent3">
                    <a:lumMod val="75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318657"/>
            <a:ext cx="5386917" cy="380750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654858"/>
            <a:ext cx="5389033" cy="639763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3200" b="1">
                <a:solidFill>
                  <a:schemeClr val="accent3">
                    <a:lumMod val="75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318657"/>
            <a:ext cx="5389033" cy="380750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defTabSz="609585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defTabSz="609585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" name="Slide Number Placeholder 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517139" y="6313488"/>
            <a:ext cx="2540000" cy="4572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ea typeface="ＭＳ Ｐゴシック"/>
              </a:defRPr>
            </a:lvl1pPr>
          </a:lstStyle>
          <a:p>
            <a:fld id="{2462ECC2-A415-4E86-873D-B602882CC3EA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738153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4800" y="1219200"/>
            <a:ext cx="11582400" cy="43434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3" y="274641"/>
            <a:ext cx="11582400" cy="85091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5638800"/>
            <a:ext cx="9448800" cy="6096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1067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479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15386"/>
            <a:ext cx="11582400" cy="831476"/>
          </a:xfrm>
          <a:prstGeom prst="rect">
            <a:avLst/>
          </a:prstGeom>
        </p:spPr>
        <p:txBody>
          <a:bodyPr lIns="68580" tIns="34290" rIns="68580" bIns="34290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11582400" cy="4191000"/>
          </a:xfrm>
          <a:prstGeom prst="rect">
            <a:avLst/>
          </a:prstGeom>
        </p:spPr>
        <p:txBody>
          <a:bodyPr lIns="68580" tIns="34290" rIns="68580" bIns="34290"/>
          <a:lstStyle>
            <a:lvl2pPr>
              <a:defRPr sz="1867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04800" y="5672253"/>
            <a:ext cx="5715000" cy="533400"/>
          </a:xfrm>
          <a:prstGeom prst="rect">
            <a:avLst/>
          </a:prstGeom>
        </p:spPr>
        <p:txBody>
          <a:bodyPr lIns="68580" tIns="0" rIns="0" bIns="0" anchor="b"/>
          <a:lstStyle>
            <a:lvl1pPr marL="0" indent="0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2200" y="5672253"/>
            <a:ext cx="5715000" cy="533400"/>
          </a:xfrm>
          <a:prstGeom prst="rect">
            <a:avLst/>
          </a:prstGeom>
        </p:spPr>
        <p:txBody>
          <a:bodyPr lIns="68580" tIns="0" rIns="0" bIns="0" anchor="b"/>
          <a:lstStyle>
            <a:lvl1pPr marL="0" indent="0" algn="r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067186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 userDrawn="1">
            <p:ph idx="1"/>
          </p:nvPr>
        </p:nvSpPr>
        <p:spPr>
          <a:xfrm>
            <a:off x="383119" y="1030818"/>
            <a:ext cx="11474448" cy="4980516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2133">
                <a:solidFill>
                  <a:srgbClr val="596169"/>
                </a:solidFill>
              </a:defRPr>
            </a:lvl1pPr>
            <a:lvl2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867">
                <a:solidFill>
                  <a:srgbClr val="596169"/>
                </a:solidFill>
              </a:defRPr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3pPr>
            <a:lvl4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4pPr>
            <a:lvl5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36"/>
            <a:ext cx="1873504" cy="401869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-4307" y="6351341"/>
            <a:ext cx="12196308" cy="506659"/>
            <a:chOff x="-3231" y="4763506"/>
            <a:chExt cx="9147231" cy="379994"/>
          </a:xfrm>
        </p:grpSpPr>
        <p:sp>
          <p:nvSpPr>
            <p:cNvPr id="3" name="Freeform 2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  <p:sp>
          <p:nvSpPr>
            <p:cNvPr id="4" name="Freeform 3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033681" y="6346195"/>
            <a:ext cx="2823887" cy="360096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333" smtClean="0">
                <a:solidFill>
                  <a:srgbClr val="FFFFFF"/>
                </a:solidFill>
              </a:rPr>
              <a:pPr/>
              <a:t>‹#›</a:t>
            </a:fld>
            <a:endParaRPr lang="en-GB" sz="1333" dirty="0">
              <a:solidFill>
                <a:srgbClr val="FFFFFF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34029" y="272724"/>
            <a:ext cx="11523537" cy="4363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defRPr sz="3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83118" y="781347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12735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4800" y="1219200"/>
            <a:ext cx="11582400" cy="4343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2" y="274644"/>
            <a:ext cx="11582400" cy="85091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5638800"/>
            <a:ext cx="9448800" cy="6096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96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24574" y="6647716"/>
            <a:ext cx="4161717" cy="2400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960" dirty="0"/>
              <a:t>CONFIDENTIAL -  </a:t>
            </a:r>
            <a:r>
              <a:rPr lang="fr-FR" sz="960" dirty="0"/>
              <a:t>NOT FOR DISTRIBUTION OR USE IN PROMOTION </a:t>
            </a:r>
            <a:endParaRPr lang="en-GB" sz="960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79239" y="6519548"/>
            <a:ext cx="536573" cy="365125"/>
          </a:xfrm>
          <a:prstGeom prst="rect">
            <a:avLst/>
          </a:prstGeom>
        </p:spPr>
        <p:txBody>
          <a:bodyPr/>
          <a:lstStyle>
            <a:lvl1pPr algn="ctr">
              <a:defRPr sz="960" b="0" i="0">
                <a:solidFill>
                  <a:schemeClr val="bg1"/>
                </a:solidFill>
                <a:latin typeface="Helvetica"/>
                <a:cs typeface="Helvetica"/>
              </a:defRPr>
            </a:lvl1pPr>
          </a:lstStyle>
          <a:p>
            <a:fld id="{78509EE6-8B91-7A43-9ECB-7CA57E7055C7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6345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424" y="260649"/>
            <a:ext cx="10476523" cy="841375"/>
          </a:xfrm>
        </p:spPr>
        <p:txBody>
          <a:bodyPr/>
          <a:lstStyle>
            <a:lvl1pPr>
              <a:defRPr sz="2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>
                <a:solidFill>
                  <a:srgbClr val="68688F"/>
                </a:solidFill>
              </a:defRPr>
            </a:lvl1pPr>
            <a:lvl2pPr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>
                <a:solidFill>
                  <a:srgbClr val="68688F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4000" y="6329363"/>
            <a:ext cx="6979920" cy="425449"/>
          </a:xfrm>
        </p:spPr>
        <p:txBody>
          <a:bodyPr anchor="b">
            <a:normAutofit/>
          </a:bodyPr>
          <a:lstStyle>
            <a:lvl1pPr marL="0" indent="0">
              <a:buNone/>
              <a:defRPr sz="8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C6A3BC2-88F7-4574-8A05-FB0115AF431A}" type="slidenum">
              <a:rPr lang="en-GB" altLang="en-US"/>
              <a:pPr/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7341363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 hidden="1"/>
          <p:cNvGrpSpPr/>
          <p:nvPr userDrawn="1"/>
        </p:nvGrpSpPr>
        <p:grpSpPr>
          <a:xfrm>
            <a:off x="-250426" y="-248204"/>
            <a:ext cx="12579836" cy="10338568"/>
            <a:chOff x="-94871" y="-186153"/>
            <a:chExt cx="9248972" cy="7753926"/>
          </a:xfrm>
        </p:grpSpPr>
        <p:sp>
          <p:nvSpPr>
            <p:cNvPr id="42" name="Freeform 41"/>
            <p:cNvSpPr>
              <a:spLocks/>
            </p:cNvSpPr>
            <p:nvPr userDrawn="1"/>
          </p:nvSpPr>
          <p:spPr bwMode="auto">
            <a:xfrm rot="7359879">
              <a:off x="1731890" y="23803"/>
              <a:ext cx="5937912" cy="8456220"/>
            </a:xfrm>
            <a:custGeom>
              <a:avLst/>
              <a:gdLst>
                <a:gd name="connsiteX0" fmla="*/ 1576791 w 5937912"/>
                <a:gd name="connsiteY0" fmla="*/ 5964846 h 8456220"/>
                <a:gd name="connsiteX1" fmla="*/ 1122616 w 5937912"/>
                <a:gd name="connsiteY1" fmla="*/ 5153283 h 8456220"/>
                <a:gd name="connsiteX2" fmla="*/ 1317 w 5937912"/>
                <a:gd name="connsiteY2" fmla="*/ 860987 h 8456220"/>
                <a:gd name="connsiteX3" fmla="*/ 0 w 5937912"/>
                <a:gd name="connsiteY3" fmla="*/ 841677 h 8456220"/>
                <a:gd name="connsiteX4" fmla="*/ 1312826 w 5937912"/>
                <a:gd name="connsiteY4" fmla="*/ 0 h 8456220"/>
                <a:gd name="connsiteX5" fmla="*/ 5937912 w 5937912"/>
                <a:gd name="connsiteY5" fmla="*/ 7214097 h 8456220"/>
                <a:gd name="connsiteX6" fmla="*/ 4000477 w 5937912"/>
                <a:gd name="connsiteY6" fmla="*/ 8456220 h 8456220"/>
                <a:gd name="connsiteX7" fmla="*/ 3905396 w 5937912"/>
                <a:gd name="connsiteY7" fmla="*/ 8407067 h 8456220"/>
                <a:gd name="connsiteX8" fmla="*/ 2139968 w 5937912"/>
                <a:gd name="connsiteY8" fmla="*/ 6776410 h 8456220"/>
                <a:gd name="connsiteX9" fmla="*/ 1576791 w 5937912"/>
                <a:gd name="connsiteY9" fmla="*/ 5964846 h 8456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37912" h="8456220">
                  <a:moveTo>
                    <a:pt x="1576791" y="5964846"/>
                  </a:moveTo>
                  <a:cubicBezTo>
                    <a:pt x="1413288" y="5706622"/>
                    <a:pt x="1267952" y="5448397"/>
                    <a:pt x="1122616" y="5153283"/>
                  </a:cubicBezTo>
                  <a:cubicBezTo>
                    <a:pt x="526510" y="3821811"/>
                    <a:pt x="126002" y="2391045"/>
                    <a:pt x="1317" y="860987"/>
                  </a:cubicBezTo>
                  <a:lnTo>
                    <a:pt x="0" y="841677"/>
                  </a:lnTo>
                  <a:lnTo>
                    <a:pt x="1312826" y="0"/>
                  </a:lnTo>
                  <a:lnTo>
                    <a:pt x="5937912" y="7214097"/>
                  </a:lnTo>
                  <a:lnTo>
                    <a:pt x="4000477" y="8456220"/>
                  </a:lnTo>
                  <a:lnTo>
                    <a:pt x="3905396" y="8407067"/>
                  </a:lnTo>
                  <a:cubicBezTo>
                    <a:pt x="3286760" y="8050243"/>
                    <a:pt x="2684978" y="7514195"/>
                    <a:pt x="2139968" y="6776410"/>
                  </a:cubicBezTo>
                  <a:cubicBezTo>
                    <a:pt x="1921964" y="6481296"/>
                    <a:pt x="1740294" y="6223071"/>
                    <a:pt x="1576791" y="5964846"/>
                  </a:cubicBezTo>
                  <a:close/>
                </a:path>
              </a:pathLst>
            </a:custGeom>
            <a:solidFill>
              <a:srgbClr val="0095D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400" dirty="0">
                <a:solidFill>
                  <a:srgbClr val="444492"/>
                </a:solidFill>
              </a:endParaRPr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 rot="10800000">
              <a:off x="-580" y="1976715"/>
              <a:ext cx="9154681" cy="3160320"/>
            </a:xfrm>
            <a:custGeom>
              <a:avLst/>
              <a:gdLst>
                <a:gd name="connsiteX0" fmla="*/ 0 w 9154681"/>
                <a:gd name="connsiteY0" fmla="*/ 3360626 h 3360626"/>
                <a:gd name="connsiteX1" fmla="*/ 0 w 9154681"/>
                <a:gd name="connsiteY1" fmla="*/ 0 h 3360626"/>
                <a:gd name="connsiteX2" fmla="*/ 8936232 w 9154681"/>
                <a:gd name="connsiteY2" fmla="*/ 0 h 3360626"/>
                <a:gd name="connsiteX3" fmla="*/ 9014405 w 9154681"/>
                <a:gd name="connsiteY3" fmla="*/ 84036 h 3360626"/>
                <a:gd name="connsiteX4" fmla="*/ 9154681 w 9154681"/>
                <a:gd name="connsiteY4" fmla="*/ 249114 h 3360626"/>
                <a:gd name="connsiteX5" fmla="*/ 9154681 w 9154681"/>
                <a:gd name="connsiteY5" fmla="*/ 2283670 h 3360626"/>
                <a:gd name="connsiteX6" fmla="*/ 9076403 w 9154681"/>
                <a:gd name="connsiteY6" fmla="*/ 2244605 h 3360626"/>
                <a:gd name="connsiteX7" fmla="*/ 65356 w 9154681"/>
                <a:gd name="connsiteY7" fmla="*/ 3357654 h 336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4681" h="3360626">
                  <a:moveTo>
                    <a:pt x="0" y="3360626"/>
                  </a:moveTo>
                  <a:lnTo>
                    <a:pt x="0" y="0"/>
                  </a:lnTo>
                  <a:lnTo>
                    <a:pt x="8936232" y="0"/>
                  </a:lnTo>
                  <a:lnTo>
                    <a:pt x="9014405" y="84036"/>
                  </a:lnTo>
                  <a:lnTo>
                    <a:pt x="9154681" y="249114"/>
                  </a:lnTo>
                  <a:lnTo>
                    <a:pt x="9154681" y="2283670"/>
                  </a:lnTo>
                  <a:lnTo>
                    <a:pt x="9076403" y="2244605"/>
                  </a:lnTo>
                  <a:cubicBezTo>
                    <a:pt x="6226987" y="898485"/>
                    <a:pt x="3159170" y="3123495"/>
                    <a:pt x="65356" y="3357654"/>
                  </a:cubicBezTo>
                  <a:close/>
                </a:path>
              </a:pathLst>
            </a:custGeom>
            <a:solidFill>
              <a:srgbClr val="81BC55"/>
            </a:solidFill>
            <a:ln w="7302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400" dirty="0">
                <a:solidFill>
                  <a:srgbClr val="444492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 rot="18440126" flipH="1">
              <a:off x="611114" y="-892138"/>
              <a:ext cx="7753926" cy="9165895"/>
            </a:xfrm>
            <a:custGeom>
              <a:avLst/>
              <a:gdLst>
                <a:gd name="connsiteX0" fmla="*/ 5268899 w 7753926"/>
                <a:gd name="connsiteY0" fmla="*/ 0 h 9165895"/>
                <a:gd name="connsiteX1" fmla="*/ 5214173 w 7753926"/>
                <a:gd name="connsiteY1" fmla="*/ 74916 h 9165895"/>
                <a:gd name="connsiteX2" fmla="*/ 169182 w 7753926"/>
                <a:gd name="connsiteY2" fmla="*/ 7366223 h 9165895"/>
                <a:gd name="connsiteX3" fmla="*/ 0 w 7753926"/>
                <a:gd name="connsiteY3" fmla="*/ 7481484 h 9165895"/>
                <a:gd name="connsiteX4" fmla="*/ 2208270 w 7753926"/>
                <a:gd name="connsiteY4" fmla="*/ 9165895 h 9165895"/>
                <a:gd name="connsiteX5" fmla="*/ 7753926 w 7753926"/>
                <a:gd name="connsiteY5" fmla="*/ 1895513 h 9165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53926" h="9165895">
                  <a:moveTo>
                    <a:pt x="5268899" y="0"/>
                  </a:moveTo>
                  <a:lnTo>
                    <a:pt x="5214173" y="74916"/>
                  </a:lnTo>
                  <a:cubicBezTo>
                    <a:pt x="3566207" y="2395009"/>
                    <a:pt x="2733114" y="5526627"/>
                    <a:pt x="169182" y="7366223"/>
                  </a:cubicBezTo>
                  <a:lnTo>
                    <a:pt x="0" y="7481484"/>
                  </a:lnTo>
                  <a:lnTo>
                    <a:pt x="2208270" y="9165895"/>
                  </a:lnTo>
                  <a:lnTo>
                    <a:pt x="7753926" y="1895513"/>
                  </a:lnTo>
                  <a:close/>
                </a:path>
              </a:pathLst>
            </a:custGeom>
            <a:solidFill>
              <a:srgbClr val="134782"/>
            </a:solidFill>
            <a:ln w="6032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334436" y="2035460"/>
            <a:ext cx="11523133" cy="1920000"/>
          </a:xfrm>
          <a:prstGeom prst="rect">
            <a:avLst/>
          </a:prstGeom>
        </p:spPr>
        <p:txBody>
          <a:bodyPr lIns="91436" tIns="45718" rIns="91436" bIns="45718" anchor="b"/>
          <a:lstStyle>
            <a:lvl1pPr>
              <a:defRPr sz="2800" b="1">
                <a:solidFill>
                  <a:srgbClr val="444492"/>
                </a:solidFill>
              </a:defRPr>
            </a:lvl1pPr>
          </a:lstStyle>
          <a:p>
            <a:r>
              <a:rPr lang="en-GB" dirty="0"/>
              <a:t>Click to edit Divider title styl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6275" y="334520"/>
            <a:ext cx="1873504" cy="401869"/>
          </a:xfrm>
          <a:prstGeom prst="rect">
            <a:avLst/>
          </a:prstGeom>
        </p:spPr>
      </p:pic>
      <p:cxnSp>
        <p:nvCxnSpPr>
          <p:cNvPr id="23" name="Straight Connector 22"/>
          <p:cNvCxnSpPr/>
          <p:nvPr userDrawn="1"/>
        </p:nvCxnSpPr>
        <p:spPr>
          <a:xfrm>
            <a:off x="9783473" y="277771"/>
            <a:ext cx="0" cy="515368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33699" y="6346195"/>
            <a:ext cx="2823887" cy="360096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93A60AA-2399-48DC-9473-E7280D604B21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413"/>
          <a:stretch/>
        </p:blipFill>
        <p:spPr bwMode="auto">
          <a:xfrm>
            <a:off x="-16934" y="4521201"/>
            <a:ext cx="12225867" cy="233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9160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nofi External DIVIDER bg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528581"/>
            <a:ext cx="10560000" cy="1920000"/>
          </a:xfrm>
          <a:prstGeom prst="rect">
            <a:avLst/>
          </a:prstGeom>
        </p:spPr>
        <p:txBody>
          <a:bodyPr anchor="b"/>
          <a:lstStyle>
            <a:lvl1pPr>
              <a:defRPr sz="384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Divid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9600" y="5793158"/>
            <a:ext cx="10560000" cy="326339"/>
          </a:xfrm>
          <a:prstGeom prst="rect">
            <a:avLst/>
          </a:prstGeom>
        </p:spPr>
        <p:txBody>
          <a:bodyPr/>
          <a:lstStyle>
            <a:lvl1pPr>
              <a:defRPr sz="960">
                <a:solidFill>
                  <a:srgbClr val="596169"/>
                </a:solidFill>
              </a:defRPr>
            </a:lvl1pPr>
          </a:lstStyle>
          <a:p>
            <a:pPr defTabSz="548640"/>
            <a:r>
              <a:rPr lang="en-GB" dirty="0"/>
              <a:t>Footer:</a:t>
            </a:r>
          </a:p>
        </p:txBody>
      </p:sp>
      <p:sp>
        <p:nvSpPr>
          <p:cNvPr id="6" name="ZoneTexte 4"/>
          <p:cNvSpPr txBox="1"/>
          <p:nvPr userDrawn="1"/>
        </p:nvSpPr>
        <p:spPr>
          <a:xfrm>
            <a:off x="181967" y="6598571"/>
            <a:ext cx="2893325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8640"/>
            <a:r>
              <a:rPr lang="en-US" sz="1440" dirty="0">
                <a:solidFill>
                  <a:srgbClr val="FFFFFF">
                    <a:lumMod val="65000"/>
                  </a:srgbClr>
                </a:solidFill>
              </a:rPr>
              <a:t>SAGLB.DIA15.08.0594</a:t>
            </a:r>
          </a:p>
        </p:txBody>
      </p:sp>
    </p:spTree>
    <p:extLst>
      <p:ext uri="{BB962C8B-B14F-4D97-AF65-F5344CB8AC3E}">
        <p14:creationId xmlns:p14="http://schemas.microsoft.com/office/powerpoint/2010/main" val="28282708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Sanofi External COPY2 bg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09600" y="5685694"/>
            <a:ext cx="10560000" cy="433800"/>
          </a:xfrm>
          <a:prstGeom prst="rect">
            <a:avLst/>
          </a:prstGeom>
        </p:spPr>
        <p:txBody>
          <a:bodyPr/>
          <a:lstStyle>
            <a:lvl1pPr>
              <a:defRPr sz="960"/>
            </a:lvl1pPr>
          </a:lstStyle>
          <a:p>
            <a:pPr defTabSz="548640"/>
            <a:r>
              <a:rPr lang="en-GB" dirty="0">
                <a:solidFill>
                  <a:srgbClr val="444492"/>
                </a:solidFill>
              </a:rPr>
              <a:t>Footer: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560000" cy="1143000"/>
          </a:xfrm>
          <a:prstGeom prst="rect">
            <a:avLst/>
          </a:prstGeom>
        </p:spPr>
        <p:txBody>
          <a:bodyPr/>
          <a:lstStyle>
            <a:lvl1pPr>
              <a:defRPr sz="336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51366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1B838"/>
              </a:buClr>
              <a:defRPr sz="2400">
                <a:solidFill>
                  <a:srgbClr val="596169"/>
                </a:solidFill>
              </a:defRPr>
            </a:lvl1pPr>
            <a:lvl2pPr>
              <a:buClr>
                <a:srgbClr val="81B838"/>
              </a:buClr>
              <a:defRPr sz="2160">
                <a:solidFill>
                  <a:srgbClr val="596169"/>
                </a:solidFill>
              </a:defRPr>
            </a:lvl2pPr>
            <a:lvl3pPr>
              <a:buClr>
                <a:srgbClr val="81B838"/>
              </a:buClr>
              <a:defRPr sz="1920">
                <a:solidFill>
                  <a:srgbClr val="596169"/>
                </a:solidFill>
              </a:defRPr>
            </a:lvl3pPr>
            <a:lvl4pPr>
              <a:buClr>
                <a:srgbClr val="81B838"/>
              </a:buClr>
              <a:defRPr sz="1680">
                <a:solidFill>
                  <a:srgbClr val="596169"/>
                </a:solidFill>
              </a:defRPr>
            </a:lvl4pPr>
            <a:lvl5pPr>
              <a:buClr>
                <a:srgbClr val="81B838"/>
              </a:buClr>
              <a:defRPr sz="1680">
                <a:solidFill>
                  <a:srgbClr val="596169"/>
                </a:solidFill>
              </a:defRPr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51366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1B838"/>
              </a:buClr>
              <a:defRPr sz="2400">
                <a:solidFill>
                  <a:srgbClr val="596169"/>
                </a:solidFill>
              </a:defRPr>
            </a:lvl1pPr>
            <a:lvl2pPr>
              <a:buClr>
                <a:srgbClr val="81B838"/>
              </a:buClr>
              <a:defRPr sz="2160">
                <a:solidFill>
                  <a:srgbClr val="596169"/>
                </a:solidFill>
              </a:defRPr>
            </a:lvl2pPr>
            <a:lvl3pPr>
              <a:buClr>
                <a:srgbClr val="81B838"/>
              </a:buClr>
              <a:defRPr sz="1920">
                <a:solidFill>
                  <a:srgbClr val="596169"/>
                </a:solidFill>
              </a:defRPr>
            </a:lvl3pPr>
            <a:lvl4pPr>
              <a:buClr>
                <a:srgbClr val="81B838"/>
              </a:buClr>
              <a:defRPr sz="1680">
                <a:solidFill>
                  <a:srgbClr val="596169"/>
                </a:solidFill>
              </a:defRPr>
            </a:lvl4pPr>
            <a:lvl5pPr>
              <a:buClr>
                <a:srgbClr val="81B838"/>
              </a:buClr>
              <a:defRPr sz="1680">
                <a:solidFill>
                  <a:srgbClr val="596169"/>
                </a:solidFill>
              </a:defRPr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ZoneTexte 4"/>
          <p:cNvSpPr txBox="1"/>
          <p:nvPr userDrawn="1"/>
        </p:nvSpPr>
        <p:spPr>
          <a:xfrm>
            <a:off x="181967" y="6598571"/>
            <a:ext cx="2893325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8640"/>
            <a:r>
              <a:rPr lang="en-US" sz="1440" dirty="0">
                <a:solidFill>
                  <a:srgbClr val="FFFFFF">
                    <a:lumMod val="65000"/>
                  </a:srgbClr>
                </a:solidFill>
              </a:rPr>
              <a:t>SAGLB.DIA15.08.0594</a:t>
            </a:r>
          </a:p>
        </p:txBody>
      </p:sp>
    </p:spTree>
    <p:extLst>
      <p:ext uri="{BB962C8B-B14F-4D97-AF65-F5344CB8AC3E}">
        <p14:creationId xmlns:p14="http://schemas.microsoft.com/office/powerpoint/2010/main" val="1942209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anofi External COPY bg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anofi-COPY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4552" y="1497851"/>
            <a:ext cx="12190993" cy="53640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560000" cy="1143000"/>
          </a:xfrm>
          <a:prstGeom prst="rect">
            <a:avLst/>
          </a:prstGeom>
        </p:spPr>
        <p:txBody>
          <a:bodyPr/>
          <a:lstStyle>
            <a:lvl1pPr>
              <a:defRPr sz="336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ZoneTexte 4"/>
          <p:cNvSpPr txBox="1"/>
          <p:nvPr userDrawn="1"/>
        </p:nvSpPr>
        <p:spPr>
          <a:xfrm>
            <a:off x="181967" y="6598571"/>
            <a:ext cx="2893325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8640"/>
            <a:r>
              <a:rPr lang="en-US" sz="1440" dirty="0">
                <a:solidFill>
                  <a:srgbClr val="FFFFFF">
                    <a:lumMod val="65000"/>
                  </a:srgbClr>
                </a:solidFill>
              </a:rPr>
              <a:t>SAGLB.DIA15.08.0594</a:t>
            </a:r>
          </a:p>
        </p:txBody>
      </p:sp>
    </p:spTree>
    <p:extLst>
      <p:ext uri="{BB962C8B-B14F-4D97-AF65-F5344CB8AC3E}">
        <p14:creationId xmlns:p14="http://schemas.microsoft.com/office/powerpoint/2010/main" val="2166735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Sanofi External COPY bg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560000" cy="1143000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5343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1190625"/>
            <a:ext cx="11379200" cy="4806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ZoneTexte 4"/>
          <p:cNvSpPr txBox="1"/>
          <p:nvPr userDrawn="1"/>
        </p:nvSpPr>
        <p:spPr>
          <a:xfrm>
            <a:off x="181967" y="6598551"/>
            <a:ext cx="28933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SAGLB.DIA15.08.0594</a:t>
            </a:r>
          </a:p>
        </p:txBody>
      </p:sp>
    </p:spTree>
    <p:extLst>
      <p:ext uri="{BB962C8B-B14F-4D97-AF65-F5344CB8AC3E}">
        <p14:creationId xmlns:p14="http://schemas.microsoft.com/office/powerpoint/2010/main" val="24145877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nofi External BLANK bg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560000" cy="1143000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129059"/>
            <a:ext cx="10560000" cy="3207176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0"/>
              </a:spcAft>
              <a:buClr>
                <a:srgbClr val="81BD55"/>
              </a:buClr>
              <a:defRPr sz="2400">
                <a:solidFill>
                  <a:srgbClr val="596169"/>
                </a:solidFill>
              </a:defRPr>
            </a:lvl1pPr>
            <a:lvl2pPr>
              <a:spcBef>
                <a:spcPts val="480"/>
              </a:spcBef>
              <a:spcAft>
                <a:spcPts val="0"/>
              </a:spcAft>
              <a:buClr>
                <a:srgbClr val="81BD55"/>
              </a:buClr>
              <a:defRPr sz="2000">
                <a:solidFill>
                  <a:srgbClr val="596169"/>
                </a:solidFill>
              </a:defRPr>
            </a:lvl2pPr>
            <a:lvl3pPr>
              <a:spcBef>
                <a:spcPts val="480"/>
              </a:spcBef>
              <a:spcAft>
                <a:spcPts val="0"/>
              </a:spcAft>
              <a:buClr>
                <a:srgbClr val="81BD55"/>
              </a:buClr>
              <a:defRPr sz="1800">
                <a:solidFill>
                  <a:srgbClr val="596169"/>
                </a:solidFill>
              </a:defRPr>
            </a:lvl3pPr>
            <a:lvl4pPr>
              <a:spcBef>
                <a:spcPts val="480"/>
              </a:spcBef>
              <a:spcAft>
                <a:spcPts val="0"/>
              </a:spcAft>
              <a:buClr>
                <a:srgbClr val="81BD55"/>
              </a:buClr>
              <a:defRPr sz="1800">
                <a:solidFill>
                  <a:srgbClr val="596169"/>
                </a:solidFill>
              </a:defRPr>
            </a:lvl4pPr>
            <a:lvl5pPr>
              <a:spcBef>
                <a:spcPts val="480"/>
              </a:spcBef>
              <a:spcAft>
                <a:spcPts val="0"/>
              </a:spcAft>
              <a:buClr>
                <a:srgbClr val="81BD55"/>
              </a:buClr>
              <a:defRPr sz="1800">
                <a:solidFill>
                  <a:srgbClr val="596169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09600" y="5685693"/>
            <a:ext cx="10560000" cy="4338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r>
              <a:rPr lang="en-GB" dirty="0">
                <a:solidFill>
                  <a:srgbClr val="444492"/>
                </a:solidFill>
                <a:latin typeface="Arial"/>
              </a:rPr>
              <a:t>Footer: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438361"/>
            <a:ext cx="10560051" cy="690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81B838"/>
                </a:solidFill>
              </a:defRPr>
            </a:lvl1pPr>
            <a:lvl2pPr>
              <a:buNone/>
              <a:defRPr>
                <a:solidFill>
                  <a:schemeClr val="tx2"/>
                </a:solidFill>
              </a:defRPr>
            </a:lvl2pPr>
            <a:lvl3pPr>
              <a:buNone/>
              <a:defRPr>
                <a:solidFill>
                  <a:schemeClr val="tx2"/>
                </a:solidFill>
              </a:defRPr>
            </a:lvl3pPr>
            <a:lvl4pPr>
              <a:buNone/>
              <a:defRPr>
                <a:solidFill>
                  <a:schemeClr val="tx2"/>
                </a:solidFill>
              </a:defRPr>
            </a:lvl4pPr>
            <a:lvl5pPr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Subtitle style</a:t>
            </a:r>
          </a:p>
        </p:txBody>
      </p:sp>
      <p:sp>
        <p:nvSpPr>
          <p:cNvPr id="7" name="ZoneTexte 4"/>
          <p:cNvSpPr txBox="1"/>
          <p:nvPr userDrawn="1"/>
        </p:nvSpPr>
        <p:spPr>
          <a:xfrm>
            <a:off x="181967" y="6598551"/>
            <a:ext cx="28933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SAGLB.DIA15.08.0594</a:t>
            </a:r>
          </a:p>
        </p:txBody>
      </p:sp>
    </p:spTree>
    <p:extLst>
      <p:ext uri="{BB962C8B-B14F-4D97-AF65-F5344CB8AC3E}">
        <p14:creationId xmlns:p14="http://schemas.microsoft.com/office/powerpoint/2010/main" val="24122395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1190625"/>
            <a:ext cx="11379200" cy="48069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ZoneTexte 4"/>
          <p:cNvSpPr txBox="1"/>
          <p:nvPr userDrawn="1"/>
        </p:nvSpPr>
        <p:spPr>
          <a:xfrm>
            <a:off x="181967" y="6598551"/>
            <a:ext cx="28933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SAGLB.DIA15.08.0594</a:t>
            </a:r>
          </a:p>
        </p:txBody>
      </p:sp>
    </p:spTree>
    <p:extLst>
      <p:ext uri="{BB962C8B-B14F-4D97-AF65-F5344CB8AC3E}">
        <p14:creationId xmlns:p14="http://schemas.microsoft.com/office/powerpoint/2010/main" val="33344339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 userDrawn="1">
            <p:ph idx="1"/>
          </p:nvPr>
        </p:nvSpPr>
        <p:spPr>
          <a:xfrm>
            <a:off x="383119" y="1030819"/>
            <a:ext cx="11474448" cy="4980516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920">
                <a:solidFill>
                  <a:srgbClr val="596169"/>
                </a:solidFill>
              </a:defRPr>
            </a:lvl1pPr>
            <a:lvl2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680">
                <a:solidFill>
                  <a:srgbClr val="596169"/>
                </a:solidFill>
              </a:defRPr>
            </a:lvl2pPr>
            <a:lvl3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3pPr>
            <a:lvl4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4pPr>
            <a:lvl5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40"/>
            <a:ext cx="1873504" cy="401869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-4305" y="6351342"/>
            <a:ext cx="12196308" cy="506659"/>
            <a:chOff x="-3231" y="4763506"/>
            <a:chExt cx="9147231" cy="379994"/>
          </a:xfrm>
        </p:grpSpPr>
        <p:sp>
          <p:nvSpPr>
            <p:cNvPr id="3" name="Freeform 2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160" dirty="0"/>
            </a:p>
          </p:txBody>
        </p:sp>
        <p:sp>
          <p:nvSpPr>
            <p:cNvPr id="4" name="Freeform 3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60" dirty="0"/>
            </a:p>
          </p:txBody>
        </p:sp>
      </p:grp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033711" y="6346195"/>
            <a:ext cx="2823887" cy="360096"/>
          </a:xfrm>
          <a:prstGeom prst="rect">
            <a:avLst/>
          </a:prstGeom>
        </p:spPr>
        <p:txBody>
          <a:bodyPr vert="horz" lIns="109728" tIns="54864" rIns="109728" bIns="54864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200" smtClean="0"/>
              <a:pPr/>
              <a:t>‹#›</a:t>
            </a:fld>
            <a:endParaRPr lang="en-GB" sz="1200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34034" y="272731"/>
            <a:ext cx="11523537" cy="4363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defRPr sz="288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83123" y="781346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37344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anofi External COPY bg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anofi-COPY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4552" y="1497851"/>
            <a:ext cx="12190993" cy="53640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560000" cy="1143000"/>
          </a:xfrm>
          <a:prstGeom prst="rect">
            <a:avLst/>
          </a:prstGeom>
        </p:spPr>
        <p:txBody>
          <a:bodyPr/>
          <a:lstStyle>
            <a:lvl1pPr>
              <a:defRPr sz="336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97848"/>
            <a:ext cx="10560000" cy="4158538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360"/>
              </a:spcAft>
              <a:buClr>
                <a:srgbClr val="81BD55"/>
              </a:buClr>
              <a:defRPr sz="2880">
                <a:solidFill>
                  <a:srgbClr val="596169"/>
                </a:solidFill>
              </a:defRPr>
            </a:lvl1pPr>
            <a:lvl2pPr>
              <a:spcBef>
                <a:spcPts val="0"/>
              </a:spcBef>
              <a:spcAft>
                <a:spcPts val="360"/>
              </a:spcAft>
              <a:buClr>
                <a:srgbClr val="81BD55"/>
              </a:buClr>
              <a:defRPr sz="2400">
                <a:solidFill>
                  <a:srgbClr val="596169"/>
                </a:solidFill>
              </a:defRPr>
            </a:lvl2pPr>
            <a:lvl3pPr>
              <a:spcBef>
                <a:spcPts val="0"/>
              </a:spcBef>
              <a:spcAft>
                <a:spcPts val="360"/>
              </a:spcAft>
              <a:buClr>
                <a:srgbClr val="81BD55"/>
              </a:buClr>
              <a:defRPr sz="2160">
                <a:solidFill>
                  <a:srgbClr val="596169"/>
                </a:solidFill>
              </a:defRPr>
            </a:lvl3pPr>
            <a:lvl4pPr>
              <a:spcBef>
                <a:spcPts val="0"/>
              </a:spcBef>
              <a:spcAft>
                <a:spcPts val="360"/>
              </a:spcAft>
              <a:buClr>
                <a:srgbClr val="81BD55"/>
              </a:buClr>
              <a:defRPr sz="2160">
                <a:solidFill>
                  <a:srgbClr val="596169"/>
                </a:solidFill>
              </a:defRPr>
            </a:lvl4pPr>
            <a:lvl5pPr>
              <a:spcBef>
                <a:spcPts val="0"/>
              </a:spcBef>
              <a:spcAft>
                <a:spcPts val="360"/>
              </a:spcAft>
              <a:buClr>
                <a:srgbClr val="81BD55"/>
              </a:buClr>
              <a:defRPr sz="216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09600" y="5656401"/>
            <a:ext cx="10560000" cy="463108"/>
          </a:xfrm>
          <a:prstGeom prst="rect">
            <a:avLst/>
          </a:prstGeom>
        </p:spPr>
        <p:txBody>
          <a:bodyPr/>
          <a:lstStyle>
            <a:lvl1pPr>
              <a:defRPr sz="960"/>
            </a:lvl1pPr>
          </a:lstStyle>
          <a:p>
            <a:endParaRPr lang="en-GB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299159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4800" y="1219200"/>
            <a:ext cx="11582400" cy="4343400"/>
          </a:xfrm>
        </p:spPr>
        <p:txBody>
          <a:bodyPr/>
          <a:lstStyle/>
          <a:p>
            <a:pPr lvl="0"/>
            <a:r>
              <a:rPr lang="en-GB" noProof="0" dirty="0" err="1"/>
              <a:t>Cliquez</a:t>
            </a:r>
            <a:r>
              <a:rPr lang="en-GB" noProof="0" dirty="0"/>
              <a:t> pour modifier les styles du </a:t>
            </a:r>
            <a:r>
              <a:rPr lang="en-GB" noProof="0" dirty="0" err="1"/>
              <a:t>texte</a:t>
            </a:r>
            <a:r>
              <a:rPr lang="en-GB" noProof="0" dirty="0"/>
              <a:t> du masque</a:t>
            </a:r>
          </a:p>
          <a:p>
            <a:pPr lvl="1"/>
            <a:r>
              <a:rPr lang="en-GB" noProof="0" dirty="0" err="1"/>
              <a:t>Deux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2"/>
            <a:r>
              <a:rPr lang="en-GB" noProof="0" dirty="0" err="1"/>
              <a:t>Trois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3"/>
            <a:r>
              <a:rPr lang="en-GB" noProof="0" dirty="0" err="1"/>
              <a:t>Quatr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4"/>
            <a:r>
              <a:rPr lang="en-GB" noProof="0" dirty="0" err="1"/>
              <a:t>Cinqu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5638800"/>
            <a:ext cx="9448800" cy="609600"/>
          </a:xfr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96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84031" y="6616484"/>
            <a:ext cx="2438400" cy="2415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 dirty="0">
              <a:solidFill>
                <a:srgbClr val="FFFFFF"/>
              </a:solidFill>
            </a:endParaRPr>
          </a:p>
        </p:txBody>
      </p:sp>
      <p:sp>
        <p:nvSpPr>
          <p:cNvPr id="9" name="Footer Placeholder 2">
            <a:extLst>
              <a:ext uri="{FF2B5EF4-FFF2-40B4-BE49-F238E27FC236}">
                <a16:creationId xmlns="" xmlns:a16="http://schemas.microsoft.com/office/drawing/2014/main" id="{88788AF0-2592-4FBA-949F-D5BB1F59F0C7}"/>
              </a:ext>
            </a:extLst>
          </p:cNvPr>
          <p:cNvSpPr txBox="1">
            <a:spLocks/>
          </p:cNvSpPr>
          <p:nvPr userDrawn="1"/>
        </p:nvSpPr>
        <p:spPr>
          <a:xfrm>
            <a:off x="5327917" y="6237288"/>
            <a:ext cx="4567401" cy="55399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48640"/>
            <a:r>
              <a:rPr lang="en-GB" sz="1200" dirty="0">
                <a:solidFill>
                  <a:srgbClr val="FFFFFF">
                    <a:lumMod val="50000"/>
                  </a:srgbClr>
                </a:solidFill>
              </a:rPr>
              <a:t>FOR MEDICAL AND SCIENTIFIC PURPOSES ONLY – INTERNAL USE ONLY</a:t>
            </a:r>
          </a:p>
          <a:p>
            <a:pPr algn="ctr" defTabSz="548640"/>
            <a:r>
              <a:rPr lang="en-GB" sz="1200" dirty="0">
                <a:solidFill>
                  <a:srgbClr val="FFFFFF">
                    <a:lumMod val="50000"/>
                  </a:srgbClr>
                </a:solidFill>
              </a:rPr>
              <a:t>DO NOT DISTRIBUTE OR USE IN PROMOTION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="" xmlns:a16="http://schemas.microsoft.com/office/drawing/2014/main" id="{111CDF42-8B6C-4030-BEEC-150427B518A6}"/>
              </a:ext>
            </a:extLst>
          </p:cNvPr>
          <p:cNvSpPr txBox="1">
            <a:spLocks/>
          </p:cNvSpPr>
          <p:nvPr userDrawn="1"/>
        </p:nvSpPr>
        <p:spPr>
          <a:xfrm>
            <a:off x="55324" y="6628190"/>
            <a:ext cx="4567401" cy="16513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48640"/>
            <a:r>
              <a:rPr lang="en-GB" sz="1080" dirty="0">
                <a:solidFill>
                  <a:srgbClr val="FFFFFF">
                    <a:lumMod val="50000"/>
                  </a:srgbClr>
                </a:solidFill>
              </a:rPr>
              <a:t>SAGLB.DIA.17.06.XXX Approved June 2017</a:t>
            </a:r>
          </a:p>
        </p:txBody>
      </p:sp>
    </p:spTree>
    <p:extLst>
      <p:ext uri="{BB962C8B-B14F-4D97-AF65-F5344CB8AC3E}">
        <p14:creationId xmlns:p14="http://schemas.microsoft.com/office/powerpoint/2010/main" val="15476521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 userDrawn="1">
            <p:ph idx="1"/>
          </p:nvPr>
        </p:nvSpPr>
        <p:spPr>
          <a:xfrm>
            <a:off x="740836" y="1030829"/>
            <a:ext cx="11116733" cy="4415367"/>
          </a:xfrm>
          <a:prstGeom prst="rect">
            <a:avLst/>
          </a:prstGeom>
        </p:spPr>
        <p:txBody>
          <a:bodyPr lIns="91436" tIns="45718" rIns="91436" bIns="45718">
            <a:noAutofit/>
          </a:bodyPr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2133">
                <a:solidFill>
                  <a:srgbClr val="596169"/>
                </a:solidFill>
              </a:defRPr>
            </a:lvl1pPr>
            <a:lvl2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867">
                <a:solidFill>
                  <a:srgbClr val="596169"/>
                </a:solidFill>
              </a:defRPr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3pPr>
            <a:lvl4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4pPr>
            <a:lvl5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75781" y="5621780"/>
            <a:ext cx="5606424" cy="381000"/>
          </a:xfrm>
          <a:prstGeom prst="rect">
            <a:avLst/>
          </a:prstGeom>
        </p:spPr>
        <p:txBody>
          <a:bodyPr lIns="91436" tIns="45718" rIns="91436" bIns="45718" anchor="b">
            <a:noAutofit/>
          </a:bodyPr>
          <a:lstStyle>
            <a:lvl1pPr marL="0" indent="0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Footnotes</a:t>
            </a:r>
          </a:p>
        </p:txBody>
      </p:sp>
      <p:sp>
        <p:nvSpPr>
          <p:cNvPr id="18" name="Text Placeholder 5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209792" y="5621780"/>
            <a:ext cx="5647773" cy="381000"/>
          </a:xfrm>
          <a:prstGeom prst="rect">
            <a:avLst/>
          </a:prstGeom>
        </p:spPr>
        <p:txBody>
          <a:bodyPr lIns="91436" tIns="45718" rIns="91436" bIns="45718" anchor="b">
            <a:noAutofit/>
          </a:bodyPr>
          <a:lstStyle>
            <a:lvl1pPr marL="0" indent="0" algn="r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Referenc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-4305" y="6351341"/>
            <a:ext cx="12196308" cy="506659"/>
            <a:chOff x="-3231" y="4763506"/>
            <a:chExt cx="9147231" cy="379994"/>
          </a:xfrm>
        </p:grpSpPr>
        <p:sp>
          <p:nvSpPr>
            <p:cNvPr id="3" name="Freeform 2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  <p:sp>
          <p:nvSpPr>
            <p:cNvPr id="4" name="Freeform 3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033699" y="6346195"/>
            <a:ext cx="2823887" cy="360096"/>
          </a:xfrm>
          <a:prstGeom prst="rect">
            <a:avLst/>
          </a:prstGeom>
        </p:spPr>
        <p:txBody>
          <a:bodyPr vert="horz" lIns="121915" tIns="60957" rIns="121915" bIns="60957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333" smtClean="0">
                <a:solidFill>
                  <a:srgbClr val="FFFFFF"/>
                </a:solidFill>
              </a:rPr>
              <a:pPr/>
              <a:t>‹#›</a:t>
            </a:fld>
            <a:endParaRPr lang="en-GB" sz="1333" dirty="0">
              <a:solidFill>
                <a:srgbClr val="FFFFFF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34032" y="272734"/>
            <a:ext cx="11523537" cy="436361"/>
          </a:xfrm>
          <a:prstGeom prst="rect">
            <a:avLst/>
          </a:prstGeom>
        </p:spPr>
        <p:txBody>
          <a:bodyPr lIns="91436" tIns="45718" rIns="91436" bIns="45718">
            <a:noAutofit/>
          </a:bodyPr>
          <a:lstStyle>
            <a:lvl1pPr marL="0" indent="0"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36"/>
            <a:ext cx="1873504" cy="401869"/>
          </a:xfrm>
          <a:prstGeom prst="rect">
            <a:avLst/>
          </a:prstGeom>
        </p:spPr>
      </p:pic>
      <p:cxnSp>
        <p:nvCxnSpPr>
          <p:cNvPr id="21" name="Straight Connector 20"/>
          <p:cNvCxnSpPr/>
          <p:nvPr userDrawn="1"/>
        </p:nvCxnSpPr>
        <p:spPr>
          <a:xfrm>
            <a:off x="383121" y="781347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1751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Sanofi External COPY bg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560000" cy="1143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2723" y="6356431"/>
            <a:ext cx="455084" cy="366713"/>
          </a:xfrm>
          <a:prstGeom prst="rect">
            <a:avLst/>
          </a:prstGeom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60" smtClean="0">
                <a:solidFill>
                  <a:srgbClr val="4D4D4F"/>
                </a:solidFill>
                <a:cs typeface="Arial" pitchFamily="34" charset="0"/>
              </a:defRPr>
            </a:lvl1pPr>
          </a:lstStyle>
          <a:p>
            <a:pPr defTabSz="548527" fontAlgn="base">
              <a:spcBef>
                <a:spcPct val="0"/>
              </a:spcBef>
              <a:spcAft>
                <a:spcPct val="0"/>
              </a:spcAft>
              <a:defRPr/>
            </a:pPr>
            <a:fld id="{9F7450CC-1A4E-46EA-A2CC-FE9F6394D87F}" type="slidenum">
              <a:rPr lang="en-GB" altLang="en-US" smtClean="0">
                <a:ea typeface="MS PGothic" pitchFamily="34" charset="-128"/>
              </a:rPr>
              <a:pPr defTabSz="548527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 dirty="0">
              <a:ea typeface="MS PGothic" pitchFamily="34" charset="-128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="" xmlns:a16="http://schemas.microsoft.com/office/drawing/2014/main" id="{3054CA82-5DEE-4B2A-9974-F8FE10B451F4}"/>
              </a:ext>
            </a:extLst>
          </p:cNvPr>
          <p:cNvSpPr txBox="1">
            <a:spLocks/>
          </p:cNvSpPr>
          <p:nvPr userDrawn="1"/>
        </p:nvSpPr>
        <p:spPr>
          <a:xfrm>
            <a:off x="5327917" y="6237288"/>
            <a:ext cx="4567401" cy="55399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48640"/>
            <a:r>
              <a:rPr lang="en-GB" sz="1200" dirty="0">
                <a:solidFill>
                  <a:srgbClr val="FFFFFF">
                    <a:lumMod val="50000"/>
                  </a:srgbClr>
                </a:solidFill>
              </a:rPr>
              <a:t>FOR MEDICAL AND SCIENTIFIC PURPOSES ONLY – INTERNAL USE ONLY</a:t>
            </a:r>
          </a:p>
          <a:p>
            <a:pPr algn="ctr" defTabSz="548640"/>
            <a:r>
              <a:rPr lang="en-GB" sz="1200" dirty="0">
                <a:solidFill>
                  <a:srgbClr val="FFFFFF">
                    <a:lumMod val="50000"/>
                  </a:srgbClr>
                </a:solidFill>
              </a:rPr>
              <a:t>DO NOT DISTRIBUTE OR USE IN PROMOTION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="" xmlns:a16="http://schemas.microsoft.com/office/drawing/2014/main" id="{3D2A81B7-1FB4-43C3-AE9A-E3457FC6CCF3}"/>
              </a:ext>
            </a:extLst>
          </p:cNvPr>
          <p:cNvSpPr txBox="1">
            <a:spLocks/>
          </p:cNvSpPr>
          <p:nvPr userDrawn="1"/>
        </p:nvSpPr>
        <p:spPr>
          <a:xfrm>
            <a:off x="55324" y="6628190"/>
            <a:ext cx="4567401" cy="16513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48640"/>
            <a:r>
              <a:rPr lang="en-GB" sz="1080" dirty="0">
                <a:solidFill>
                  <a:srgbClr val="FFFFFF">
                    <a:lumMod val="50000"/>
                  </a:srgbClr>
                </a:solidFill>
              </a:rPr>
              <a:t>SAGLB.DIA.17.06.XXX Approved June 2017</a:t>
            </a:r>
          </a:p>
        </p:txBody>
      </p:sp>
    </p:spTree>
    <p:extLst>
      <p:ext uri="{BB962C8B-B14F-4D97-AF65-F5344CB8AC3E}">
        <p14:creationId xmlns:p14="http://schemas.microsoft.com/office/powerpoint/2010/main" val="2029183978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78368" y="1653118"/>
            <a:ext cx="11226801" cy="4607983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60"/>
            <a:endParaRPr lang="fr-FR" sz="162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1" y="390653"/>
            <a:ext cx="11225167" cy="46535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Conclusion, corps 28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70519" y="1819200"/>
            <a:ext cx="5213237" cy="455155"/>
          </a:xfrm>
        </p:spPr>
        <p:txBody>
          <a:bodyPr/>
          <a:lstStyle>
            <a:lvl1pPr>
              <a:defRPr baseline="0"/>
            </a:lvl1pPr>
            <a:lvl2pPr marL="325756" indent="-163830">
              <a:tabLst/>
              <a:defRPr/>
            </a:lvl2pPr>
            <a:lvl3pPr marL="462916" indent="-158116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Texte 1er niveau, corps 20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TITRE DE LA PRÉSENTATION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1" y="950417"/>
            <a:ext cx="11225167" cy="465508"/>
          </a:xfrm>
        </p:spPr>
        <p:txBody>
          <a:bodyPr/>
          <a:lstStyle>
            <a:lvl1pPr marL="0" indent="0">
              <a:buNone/>
              <a:defRPr sz="2640" b="0" baseline="0">
                <a:solidFill>
                  <a:schemeClr val="tx1"/>
                </a:solidFill>
              </a:defRPr>
            </a:lvl1pPr>
            <a:lvl2pPr marL="320040" indent="0">
              <a:buNone/>
              <a:defRPr/>
            </a:lvl2pPr>
            <a:lvl3pPr marL="822960" indent="0">
              <a:buNone/>
              <a:defRPr/>
            </a:lvl3pPr>
            <a:lvl4pPr marL="1234440" indent="0">
              <a:buNone/>
              <a:defRPr/>
            </a:lvl4pPr>
            <a:lvl5pPr marL="1645920" indent="0">
              <a:buNone/>
              <a:defRPr/>
            </a:lvl5pPr>
          </a:lstStyle>
          <a:p>
            <a:pPr lvl="0"/>
            <a:r>
              <a:rPr lang="fr-FR" dirty="0"/>
              <a:t>Sous-titre, corps 22</a:t>
            </a:r>
            <a:endParaRPr lang="en-US" dirty="0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670519" y="2279651"/>
            <a:ext cx="10759653" cy="383749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670519" y="5899546"/>
            <a:ext cx="3579283" cy="224660"/>
          </a:xfrm>
        </p:spPr>
        <p:txBody>
          <a:bodyPr/>
          <a:lstStyle>
            <a:lvl1pPr marL="0" indent="0">
              <a:buNone/>
              <a:defRPr sz="144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rce du graphique</a:t>
            </a:r>
          </a:p>
        </p:txBody>
      </p:sp>
    </p:spTree>
    <p:extLst>
      <p:ext uri="{BB962C8B-B14F-4D97-AF65-F5344CB8AC3E}">
        <p14:creationId xmlns:p14="http://schemas.microsoft.com/office/powerpoint/2010/main" val="410302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8344212" y="6161622"/>
            <a:ext cx="3268800" cy="3937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aseline="0">
                <a:solidFill>
                  <a:srgbClr val="9A9A9A"/>
                </a:solidFill>
              </a:defRPr>
            </a:lvl1pPr>
            <a:lvl2pPr algn="r">
              <a:lnSpc>
                <a:spcPct val="100000"/>
              </a:lnSpc>
              <a:spcBef>
                <a:spcPts val="0"/>
              </a:spcBef>
              <a:defRPr sz="900"/>
            </a:lvl2pPr>
            <a:lvl3pPr algn="r">
              <a:lnSpc>
                <a:spcPct val="100000"/>
              </a:lnSpc>
              <a:spcBef>
                <a:spcPts val="0"/>
              </a:spcBef>
              <a:defRPr sz="900"/>
            </a:lvl3pPr>
            <a:lvl4pPr algn="r">
              <a:lnSpc>
                <a:spcPct val="100000"/>
              </a:lnSpc>
              <a:spcBef>
                <a:spcPts val="0"/>
              </a:spcBef>
              <a:defRPr sz="900"/>
            </a:lvl4pPr>
            <a:lvl5pPr algn="r"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lvl="0"/>
            <a:endParaRPr lang="en-GB" dirty="0"/>
          </a:p>
          <a:p>
            <a:pPr lvl="0"/>
            <a:r>
              <a:rPr lang="en-GB" dirty="0"/>
              <a:t>Insert Reference her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2546" y="6161622"/>
            <a:ext cx="3268903" cy="3937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aseline="0">
                <a:solidFill>
                  <a:srgbClr val="9A9A9A"/>
                </a:solidFill>
              </a:defRPr>
            </a:lvl1pPr>
            <a:lvl2pPr algn="r">
              <a:lnSpc>
                <a:spcPct val="100000"/>
              </a:lnSpc>
              <a:spcBef>
                <a:spcPts val="0"/>
              </a:spcBef>
              <a:defRPr sz="900"/>
            </a:lvl2pPr>
            <a:lvl3pPr algn="r">
              <a:lnSpc>
                <a:spcPct val="100000"/>
              </a:lnSpc>
              <a:spcBef>
                <a:spcPts val="0"/>
              </a:spcBef>
              <a:defRPr sz="900"/>
            </a:lvl3pPr>
            <a:lvl4pPr algn="r">
              <a:lnSpc>
                <a:spcPct val="100000"/>
              </a:lnSpc>
              <a:spcBef>
                <a:spcPts val="0"/>
              </a:spcBef>
              <a:defRPr sz="900"/>
            </a:lvl4pPr>
            <a:lvl5pPr algn="r"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lvl="0"/>
            <a:endParaRPr lang="en-GB" dirty="0"/>
          </a:p>
          <a:p>
            <a:pPr lvl="0"/>
            <a:r>
              <a:rPr lang="en-GB" dirty="0"/>
              <a:t>Insert Footer he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275167"/>
            <a:ext cx="7289800" cy="11430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4762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4800" y="1219200"/>
            <a:ext cx="11582400" cy="4343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5638800"/>
            <a:ext cx="9448800" cy="609600"/>
          </a:xfr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8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24575" y="6647715"/>
            <a:ext cx="351891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CONFIDENTIAL -  </a:t>
            </a:r>
            <a:r>
              <a:rPr lang="fr-FR" sz="800" dirty="0"/>
              <a:t>NOT FOR DISTRIBUTION OR USE IN PROMOTION </a:t>
            </a:r>
            <a:endParaRPr lang="en-GB" sz="800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79239" y="6519536"/>
            <a:ext cx="536573" cy="365125"/>
          </a:xfrm>
          <a:prstGeom prst="rect">
            <a:avLst/>
          </a:prstGeom>
        </p:spPr>
        <p:txBody>
          <a:bodyPr/>
          <a:lstStyle>
            <a:lvl1pPr algn="ctr">
              <a:defRPr sz="800" b="0" i="0">
                <a:solidFill>
                  <a:schemeClr val="bg1"/>
                </a:solidFill>
                <a:latin typeface="Helvetica"/>
                <a:cs typeface="Helvetica"/>
              </a:defRPr>
            </a:lvl1pPr>
          </a:lstStyle>
          <a:p>
            <a:fld id="{78509EE6-8B91-7A43-9ECB-7CA57E7055C7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9977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77D764E-A4F5-4D5F-B257-5334478D4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384" y="164639"/>
            <a:ext cx="10944225" cy="40855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B02AB173-39CA-4BF6-B43C-5278CC3854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746A24BB-9915-49CF-86DB-F65DA15B55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88F1C4-6CF7-426E-9582-1E0CD82812B0}" type="slidenum">
              <a:rPr lang="en-GB" smtClean="0">
                <a:solidFill>
                  <a:srgbClr val="4A4A49"/>
                </a:solidFill>
              </a:rPr>
              <a:pPr/>
              <a:t>‹#›</a:t>
            </a:fld>
            <a:endParaRPr lang="en-GB" dirty="0">
              <a:solidFill>
                <a:srgbClr val="4A4A49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CEF4C6EE-C37D-42E2-9CA7-2A01CC7973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93" y="1556798"/>
            <a:ext cx="10944225" cy="408551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cap="all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758153"/>
      </p:ext>
    </p:extLst>
  </p:cSld>
  <p:clrMapOvr>
    <a:masterClrMapping/>
  </p:clrMapOvr>
  <p:transition spd="slow"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2E8B306-862B-434C-BFD9-FF06E4253F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5CB885D0-BF03-46B5-988C-F0A0FDAC02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7" y="2132859"/>
            <a:ext cx="5400676" cy="18843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78180304-AD29-4CF5-B063-864B9C407E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8608" y="2132859"/>
            <a:ext cx="5400000" cy="18843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CB1A37D4-4AD9-4B8F-AF57-FA8F5BAC53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88F1C4-6CF7-426E-9582-1E0CD82812B0}" type="slidenum">
              <a:rPr lang="en-GB" smtClean="0">
                <a:solidFill>
                  <a:srgbClr val="4A4A49"/>
                </a:solidFill>
              </a:rPr>
              <a:pPr/>
              <a:t>‹#›</a:t>
            </a:fld>
            <a:endParaRPr lang="en-GB" dirty="0">
              <a:solidFill>
                <a:srgbClr val="4A4A49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F5F9A866-02DB-4B34-B613-15531ECAD7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93" y="1556798"/>
            <a:ext cx="10944225" cy="408551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cap="all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0757466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840">
          <p15:clr>
            <a:srgbClr val="FBAE40"/>
          </p15:clr>
        </p15:guide>
        <p15:guide id="3" pos="3885">
          <p15:clr>
            <a:srgbClr val="FBAE40"/>
          </p15:clr>
        </p15:guide>
        <p15:guide id="4" pos="393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o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422400" y="514567"/>
            <a:ext cx="11347200" cy="17152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 anchorCtr="0">
            <a:noAutofit/>
          </a:bodyPr>
          <a:lstStyle>
            <a:lvl1pPr marL="0" indent="0" algn="l">
              <a:buFontTx/>
              <a:buNone/>
              <a:defRPr sz="1467" baseline="0"/>
            </a:lvl1pPr>
          </a:lstStyle>
          <a:p>
            <a:pPr lvl="0"/>
            <a:r>
              <a:rPr lang="en-GB" noProof="0" dirty="0"/>
              <a:t>Insert </a:t>
            </a:r>
            <a:r>
              <a:rPr lang="en-GB" noProof="0" dirty="0" err="1"/>
              <a:t>trompet</a:t>
            </a:r>
            <a:endParaRPr lang="en-GB" noProof="0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3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1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Date</a:t>
            </a: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488" eaLnBrk="1" hangingPunct="1">
              <a:defRPr sz="8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882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4800" y="1219200"/>
            <a:ext cx="11582400" cy="4343400"/>
          </a:xfrm>
        </p:spPr>
        <p:txBody>
          <a:bodyPr/>
          <a:lstStyle/>
          <a:p>
            <a:pPr lvl="0"/>
            <a:r>
              <a:rPr lang="en-GB" noProof="0" dirty="0" err="1"/>
              <a:t>Cliquez</a:t>
            </a:r>
            <a:r>
              <a:rPr lang="en-GB" noProof="0" dirty="0"/>
              <a:t> pour modifier les styles du </a:t>
            </a:r>
            <a:r>
              <a:rPr lang="en-GB" noProof="0" dirty="0" err="1"/>
              <a:t>texte</a:t>
            </a:r>
            <a:r>
              <a:rPr lang="en-GB" noProof="0" dirty="0"/>
              <a:t> du masque</a:t>
            </a:r>
          </a:p>
          <a:p>
            <a:pPr lvl="1"/>
            <a:r>
              <a:rPr lang="en-GB" noProof="0" dirty="0" err="1"/>
              <a:t>Deux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2"/>
            <a:r>
              <a:rPr lang="en-GB" noProof="0" dirty="0" err="1"/>
              <a:t>Trois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3"/>
            <a:r>
              <a:rPr lang="en-GB" noProof="0" dirty="0" err="1"/>
              <a:t>Quatr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4"/>
            <a:r>
              <a:rPr lang="en-GB" noProof="0" dirty="0" err="1"/>
              <a:t>Cinqu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5638800"/>
            <a:ext cx="9448800" cy="609600"/>
          </a:xfr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96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07587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5638800"/>
            <a:ext cx="9448800" cy="609600"/>
          </a:xfr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96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2834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90655"/>
            <a:ext cx="11226800" cy="46535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Slide texte - 1 colonne, corps 28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8" y="1777415"/>
            <a:ext cx="11226801" cy="4483693"/>
          </a:xfrm>
        </p:spPr>
        <p:txBody>
          <a:bodyPr/>
          <a:lstStyle>
            <a:lvl1pPr>
              <a:defRPr baseline="0"/>
            </a:lvl1pPr>
            <a:lvl3pPr marL="483870" indent="-16002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Texte 1er niveau, corps 18</a:t>
            </a:r>
          </a:p>
          <a:p>
            <a:pPr lvl="1"/>
            <a:r>
              <a:rPr lang="fr-FR" dirty="0"/>
              <a:t>Texte 2e niveau, corps 16</a:t>
            </a:r>
          </a:p>
          <a:p>
            <a:pPr lvl="2"/>
            <a:r>
              <a:rPr lang="fr-FR" dirty="0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TITRE DE LA PRÉSENTATION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78368" y="950427"/>
            <a:ext cx="11226801" cy="465508"/>
          </a:xfrm>
        </p:spPr>
        <p:txBody>
          <a:bodyPr/>
          <a:lstStyle>
            <a:lvl1pPr marL="0" indent="0">
              <a:buNone/>
              <a:defRPr sz="2640" b="0" baseline="0">
                <a:solidFill>
                  <a:schemeClr val="tx1"/>
                </a:solidFill>
              </a:defRPr>
            </a:lvl1pPr>
            <a:lvl2pPr marL="320040" indent="0">
              <a:buNone/>
              <a:defRPr/>
            </a:lvl2pPr>
            <a:lvl3pPr marL="822960" indent="0">
              <a:buNone/>
              <a:defRPr/>
            </a:lvl3pPr>
            <a:lvl4pPr marL="1234440" indent="0">
              <a:buNone/>
              <a:defRPr/>
            </a:lvl4pPr>
            <a:lvl5pPr marL="1645920" indent="0">
              <a:buNone/>
              <a:defRPr/>
            </a:lvl5pPr>
          </a:lstStyle>
          <a:p>
            <a:pPr lvl="0"/>
            <a:r>
              <a:rPr lang="fr-FR" dirty="0"/>
              <a:t>Sous-titre, corps 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550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740838" y="1030829"/>
            <a:ext cx="5241375" cy="4415367"/>
          </a:xfrm>
          <a:prstGeom prst="rect">
            <a:avLst/>
          </a:prstGeom>
        </p:spPr>
        <p:txBody>
          <a:bodyPr lIns="91436" tIns="45718" rIns="91436" bIns="45718">
            <a:noAutofit/>
          </a:bodyPr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2133">
                <a:solidFill>
                  <a:srgbClr val="596169"/>
                </a:solidFill>
              </a:defRPr>
            </a:lvl1pPr>
            <a:lvl2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867">
                <a:solidFill>
                  <a:srgbClr val="596169"/>
                </a:solidFill>
              </a:defRPr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3pPr>
            <a:lvl4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4pPr>
            <a:lvl5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2"/>
          </p:nvPr>
        </p:nvSpPr>
        <p:spPr>
          <a:xfrm>
            <a:off x="6209796" y="1030829"/>
            <a:ext cx="5647773" cy="4415367"/>
          </a:xfrm>
          <a:prstGeom prst="rect">
            <a:avLst/>
          </a:prstGeom>
        </p:spPr>
        <p:txBody>
          <a:bodyPr lIns="91436" tIns="45718" rIns="91436" bIns="45718">
            <a:noAutofit/>
          </a:bodyPr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2133">
                <a:solidFill>
                  <a:srgbClr val="596169"/>
                </a:solidFill>
              </a:defRPr>
            </a:lvl1pPr>
            <a:lvl2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867">
                <a:solidFill>
                  <a:srgbClr val="596169"/>
                </a:solidFill>
              </a:defRPr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3pPr>
            <a:lvl4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4pPr>
            <a:lvl5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83117" y="5621780"/>
            <a:ext cx="5599088" cy="381000"/>
          </a:xfrm>
          <a:prstGeom prst="rect">
            <a:avLst/>
          </a:prstGeom>
        </p:spPr>
        <p:txBody>
          <a:bodyPr lIns="91436" tIns="45718" rIns="91436" bIns="45718" anchor="b">
            <a:noAutofit/>
          </a:bodyPr>
          <a:lstStyle>
            <a:lvl1pPr marL="0" indent="0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Footnotes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09792" y="5621780"/>
            <a:ext cx="5647773" cy="381000"/>
          </a:xfrm>
          <a:prstGeom prst="rect">
            <a:avLst/>
          </a:prstGeom>
        </p:spPr>
        <p:txBody>
          <a:bodyPr lIns="91436" tIns="45718" rIns="91436" bIns="45718" anchor="b">
            <a:noAutofit/>
          </a:bodyPr>
          <a:lstStyle>
            <a:lvl1pPr marL="0" indent="0" algn="r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Referenc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-4305" y="6351341"/>
            <a:ext cx="12196308" cy="506659"/>
            <a:chOff x="-3231" y="4763506"/>
            <a:chExt cx="9147231" cy="379994"/>
          </a:xfrm>
        </p:grpSpPr>
        <p:sp>
          <p:nvSpPr>
            <p:cNvPr id="22" name="Freeform 21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  <p:sp>
          <p:nvSpPr>
            <p:cNvPr id="23" name="Freeform 22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334032" y="272734"/>
            <a:ext cx="11523537" cy="436361"/>
          </a:xfrm>
          <a:prstGeom prst="rect">
            <a:avLst/>
          </a:prstGeom>
        </p:spPr>
        <p:txBody>
          <a:bodyPr lIns="91436" tIns="45718" rIns="91436" bIns="45718">
            <a:noAutofit/>
          </a:bodyPr>
          <a:lstStyle>
            <a:lvl1pPr marL="0" indent="0"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Slide Number Placeholder 5"/>
          <p:cNvSpPr txBox="1">
            <a:spLocks/>
          </p:cNvSpPr>
          <p:nvPr userDrawn="1"/>
        </p:nvSpPr>
        <p:spPr>
          <a:xfrm>
            <a:off x="9033699" y="6346195"/>
            <a:ext cx="2823887" cy="360096"/>
          </a:xfrm>
          <a:prstGeom prst="rect">
            <a:avLst/>
          </a:prstGeom>
        </p:spPr>
        <p:txBody>
          <a:bodyPr vert="horz" lIns="121915" tIns="60957" rIns="121915" bIns="60957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333" smtClean="0">
                <a:solidFill>
                  <a:srgbClr val="FFFFFF"/>
                </a:solidFill>
              </a:rPr>
              <a:pPr/>
              <a:t>‹#›</a:t>
            </a:fld>
            <a:endParaRPr lang="en-GB" sz="1333" dirty="0">
              <a:solidFill>
                <a:srgbClr val="FFFFFF"/>
              </a:solidFill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36"/>
            <a:ext cx="1873504" cy="401869"/>
          </a:xfrm>
          <a:prstGeom prst="rect">
            <a:avLst/>
          </a:prstGeom>
        </p:spPr>
      </p:pic>
      <p:cxnSp>
        <p:nvCxnSpPr>
          <p:cNvPr id="31" name="Straight Connector 30"/>
          <p:cNvCxnSpPr/>
          <p:nvPr userDrawn="1"/>
        </p:nvCxnSpPr>
        <p:spPr>
          <a:xfrm>
            <a:off x="383121" y="781347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="" xmlns:a16="http://schemas.microsoft.com/office/drawing/2014/main" id="{AC8AB1B8-F7E7-4C7C-9963-56E2293E6530}"/>
              </a:ext>
            </a:extLst>
          </p:cNvPr>
          <p:cNvSpPr txBox="1">
            <a:spLocks/>
          </p:cNvSpPr>
          <p:nvPr userDrawn="1"/>
        </p:nvSpPr>
        <p:spPr>
          <a:xfrm>
            <a:off x="4237792" y="6640198"/>
            <a:ext cx="3708000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en-US" sz="700" dirty="0">
                <a:solidFill>
                  <a:srgbClr val="FFFFFF"/>
                </a:solidFill>
              </a:rPr>
              <a:t>FOR INTERNAL USE ONLY  –  DO NOT DISTRIBUTE OR USE IN PROMOTION 			</a:t>
            </a:r>
            <a:endParaRPr lang="en-GB" sz="7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247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89676" y="1030818"/>
            <a:ext cx="5592533" cy="4415366"/>
          </a:xfrm>
          <a:prstGeom prst="rect">
            <a:avLst/>
          </a:prstGeom>
        </p:spPr>
        <p:txBody>
          <a:bodyPr lIns="91414" tIns="45706" rIns="91414" bIns="45706">
            <a:noAutofit/>
          </a:bodyPr>
          <a:lstStyle>
            <a:lvl1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920">
                <a:solidFill>
                  <a:srgbClr val="596169"/>
                </a:solidFill>
              </a:defRPr>
            </a:lvl1pPr>
            <a:lvl2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680">
                <a:solidFill>
                  <a:srgbClr val="596169"/>
                </a:solidFill>
              </a:defRPr>
            </a:lvl2pPr>
            <a:lvl3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3pPr>
            <a:lvl4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4pPr>
            <a:lvl5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2"/>
          </p:nvPr>
        </p:nvSpPr>
        <p:spPr>
          <a:xfrm>
            <a:off x="6209796" y="1030818"/>
            <a:ext cx="5647773" cy="4415366"/>
          </a:xfrm>
          <a:prstGeom prst="rect">
            <a:avLst/>
          </a:prstGeom>
        </p:spPr>
        <p:txBody>
          <a:bodyPr lIns="91414" tIns="45706" rIns="91414" bIns="45706">
            <a:noAutofit/>
          </a:bodyPr>
          <a:lstStyle>
            <a:lvl1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920">
                <a:solidFill>
                  <a:srgbClr val="596169"/>
                </a:solidFill>
              </a:defRPr>
            </a:lvl1pPr>
            <a:lvl2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680">
                <a:solidFill>
                  <a:srgbClr val="596169"/>
                </a:solidFill>
              </a:defRPr>
            </a:lvl2pPr>
            <a:lvl3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3pPr>
            <a:lvl4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4pPr>
            <a:lvl5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-4305" y="6351342"/>
            <a:ext cx="12196309" cy="506659"/>
            <a:chOff x="-3231" y="4763506"/>
            <a:chExt cx="9147231" cy="379994"/>
          </a:xfrm>
        </p:grpSpPr>
        <p:sp>
          <p:nvSpPr>
            <p:cNvPr id="22" name="Freeform 21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160" dirty="0"/>
            </a:p>
          </p:txBody>
        </p:sp>
        <p:sp>
          <p:nvSpPr>
            <p:cNvPr id="23" name="Freeform 22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60" dirty="0"/>
            </a:p>
          </p:txBody>
        </p:sp>
      </p:grp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334046" y="272726"/>
            <a:ext cx="11523537" cy="436361"/>
          </a:xfrm>
          <a:prstGeom prst="rect">
            <a:avLst/>
          </a:prstGeom>
        </p:spPr>
        <p:txBody>
          <a:bodyPr lIns="91414" tIns="45706" rIns="91414" bIns="45706">
            <a:noAutofit/>
          </a:bodyPr>
          <a:lstStyle>
            <a:lvl1pPr marL="0" indent="0">
              <a:defRPr sz="288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Slide Number Placeholder 5"/>
          <p:cNvSpPr txBox="1">
            <a:spLocks/>
          </p:cNvSpPr>
          <p:nvPr userDrawn="1"/>
        </p:nvSpPr>
        <p:spPr>
          <a:xfrm>
            <a:off x="9033701" y="6346195"/>
            <a:ext cx="2823887" cy="360096"/>
          </a:xfrm>
          <a:prstGeom prst="rect">
            <a:avLst/>
          </a:prstGeom>
        </p:spPr>
        <p:txBody>
          <a:bodyPr vert="horz" lIns="109697" tIns="54847" rIns="109697" bIns="54847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200" smtClean="0"/>
              <a:pPr/>
              <a:t>‹#›</a:t>
            </a:fld>
            <a:endParaRPr lang="en-GB" sz="1200" dirty="0"/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50"/>
            <a:ext cx="1873504" cy="401869"/>
          </a:xfrm>
          <a:prstGeom prst="rect">
            <a:avLst/>
          </a:prstGeom>
        </p:spPr>
      </p:pic>
      <p:cxnSp>
        <p:nvCxnSpPr>
          <p:cNvPr id="31" name="Straight Connector 30"/>
          <p:cNvCxnSpPr/>
          <p:nvPr userDrawn="1"/>
        </p:nvCxnSpPr>
        <p:spPr>
          <a:xfrm>
            <a:off x="383136" y="781346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6" name="Text Placeholder 5">
            <a:extLst>
              <a:ext uri="{FF2B5EF4-FFF2-40B4-BE49-F238E27FC236}">
                <a16:creationId xmlns="" xmlns:a16="http://schemas.microsoft.com/office/drawing/2014/main" id="{F6372B03-52F0-404D-93B4-591FB95B16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5781" y="5557613"/>
            <a:ext cx="5606424" cy="381000"/>
          </a:xfrm>
          <a:prstGeom prst="rect">
            <a:avLst/>
          </a:prstGeom>
        </p:spPr>
        <p:txBody>
          <a:bodyPr lIns="91414" tIns="45706" rIns="91414" bIns="45706" anchor="b">
            <a:noAutofit/>
          </a:bodyPr>
          <a:lstStyle>
            <a:lvl1pPr marL="0" indent="0">
              <a:spcAft>
                <a:spcPts val="0"/>
              </a:spcAft>
              <a:buNone/>
              <a:defRPr sz="960"/>
            </a:lvl1pPr>
          </a:lstStyle>
          <a:p>
            <a:pPr lvl="0"/>
            <a:r>
              <a:rPr lang="en-GB" dirty="0"/>
              <a:t>Footnotes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="" xmlns:a16="http://schemas.microsoft.com/office/drawing/2014/main" id="{71A09A5B-6255-4116-8447-574A6C6578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19792" y="5548447"/>
            <a:ext cx="5647773" cy="381000"/>
          </a:xfrm>
          <a:prstGeom prst="rect">
            <a:avLst/>
          </a:prstGeom>
        </p:spPr>
        <p:txBody>
          <a:bodyPr lIns="91414" tIns="45706" rIns="91414" bIns="45706" anchor="b">
            <a:noAutofit/>
          </a:bodyPr>
          <a:lstStyle>
            <a:lvl1pPr marL="0" indent="0" algn="r">
              <a:spcAft>
                <a:spcPts val="0"/>
              </a:spcAft>
              <a:buNone/>
              <a:defRPr sz="960"/>
            </a:lvl1pPr>
          </a:lstStyle>
          <a:p>
            <a:pPr lvl="0"/>
            <a:r>
              <a:rPr lang="en-GB" dirty="0"/>
              <a:t>References</a:t>
            </a:r>
          </a:p>
        </p:txBody>
      </p:sp>
      <p:sp>
        <p:nvSpPr>
          <p:cNvPr id="18" name="ZoneTexte 1">
            <a:extLst>
              <a:ext uri="{FF2B5EF4-FFF2-40B4-BE49-F238E27FC236}">
                <a16:creationId xmlns="" xmlns:a16="http://schemas.microsoft.com/office/drawing/2014/main" id="{B183C65C-C43A-4F64-82DA-C2EA17DF66B5}"/>
              </a:ext>
            </a:extLst>
          </p:cNvPr>
          <p:cNvSpPr txBox="1"/>
          <p:nvPr userDrawn="1"/>
        </p:nvSpPr>
        <p:spPr>
          <a:xfrm>
            <a:off x="3735214" y="6628986"/>
            <a:ext cx="4493540" cy="258498"/>
          </a:xfrm>
          <a:prstGeom prst="rect">
            <a:avLst/>
          </a:prstGeom>
          <a:noFill/>
        </p:spPr>
        <p:txBody>
          <a:bodyPr wrap="none" lIns="109697" tIns="54847" rIns="109697" bIns="54847" rtlCol="0">
            <a:spAutoFit/>
          </a:bodyPr>
          <a:lstStyle/>
          <a:p>
            <a:r>
              <a:rPr lang="fr-FR" sz="960" dirty="0">
                <a:solidFill>
                  <a:schemeClr val="bg1"/>
                </a:solidFill>
              </a:rPr>
              <a:t>FOR MEDICAL and SCIENTIFIC PURPOSES ONLY – INTERNAL USE ONLY</a:t>
            </a:r>
            <a:endParaRPr lang="en-US" sz="96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6422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 userDrawn="1">
            <p:ph idx="1"/>
          </p:nvPr>
        </p:nvSpPr>
        <p:spPr>
          <a:xfrm>
            <a:off x="383119" y="1030819"/>
            <a:ext cx="11474448" cy="4980516"/>
          </a:xfrm>
          <a:prstGeom prst="rect">
            <a:avLst/>
          </a:prstGeom>
        </p:spPr>
        <p:txBody>
          <a:bodyPr lIns="91414" tIns="45706" rIns="91414" bIns="45706">
            <a:noAutofit/>
          </a:bodyPr>
          <a:lstStyle>
            <a:lvl1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920">
                <a:solidFill>
                  <a:srgbClr val="596169"/>
                </a:solidFill>
              </a:defRPr>
            </a:lvl1pPr>
            <a:lvl2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680">
                <a:solidFill>
                  <a:srgbClr val="596169"/>
                </a:solidFill>
              </a:defRPr>
            </a:lvl2pPr>
            <a:lvl3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3pPr>
            <a:lvl4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4pPr>
            <a:lvl5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50"/>
            <a:ext cx="1873504" cy="401869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-4305" y="6351342"/>
            <a:ext cx="12196309" cy="506659"/>
            <a:chOff x="-3231" y="4763506"/>
            <a:chExt cx="9147231" cy="379994"/>
          </a:xfrm>
        </p:grpSpPr>
        <p:sp>
          <p:nvSpPr>
            <p:cNvPr id="3" name="Freeform 2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160" dirty="0"/>
            </a:p>
          </p:txBody>
        </p:sp>
        <p:sp>
          <p:nvSpPr>
            <p:cNvPr id="4" name="Freeform 3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60" dirty="0"/>
            </a:p>
          </p:txBody>
        </p:sp>
      </p:grp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033701" y="6346195"/>
            <a:ext cx="2823887" cy="360096"/>
          </a:xfrm>
          <a:prstGeom prst="rect">
            <a:avLst/>
          </a:prstGeom>
        </p:spPr>
        <p:txBody>
          <a:bodyPr vert="horz" lIns="109697" tIns="54847" rIns="109697" bIns="54847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200" smtClean="0"/>
              <a:pPr/>
              <a:t>‹#›</a:t>
            </a:fld>
            <a:endParaRPr lang="en-GB" sz="1200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34046" y="272726"/>
            <a:ext cx="11523537" cy="436361"/>
          </a:xfrm>
          <a:prstGeom prst="rect">
            <a:avLst/>
          </a:prstGeom>
        </p:spPr>
        <p:txBody>
          <a:bodyPr lIns="91414" tIns="45706" rIns="91414" bIns="45706">
            <a:noAutofit/>
          </a:bodyPr>
          <a:lstStyle>
            <a:lvl1pPr marL="0" indent="0">
              <a:defRPr sz="288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83136" y="781346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1" name="ZoneTexte 1">
            <a:extLst>
              <a:ext uri="{FF2B5EF4-FFF2-40B4-BE49-F238E27FC236}">
                <a16:creationId xmlns="" xmlns:a16="http://schemas.microsoft.com/office/drawing/2014/main" id="{B183C65C-C43A-4F64-82DA-C2EA17DF66B5}"/>
              </a:ext>
            </a:extLst>
          </p:cNvPr>
          <p:cNvSpPr txBox="1"/>
          <p:nvPr userDrawn="1"/>
        </p:nvSpPr>
        <p:spPr>
          <a:xfrm>
            <a:off x="3735214" y="6628986"/>
            <a:ext cx="4493540" cy="258498"/>
          </a:xfrm>
          <a:prstGeom prst="rect">
            <a:avLst/>
          </a:prstGeom>
          <a:noFill/>
        </p:spPr>
        <p:txBody>
          <a:bodyPr wrap="none" lIns="109697" tIns="54847" rIns="109697" bIns="54847" rtlCol="0">
            <a:spAutoFit/>
          </a:bodyPr>
          <a:lstStyle/>
          <a:p>
            <a:r>
              <a:rPr lang="fr-FR" sz="960" dirty="0">
                <a:solidFill>
                  <a:schemeClr val="bg1"/>
                </a:solidFill>
              </a:rPr>
              <a:t>FOR MEDICAL and SCIENTIFIC PURPOSES ONLY – INTERNAL USE ONLY</a:t>
            </a:r>
            <a:endParaRPr lang="en-US" sz="96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51403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-4305" y="6351342"/>
            <a:ext cx="12196309" cy="506659"/>
            <a:chOff x="-3231" y="4763506"/>
            <a:chExt cx="9147231" cy="379994"/>
          </a:xfrm>
        </p:grpSpPr>
        <p:sp>
          <p:nvSpPr>
            <p:cNvPr id="18" name="Freeform 17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160" dirty="0"/>
            </a:p>
          </p:txBody>
        </p:sp>
        <p:sp>
          <p:nvSpPr>
            <p:cNvPr id="19" name="Freeform 18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60" dirty="0"/>
            </a:p>
          </p:txBody>
        </p:sp>
      </p:grp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34042" y="272725"/>
            <a:ext cx="11523537" cy="436361"/>
          </a:xfrm>
          <a:prstGeom prst="rect">
            <a:avLst/>
          </a:prstGeom>
        </p:spPr>
        <p:txBody>
          <a:bodyPr lIns="91414" tIns="45706" rIns="91414" bIns="45706">
            <a:noAutofit/>
          </a:bodyPr>
          <a:lstStyle>
            <a:lvl1pPr marL="0" indent="0">
              <a:defRPr sz="288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9033694" y="6346195"/>
            <a:ext cx="2823887" cy="360096"/>
          </a:xfrm>
          <a:prstGeom prst="rect">
            <a:avLst/>
          </a:prstGeom>
        </p:spPr>
        <p:txBody>
          <a:bodyPr vert="horz" lIns="109697" tIns="54847" rIns="109697" bIns="54847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200" smtClean="0"/>
              <a:pPr/>
              <a:t>‹#›</a:t>
            </a:fld>
            <a:endParaRPr lang="en-GB" sz="1200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50"/>
            <a:ext cx="1873504" cy="401869"/>
          </a:xfrm>
          <a:prstGeom prst="rect">
            <a:avLst/>
          </a:prstGeom>
        </p:spPr>
      </p:pic>
      <p:cxnSp>
        <p:nvCxnSpPr>
          <p:cNvPr id="20" name="Straight Connector 19"/>
          <p:cNvCxnSpPr/>
          <p:nvPr userDrawn="1"/>
        </p:nvCxnSpPr>
        <p:spPr>
          <a:xfrm>
            <a:off x="383132" y="781346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/>
        </p:nvSpPr>
        <p:spPr>
          <a:xfrm>
            <a:off x="3757598" y="6618218"/>
            <a:ext cx="4493540" cy="258498"/>
          </a:xfrm>
          <a:prstGeom prst="rect">
            <a:avLst/>
          </a:prstGeom>
        </p:spPr>
        <p:txBody>
          <a:bodyPr wrap="none" lIns="109697" tIns="54847" rIns="109697" bIns="54847">
            <a:spAutoFit/>
          </a:bodyPr>
          <a:lstStyle/>
          <a:p>
            <a:r>
              <a:rPr lang="fr-FR" sz="960" dirty="0">
                <a:solidFill>
                  <a:schemeClr val="bg1"/>
                </a:solidFill>
              </a:rPr>
              <a:t>FOR MEDICAL and SCIENTIFIC PURPOSES ONLY – INTERNAL USE ONLY</a:t>
            </a:r>
            <a:endParaRPr lang="en-US" sz="96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012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>
            <a:extLst>
              <a:ext uri="{FF2B5EF4-FFF2-40B4-BE49-F238E27FC236}">
                <a16:creationId xmlns="" xmlns:a16="http://schemas.microsoft.com/office/drawing/2014/main" id="{51E589B6-C3D3-4C25-AD5C-18E818C664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799" y="6346749"/>
            <a:ext cx="4384541" cy="415700"/>
          </a:xfrm>
        </p:spPr>
        <p:txBody>
          <a:bodyPr rIns="0" bIns="0" anchor="b"/>
          <a:lstStyle>
            <a:lvl1pPr marL="0" indent="0">
              <a:spcAft>
                <a:spcPts val="0"/>
              </a:spcAft>
              <a:buNone/>
              <a:defRPr sz="1067">
                <a:solidFill>
                  <a:schemeClr val="tx1"/>
                </a:solidFill>
              </a:defRPr>
            </a:lvl1pPr>
            <a:lvl2pPr marL="237061" indent="0">
              <a:buNone/>
              <a:defRPr sz="1600"/>
            </a:lvl2pPr>
            <a:lvl3pPr marL="480471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="" xmlns:a16="http://schemas.microsoft.com/office/drawing/2014/main" id="{A8770C68-70EB-47CF-A398-7339298902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75194" y="6346749"/>
            <a:ext cx="4384541" cy="415700"/>
          </a:xfrm>
        </p:spPr>
        <p:txBody>
          <a:bodyPr rIns="0" bIns="0" anchor="b"/>
          <a:lstStyle>
            <a:lvl1pPr marL="0" indent="0" algn="r">
              <a:spcAft>
                <a:spcPts val="0"/>
              </a:spcAft>
              <a:buNone/>
              <a:defRPr sz="1067">
                <a:solidFill>
                  <a:schemeClr val="tx1"/>
                </a:solidFill>
              </a:defRPr>
            </a:lvl1pPr>
            <a:lvl2pPr marL="237061" indent="0">
              <a:buNone/>
              <a:defRPr sz="1600"/>
            </a:lvl2pPr>
            <a:lvl3pPr marL="480471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="" xmlns:a16="http://schemas.microsoft.com/office/drawing/2014/main" id="{998260A9-147E-4FAD-8844-3AC5E4D3A2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t="24480" r="34917"/>
          <a:stretch/>
        </p:blipFill>
        <p:spPr>
          <a:xfrm>
            <a:off x="10635742" y="-1"/>
            <a:ext cx="1556295" cy="1805863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9A7C88E7-FD43-4195-B509-DFFFB2B44B50}"/>
              </a:ext>
            </a:extLst>
          </p:cNvPr>
          <p:cNvSpPr/>
          <p:nvPr userDrawn="1"/>
        </p:nvSpPr>
        <p:spPr>
          <a:xfrm>
            <a:off x="10434320" y="4"/>
            <a:ext cx="1757680" cy="1879601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16" name="Title 1">
            <a:extLst>
              <a:ext uri="{FF2B5EF4-FFF2-40B4-BE49-F238E27FC236}">
                <a16:creationId xmlns="" xmlns:a16="http://schemas.microsoft.com/office/drawing/2014/main" id="{D9EAB8F4-D99B-4E3D-9B01-3227B7E8AF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74640"/>
            <a:ext cx="9667240" cy="1076640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652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274640"/>
            <a:ext cx="9667240" cy="1076640"/>
          </a:xfrm>
          <a:prstGeom prst="rect">
            <a:avLst/>
          </a:prstGeom>
        </p:spPr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879600"/>
            <a:ext cx="11328400" cy="40163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31799" y="6346749"/>
            <a:ext cx="4384541" cy="415700"/>
          </a:xfrm>
          <a:prstGeom prst="rect">
            <a:avLst/>
          </a:prstGeom>
        </p:spPr>
        <p:txBody>
          <a:bodyPr rIns="0" bIns="0" anchor="b"/>
          <a:lstStyle>
            <a:lvl1pPr marL="0" indent="0">
              <a:spcAft>
                <a:spcPts val="0"/>
              </a:spcAft>
              <a:buNone/>
              <a:defRPr sz="1067">
                <a:solidFill>
                  <a:schemeClr val="tx1"/>
                </a:solidFill>
              </a:defRPr>
            </a:lvl1pPr>
            <a:lvl2pPr marL="237061" indent="0">
              <a:buNone/>
              <a:defRPr sz="1600"/>
            </a:lvl2pPr>
            <a:lvl3pPr marL="480471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7375194" y="6346749"/>
            <a:ext cx="4384541" cy="415700"/>
          </a:xfrm>
          <a:prstGeom prst="rect">
            <a:avLst/>
          </a:prstGeom>
        </p:spPr>
        <p:txBody>
          <a:bodyPr rIns="0" bIns="0" anchor="b"/>
          <a:lstStyle>
            <a:lvl1pPr marL="0" indent="0" algn="r">
              <a:spcAft>
                <a:spcPts val="0"/>
              </a:spcAft>
              <a:buNone/>
              <a:defRPr sz="1067">
                <a:solidFill>
                  <a:schemeClr val="tx1"/>
                </a:solidFill>
              </a:defRPr>
            </a:lvl1pPr>
            <a:lvl2pPr marL="237061" indent="0">
              <a:buNone/>
              <a:defRPr sz="1600"/>
            </a:lvl2pPr>
            <a:lvl3pPr marL="480471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="" xmlns:a16="http://schemas.microsoft.com/office/drawing/2014/main" id="{379534F6-0504-44F2-A38A-DC80B1605C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t="24480" r="34917"/>
          <a:stretch/>
        </p:blipFill>
        <p:spPr>
          <a:xfrm>
            <a:off x="10635742" y="-1"/>
            <a:ext cx="1556295" cy="1805863"/>
          </a:xfrm>
          <a:prstGeom prst="rect">
            <a:avLst/>
          </a:prstGeom>
        </p:spPr>
      </p:pic>
      <p:sp>
        <p:nvSpPr>
          <p:cNvPr id="164" name="Rectangle 163">
            <a:extLst>
              <a:ext uri="{FF2B5EF4-FFF2-40B4-BE49-F238E27FC236}">
                <a16:creationId xmlns="" xmlns:a16="http://schemas.microsoft.com/office/drawing/2014/main" id="{808B8590-2966-4513-881A-15114B311D9C}"/>
              </a:ext>
            </a:extLst>
          </p:cNvPr>
          <p:cNvSpPr/>
          <p:nvPr userDrawn="1"/>
        </p:nvSpPr>
        <p:spPr>
          <a:xfrm>
            <a:off x="10434320" y="4"/>
            <a:ext cx="1757680" cy="1879601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4241507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5" y="274637"/>
            <a:ext cx="11368724" cy="850915"/>
          </a:xfrm>
          <a:prstGeom prst="rect">
            <a:avLst/>
          </a:prstGeom>
        </p:spPr>
        <p:txBody>
          <a:bodyPr/>
          <a:lstStyle/>
          <a:p>
            <a:r>
              <a:rPr lang="fr-FR" dirty="0" smtClean="0"/>
              <a:t>Cliquez et modifiez le titre</a:t>
            </a:r>
            <a:endParaRPr lang="en-GB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09600" y="1185412"/>
            <a:ext cx="11368725" cy="4810035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7130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/>
          <p:cNvGrpSpPr/>
          <p:nvPr userDrawn="1"/>
        </p:nvGrpSpPr>
        <p:grpSpPr>
          <a:xfrm>
            <a:off x="-7916" y="2742990"/>
            <a:ext cx="12223739" cy="4120948"/>
            <a:chOff x="-5937" y="2057241"/>
            <a:chExt cx="9167804" cy="3090711"/>
          </a:xfrm>
        </p:grpSpPr>
        <p:sp>
          <p:nvSpPr>
            <p:cNvPr id="14" name="Freeform 13"/>
            <p:cNvSpPr/>
            <p:nvPr userDrawn="1"/>
          </p:nvSpPr>
          <p:spPr>
            <a:xfrm>
              <a:off x="-5937" y="2057241"/>
              <a:ext cx="9167804" cy="3090711"/>
            </a:xfrm>
            <a:custGeom>
              <a:avLst/>
              <a:gdLst>
                <a:gd name="connsiteX0" fmla="*/ 5938 w 9149938"/>
                <a:gd name="connsiteY0" fmla="*/ 0 h 3087584"/>
                <a:gd name="connsiteX1" fmla="*/ 267195 w 9149938"/>
                <a:gd name="connsiteY1" fmla="*/ 17813 h 3087584"/>
                <a:gd name="connsiteX2" fmla="*/ 528452 w 9149938"/>
                <a:gd name="connsiteY2" fmla="*/ 35626 h 3087584"/>
                <a:gd name="connsiteX3" fmla="*/ 801585 w 9149938"/>
                <a:gd name="connsiteY3" fmla="*/ 59376 h 3087584"/>
                <a:gd name="connsiteX4" fmla="*/ 1045029 w 9149938"/>
                <a:gd name="connsiteY4" fmla="*/ 83127 h 3087584"/>
                <a:gd name="connsiteX5" fmla="*/ 1294411 w 9149938"/>
                <a:gd name="connsiteY5" fmla="*/ 112815 h 3087584"/>
                <a:gd name="connsiteX6" fmla="*/ 1502229 w 9149938"/>
                <a:gd name="connsiteY6" fmla="*/ 142504 h 3087584"/>
                <a:gd name="connsiteX7" fmla="*/ 1781299 w 9149938"/>
                <a:gd name="connsiteY7" fmla="*/ 184067 h 3087584"/>
                <a:gd name="connsiteX8" fmla="*/ 1941616 w 9149938"/>
                <a:gd name="connsiteY8" fmla="*/ 207818 h 3087584"/>
                <a:gd name="connsiteX9" fmla="*/ 2107870 w 9149938"/>
                <a:gd name="connsiteY9" fmla="*/ 237506 h 3087584"/>
                <a:gd name="connsiteX10" fmla="*/ 2327564 w 9149938"/>
                <a:gd name="connsiteY10" fmla="*/ 267195 h 3087584"/>
                <a:gd name="connsiteX11" fmla="*/ 2559133 w 9149938"/>
                <a:gd name="connsiteY11" fmla="*/ 308758 h 3087584"/>
                <a:gd name="connsiteX12" fmla="*/ 2838203 w 9149938"/>
                <a:gd name="connsiteY12" fmla="*/ 356260 h 3087584"/>
                <a:gd name="connsiteX13" fmla="*/ 3063834 w 9149938"/>
                <a:gd name="connsiteY13" fmla="*/ 397823 h 3087584"/>
                <a:gd name="connsiteX14" fmla="*/ 3331029 w 9149938"/>
                <a:gd name="connsiteY14" fmla="*/ 445325 h 3087584"/>
                <a:gd name="connsiteX15" fmla="*/ 3550722 w 9149938"/>
                <a:gd name="connsiteY15" fmla="*/ 480950 h 3087584"/>
                <a:gd name="connsiteX16" fmla="*/ 3758541 w 9149938"/>
                <a:gd name="connsiteY16" fmla="*/ 522514 h 3087584"/>
                <a:gd name="connsiteX17" fmla="*/ 4091050 w 9149938"/>
                <a:gd name="connsiteY17" fmla="*/ 587828 h 3087584"/>
                <a:gd name="connsiteX18" fmla="*/ 4352307 w 9149938"/>
                <a:gd name="connsiteY18" fmla="*/ 629392 h 3087584"/>
                <a:gd name="connsiteX19" fmla="*/ 4566063 w 9149938"/>
                <a:gd name="connsiteY19" fmla="*/ 659080 h 3087584"/>
                <a:gd name="connsiteX20" fmla="*/ 4839195 w 9149938"/>
                <a:gd name="connsiteY20" fmla="*/ 700644 h 3087584"/>
                <a:gd name="connsiteX21" fmla="*/ 5088577 w 9149938"/>
                <a:gd name="connsiteY21" fmla="*/ 730332 h 3087584"/>
                <a:gd name="connsiteX22" fmla="*/ 5343896 w 9149938"/>
                <a:gd name="connsiteY22" fmla="*/ 760021 h 3087584"/>
                <a:gd name="connsiteX23" fmla="*/ 5545777 w 9149938"/>
                <a:gd name="connsiteY23" fmla="*/ 777834 h 3087584"/>
                <a:gd name="connsiteX24" fmla="*/ 5741720 w 9149938"/>
                <a:gd name="connsiteY24" fmla="*/ 801584 h 3087584"/>
                <a:gd name="connsiteX25" fmla="*/ 5973289 w 9149938"/>
                <a:gd name="connsiteY25" fmla="*/ 819397 h 3087584"/>
                <a:gd name="connsiteX26" fmla="*/ 6163294 w 9149938"/>
                <a:gd name="connsiteY26" fmla="*/ 831273 h 3087584"/>
                <a:gd name="connsiteX27" fmla="*/ 6353299 w 9149938"/>
                <a:gd name="connsiteY27" fmla="*/ 837210 h 3087584"/>
                <a:gd name="connsiteX28" fmla="*/ 6513616 w 9149938"/>
                <a:gd name="connsiteY28" fmla="*/ 837210 h 3087584"/>
                <a:gd name="connsiteX29" fmla="*/ 6727372 w 9149938"/>
                <a:gd name="connsiteY29" fmla="*/ 837210 h 3087584"/>
                <a:gd name="connsiteX30" fmla="*/ 6964878 w 9149938"/>
                <a:gd name="connsiteY30" fmla="*/ 831273 h 3087584"/>
                <a:gd name="connsiteX31" fmla="*/ 7154883 w 9149938"/>
                <a:gd name="connsiteY31" fmla="*/ 825335 h 3087584"/>
                <a:gd name="connsiteX32" fmla="*/ 7344889 w 9149938"/>
                <a:gd name="connsiteY32" fmla="*/ 813460 h 3087584"/>
                <a:gd name="connsiteX33" fmla="*/ 7505206 w 9149938"/>
                <a:gd name="connsiteY33" fmla="*/ 807522 h 3087584"/>
                <a:gd name="connsiteX34" fmla="*/ 7677398 w 9149938"/>
                <a:gd name="connsiteY34" fmla="*/ 789709 h 3087584"/>
                <a:gd name="connsiteX35" fmla="*/ 7873341 w 9149938"/>
                <a:gd name="connsiteY35" fmla="*/ 765958 h 3087584"/>
                <a:gd name="connsiteX36" fmla="*/ 8075221 w 9149938"/>
                <a:gd name="connsiteY36" fmla="*/ 736270 h 3087584"/>
                <a:gd name="connsiteX37" fmla="*/ 8265226 w 9149938"/>
                <a:gd name="connsiteY37" fmla="*/ 700644 h 3087584"/>
                <a:gd name="connsiteX38" fmla="*/ 8407730 w 9149938"/>
                <a:gd name="connsiteY38" fmla="*/ 676893 h 3087584"/>
                <a:gd name="connsiteX39" fmla="*/ 8597735 w 9149938"/>
                <a:gd name="connsiteY39" fmla="*/ 629392 h 3087584"/>
                <a:gd name="connsiteX40" fmla="*/ 8763990 w 9149938"/>
                <a:gd name="connsiteY40" fmla="*/ 593766 h 3087584"/>
                <a:gd name="connsiteX41" fmla="*/ 8942120 w 9149938"/>
                <a:gd name="connsiteY41" fmla="*/ 540327 h 3087584"/>
                <a:gd name="connsiteX42" fmla="*/ 9149938 w 9149938"/>
                <a:gd name="connsiteY42" fmla="*/ 475013 h 3087584"/>
                <a:gd name="connsiteX43" fmla="*/ 9149938 w 9149938"/>
                <a:gd name="connsiteY43" fmla="*/ 3087584 h 3087584"/>
                <a:gd name="connsiteX44" fmla="*/ 0 w 9149938"/>
                <a:gd name="connsiteY44" fmla="*/ 3087584 h 3087584"/>
                <a:gd name="connsiteX45" fmla="*/ 0 w 9149938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54883 w 9155876"/>
                <a:gd name="connsiteY31" fmla="*/ 825335 h 3087584"/>
                <a:gd name="connsiteX32" fmla="*/ 7344889 w 9155876"/>
                <a:gd name="connsiteY32" fmla="*/ 813460 h 3087584"/>
                <a:gd name="connsiteX33" fmla="*/ 7505206 w 9155876"/>
                <a:gd name="connsiteY33" fmla="*/ 807522 h 3087584"/>
                <a:gd name="connsiteX34" fmla="*/ 7677398 w 9155876"/>
                <a:gd name="connsiteY34" fmla="*/ 789709 h 3087584"/>
                <a:gd name="connsiteX35" fmla="*/ 7873341 w 9155876"/>
                <a:gd name="connsiteY35" fmla="*/ 765958 h 3087584"/>
                <a:gd name="connsiteX36" fmla="*/ 8075221 w 9155876"/>
                <a:gd name="connsiteY36" fmla="*/ 736270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8942120 w 9155876"/>
                <a:gd name="connsiteY41" fmla="*/ 540327 h 3087584"/>
                <a:gd name="connsiteX42" fmla="*/ 9149938 w 9155876"/>
                <a:gd name="connsiteY42" fmla="*/ 475013 h 3087584"/>
                <a:gd name="connsiteX43" fmla="*/ 9149938 w 9155876"/>
                <a:gd name="connsiteY43" fmla="*/ 3087584 h 3087584"/>
                <a:gd name="connsiteX44" fmla="*/ 0 w 9155876"/>
                <a:gd name="connsiteY44" fmla="*/ 3087584 h 3087584"/>
                <a:gd name="connsiteX45" fmla="*/ 0 w 9155876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13460 h 3087584"/>
                <a:gd name="connsiteX33" fmla="*/ 7505206 w 9155876"/>
                <a:gd name="connsiteY33" fmla="*/ 807522 h 3087584"/>
                <a:gd name="connsiteX34" fmla="*/ 7677398 w 9155876"/>
                <a:gd name="connsiteY34" fmla="*/ 789709 h 3087584"/>
                <a:gd name="connsiteX35" fmla="*/ 7873341 w 9155876"/>
                <a:gd name="connsiteY35" fmla="*/ 765958 h 3087584"/>
                <a:gd name="connsiteX36" fmla="*/ 8075221 w 9155876"/>
                <a:gd name="connsiteY36" fmla="*/ 736270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8942120 w 9155876"/>
                <a:gd name="connsiteY41" fmla="*/ 540327 h 3087584"/>
                <a:gd name="connsiteX42" fmla="*/ 9149938 w 9155876"/>
                <a:gd name="connsiteY42" fmla="*/ 475013 h 3087584"/>
                <a:gd name="connsiteX43" fmla="*/ 9149938 w 9155876"/>
                <a:gd name="connsiteY43" fmla="*/ 3087584 h 3087584"/>
                <a:gd name="connsiteX44" fmla="*/ 0 w 9155876"/>
                <a:gd name="connsiteY44" fmla="*/ 3087584 h 3087584"/>
                <a:gd name="connsiteX45" fmla="*/ 0 w 9155876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07522 h 3087584"/>
                <a:gd name="connsiteX34" fmla="*/ 7677398 w 9155876"/>
                <a:gd name="connsiteY34" fmla="*/ 789709 h 3087584"/>
                <a:gd name="connsiteX35" fmla="*/ 7873341 w 9155876"/>
                <a:gd name="connsiteY35" fmla="*/ 765958 h 3087584"/>
                <a:gd name="connsiteX36" fmla="*/ 8075221 w 9155876"/>
                <a:gd name="connsiteY36" fmla="*/ 736270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8942120 w 9155876"/>
                <a:gd name="connsiteY41" fmla="*/ 540327 h 3087584"/>
                <a:gd name="connsiteX42" fmla="*/ 9149938 w 9155876"/>
                <a:gd name="connsiteY42" fmla="*/ 475013 h 3087584"/>
                <a:gd name="connsiteX43" fmla="*/ 9149938 w 9155876"/>
                <a:gd name="connsiteY43" fmla="*/ 3087584 h 3087584"/>
                <a:gd name="connsiteX44" fmla="*/ 0 w 9155876"/>
                <a:gd name="connsiteY44" fmla="*/ 3087584 h 3087584"/>
                <a:gd name="connsiteX45" fmla="*/ 0 w 9155876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677398 w 9155876"/>
                <a:gd name="connsiteY34" fmla="*/ 789709 h 3087584"/>
                <a:gd name="connsiteX35" fmla="*/ 7873341 w 9155876"/>
                <a:gd name="connsiteY35" fmla="*/ 765958 h 3087584"/>
                <a:gd name="connsiteX36" fmla="*/ 8075221 w 9155876"/>
                <a:gd name="connsiteY36" fmla="*/ 736270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8942120 w 9155876"/>
                <a:gd name="connsiteY41" fmla="*/ 540327 h 3087584"/>
                <a:gd name="connsiteX42" fmla="*/ 9149938 w 9155876"/>
                <a:gd name="connsiteY42" fmla="*/ 475013 h 3087584"/>
                <a:gd name="connsiteX43" fmla="*/ 9149938 w 9155876"/>
                <a:gd name="connsiteY43" fmla="*/ 3087584 h 3087584"/>
                <a:gd name="connsiteX44" fmla="*/ 0 w 9155876"/>
                <a:gd name="connsiteY44" fmla="*/ 3087584 h 3087584"/>
                <a:gd name="connsiteX45" fmla="*/ 0 w 9155876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873341 w 9155876"/>
                <a:gd name="connsiteY35" fmla="*/ 765958 h 3087584"/>
                <a:gd name="connsiteX36" fmla="*/ 8075221 w 9155876"/>
                <a:gd name="connsiteY36" fmla="*/ 736270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8942120 w 9155876"/>
                <a:gd name="connsiteY41" fmla="*/ 540327 h 3087584"/>
                <a:gd name="connsiteX42" fmla="*/ 9149938 w 9155876"/>
                <a:gd name="connsiteY42" fmla="*/ 475013 h 3087584"/>
                <a:gd name="connsiteX43" fmla="*/ 9149938 w 9155876"/>
                <a:gd name="connsiteY43" fmla="*/ 3087584 h 3087584"/>
                <a:gd name="connsiteX44" fmla="*/ 0 w 9155876"/>
                <a:gd name="connsiteY44" fmla="*/ 3087584 h 3087584"/>
                <a:gd name="connsiteX45" fmla="*/ 0 w 9155876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8075221 w 9155876"/>
                <a:gd name="connsiteY36" fmla="*/ 736270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8942120 w 9155876"/>
                <a:gd name="connsiteY41" fmla="*/ 540327 h 3087584"/>
                <a:gd name="connsiteX42" fmla="*/ 9149938 w 9155876"/>
                <a:gd name="connsiteY42" fmla="*/ 475013 h 3087584"/>
                <a:gd name="connsiteX43" fmla="*/ 9149938 w 9155876"/>
                <a:gd name="connsiteY43" fmla="*/ 3087584 h 3087584"/>
                <a:gd name="connsiteX44" fmla="*/ 0 w 9155876"/>
                <a:gd name="connsiteY44" fmla="*/ 3087584 h 3087584"/>
                <a:gd name="connsiteX45" fmla="*/ 0 w 9155876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8122722 w 9155876"/>
                <a:gd name="connsiteY36" fmla="*/ 831272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8942120 w 9155876"/>
                <a:gd name="connsiteY41" fmla="*/ 540327 h 3087584"/>
                <a:gd name="connsiteX42" fmla="*/ 9149938 w 9155876"/>
                <a:gd name="connsiteY42" fmla="*/ 475013 h 3087584"/>
                <a:gd name="connsiteX43" fmla="*/ 9149938 w 9155876"/>
                <a:gd name="connsiteY43" fmla="*/ 3087584 h 3087584"/>
                <a:gd name="connsiteX44" fmla="*/ 0 w 9155876"/>
                <a:gd name="connsiteY44" fmla="*/ 3087584 h 3087584"/>
                <a:gd name="connsiteX45" fmla="*/ 0 w 9155876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8122722 w 9155876"/>
                <a:gd name="connsiteY36" fmla="*/ 831272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8942120 w 9155876"/>
                <a:gd name="connsiteY41" fmla="*/ 540327 h 3087584"/>
                <a:gd name="connsiteX42" fmla="*/ 9138063 w 9155876"/>
                <a:gd name="connsiteY42" fmla="*/ 825335 h 3087584"/>
                <a:gd name="connsiteX43" fmla="*/ 9149938 w 9155876"/>
                <a:gd name="connsiteY43" fmla="*/ 3087584 h 3087584"/>
                <a:gd name="connsiteX44" fmla="*/ 0 w 9155876"/>
                <a:gd name="connsiteY44" fmla="*/ 3087584 h 3087584"/>
                <a:gd name="connsiteX45" fmla="*/ 0 w 9155876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8122722 w 9155876"/>
                <a:gd name="connsiteY36" fmla="*/ 831272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8953996 w 9155876"/>
                <a:gd name="connsiteY41" fmla="*/ 825335 h 3087584"/>
                <a:gd name="connsiteX42" fmla="*/ 9138063 w 9155876"/>
                <a:gd name="connsiteY42" fmla="*/ 825335 h 3087584"/>
                <a:gd name="connsiteX43" fmla="*/ 9149938 w 9155876"/>
                <a:gd name="connsiteY43" fmla="*/ 3087584 h 3087584"/>
                <a:gd name="connsiteX44" fmla="*/ 0 w 9155876"/>
                <a:gd name="connsiteY44" fmla="*/ 3087584 h 3087584"/>
                <a:gd name="connsiteX45" fmla="*/ 0 w 9155876"/>
                <a:gd name="connsiteY4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8122722 w 9155876"/>
                <a:gd name="connsiteY36" fmla="*/ 831272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8763990 w 9155876"/>
                <a:gd name="connsiteY40" fmla="*/ 593766 h 3087584"/>
                <a:gd name="connsiteX41" fmla="*/ 9138063 w 9155876"/>
                <a:gd name="connsiteY41" fmla="*/ 825335 h 3087584"/>
                <a:gd name="connsiteX42" fmla="*/ 9149938 w 9155876"/>
                <a:gd name="connsiteY42" fmla="*/ 3087584 h 3087584"/>
                <a:gd name="connsiteX43" fmla="*/ 0 w 9155876"/>
                <a:gd name="connsiteY43" fmla="*/ 3087584 h 3087584"/>
                <a:gd name="connsiteX44" fmla="*/ 0 w 9155876"/>
                <a:gd name="connsiteY44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8122722 w 9155876"/>
                <a:gd name="connsiteY36" fmla="*/ 831272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8597735 w 9155876"/>
                <a:gd name="connsiteY39" fmla="*/ 629392 h 3087584"/>
                <a:gd name="connsiteX40" fmla="*/ 9138063 w 9155876"/>
                <a:gd name="connsiteY40" fmla="*/ 825335 h 3087584"/>
                <a:gd name="connsiteX41" fmla="*/ 9149938 w 9155876"/>
                <a:gd name="connsiteY41" fmla="*/ 3087584 h 3087584"/>
                <a:gd name="connsiteX42" fmla="*/ 0 w 9155876"/>
                <a:gd name="connsiteY42" fmla="*/ 3087584 h 3087584"/>
                <a:gd name="connsiteX43" fmla="*/ 0 w 9155876"/>
                <a:gd name="connsiteY43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8122722 w 9155876"/>
                <a:gd name="connsiteY36" fmla="*/ 831272 h 3087584"/>
                <a:gd name="connsiteX37" fmla="*/ 8265226 w 9155876"/>
                <a:gd name="connsiteY37" fmla="*/ 700644 h 3087584"/>
                <a:gd name="connsiteX38" fmla="*/ 8407730 w 9155876"/>
                <a:gd name="connsiteY38" fmla="*/ 676893 h 3087584"/>
                <a:gd name="connsiteX39" fmla="*/ 9138063 w 9155876"/>
                <a:gd name="connsiteY39" fmla="*/ 825335 h 3087584"/>
                <a:gd name="connsiteX40" fmla="*/ 9149938 w 9155876"/>
                <a:gd name="connsiteY40" fmla="*/ 3087584 h 3087584"/>
                <a:gd name="connsiteX41" fmla="*/ 0 w 9155876"/>
                <a:gd name="connsiteY41" fmla="*/ 3087584 h 3087584"/>
                <a:gd name="connsiteX42" fmla="*/ 0 w 9155876"/>
                <a:gd name="connsiteY42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8122722 w 9155876"/>
                <a:gd name="connsiteY36" fmla="*/ 831272 h 3087584"/>
                <a:gd name="connsiteX37" fmla="*/ 8265226 w 9155876"/>
                <a:gd name="connsiteY37" fmla="*/ 700644 h 3087584"/>
                <a:gd name="connsiteX38" fmla="*/ 9138063 w 9155876"/>
                <a:gd name="connsiteY38" fmla="*/ 825335 h 3087584"/>
                <a:gd name="connsiteX39" fmla="*/ 9149938 w 9155876"/>
                <a:gd name="connsiteY39" fmla="*/ 3087584 h 3087584"/>
                <a:gd name="connsiteX40" fmla="*/ 0 w 9155876"/>
                <a:gd name="connsiteY40" fmla="*/ 3087584 h 3087584"/>
                <a:gd name="connsiteX41" fmla="*/ 0 w 9155876"/>
                <a:gd name="connsiteY41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8122722 w 9155876"/>
                <a:gd name="connsiteY36" fmla="*/ 831272 h 3087584"/>
                <a:gd name="connsiteX37" fmla="*/ 9138063 w 9155876"/>
                <a:gd name="connsiteY37" fmla="*/ 825335 h 3087584"/>
                <a:gd name="connsiteX38" fmla="*/ 9149938 w 9155876"/>
                <a:gd name="connsiteY38" fmla="*/ 3087584 h 3087584"/>
                <a:gd name="connsiteX39" fmla="*/ 0 w 9155876"/>
                <a:gd name="connsiteY39" fmla="*/ 3087584 h 3087584"/>
                <a:gd name="connsiteX40" fmla="*/ 0 w 9155876"/>
                <a:gd name="connsiteY40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7920842 w 9155876"/>
                <a:gd name="connsiteY35" fmla="*/ 819397 h 3087584"/>
                <a:gd name="connsiteX36" fmla="*/ 9138063 w 9155876"/>
                <a:gd name="connsiteY36" fmla="*/ 825335 h 3087584"/>
                <a:gd name="connsiteX37" fmla="*/ 9149938 w 9155876"/>
                <a:gd name="connsiteY37" fmla="*/ 3087584 h 3087584"/>
                <a:gd name="connsiteX38" fmla="*/ 0 w 9155876"/>
                <a:gd name="connsiteY38" fmla="*/ 3087584 h 3087584"/>
                <a:gd name="connsiteX39" fmla="*/ 0 w 9155876"/>
                <a:gd name="connsiteY39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7724899 w 9155876"/>
                <a:gd name="connsiteY34" fmla="*/ 837211 h 3087584"/>
                <a:gd name="connsiteX35" fmla="*/ 9138063 w 9155876"/>
                <a:gd name="connsiteY35" fmla="*/ 825335 h 3087584"/>
                <a:gd name="connsiteX36" fmla="*/ 9149938 w 9155876"/>
                <a:gd name="connsiteY36" fmla="*/ 3087584 h 3087584"/>
                <a:gd name="connsiteX37" fmla="*/ 0 w 9155876"/>
                <a:gd name="connsiteY37" fmla="*/ 3087584 h 3087584"/>
                <a:gd name="connsiteX38" fmla="*/ 0 w 9155876"/>
                <a:gd name="connsiteY38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7505206 w 9155876"/>
                <a:gd name="connsiteY33" fmla="*/ 831273 h 3087584"/>
                <a:gd name="connsiteX34" fmla="*/ 9138063 w 9155876"/>
                <a:gd name="connsiteY34" fmla="*/ 825335 h 3087584"/>
                <a:gd name="connsiteX35" fmla="*/ 9149938 w 9155876"/>
                <a:gd name="connsiteY35" fmla="*/ 3087584 h 3087584"/>
                <a:gd name="connsiteX36" fmla="*/ 0 w 9155876"/>
                <a:gd name="connsiteY36" fmla="*/ 3087584 h 3087584"/>
                <a:gd name="connsiteX37" fmla="*/ 0 w 9155876"/>
                <a:gd name="connsiteY37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7344889 w 9155876"/>
                <a:gd name="connsiteY32" fmla="*/ 843149 h 3087584"/>
                <a:gd name="connsiteX33" fmla="*/ 9138063 w 9155876"/>
                <a:gd name="connsiteY33" fmla="*/ 825335 h 3087584"/>
                <a:gd name="connsiteX34" fmla="*/ 9149938 w 9155876"/>
                <a:gd name="connsiteY34" fmla="*/ 3087584 h 3087584"/>
                <a:gd name="connsiteX35" fmla="*/ 0 w 9155876"/>
                <a:gd name="connsiteY35" fmla="*/ 3087584 h 3087584"/>
                <a:gd name="connsiteX36" fmla="*/ 0 w 9155876"/>
                <a:gd name="connsiteY36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6964878 w 9155876"/>
                <a:gd name="connsiteY30" fmla="*/ 831273 h 3087584"/>
                <a:gd name="connsiteX31" fmla="*/ 7166759 w 9155876"/>
                <a:gd name="connsiteY31" fmla="*/ 837211 h 3087584"/>
                <a:gd name="connsiteX32" fmla="*/ 9138063 w 9155876"/>
                <a:gd name="connsiteY32" fmla="*/ 825335 h 3087584"/>
                <a:gd name="connsiteX33" fmla="*/ 9149938 w 9155876"/>
                <a:gd name="connsiteY33" fmla="*/ 3087584 h 3087584"/>
                <a:gd name="connsiteX34" fmla="*/ 0 w 9155876"/>
                <a:gd name="connsiteY34" fmla="*/ 3087584 h 3087584"/>
                <a:gd name="connsiteX35" fmla="*/ 0 w 9155876"/>
                <a:gd name="connsiteY35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7166759 w 9155876"/>
                <a:gd name="connsiteY30" fmla="*/ 837211 h 3087584"/>
                <a:gd name="connsiteX31" fmla="*/ 9138063 w 9155876"/>
                <a:gd name="connsiteY31" fmla="*/ 825335 h 3087584"/>
                <a:gd name="connsiteX32" fmla="*/ 9149938 w 9155876"/>
                <a:gd name="connsiteY32" fmla="*/ 3087584 h 3087584"/>
                <a:gd name="connsiteX33" fmla="*/ 0 w 9155876"/>
                <a:gd name="connsiteY33" fmla="*/ 3087584 h 3087584"/>
                <a:gd name="connsiteX34" fmla="*/ 0 w 9155876"/>
                <a:gd name="connsiteY34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545777 w 9155876"/>
                <a:gd name="connsiteY23" fmla="*/ 777834 h 3087584"/>
                <a:gd name="connsiteX24" fmla="*/ 5741720 w 9155876"/>
                <a:gd name="connsiteY24" fmla="*/ 801584 h 3087584"/>
                <a:gd name="connsiteX25" fmla="*/ 5973289 w 9155876"/>
                <a:gd name="connsiteY25" fmla="*/ 819397 h 3087584"/>
                <a:gd name="connsiteX26" fmla="*/ 6163294 w 9155876"/>
                <a:gd name="connsiteY26" fmla="*/ 831273 h 3087584"/>
                <a:gd name="connsiteX27" fmla="*/ 6353299 w 9155876"/>
                <a:gd name="connsiteY27" fmla="*/ 837210 h 3087584"/>
                <a:gd name="connsiteX28" fmla="*/ 6513616 w 9155876"/>
                <a:gd name="connsiteY28" fmla="*/ 837210 h 3087584"/>
                <a:gd name="connsiteX29" fmla="*/ 9155876 w 9155876"/>
                <a:gd name="connsiteY29" fmla="*/ 843147 h 3087584"/>
                <a:gd name="connsiteX30" fmla="*/ 9138063 w 9155876"/>
                <a:gd name="connsiteY30" fmla="*/ 825335 h 3087584"/>
                <a:gd name="connsiteX31" fmla="*/ 9149938 w 9155876"/>
                <a:gd name="connsiteY31" fmla="*/ 3087584 h 3087584"/>
                <a:gd name="connsiteX32" fmla="*/ 0 w 9155876"/>
                <a:gd name="connsiteY32" fmla="*/ 3087584 h 3087584"/>
                <a:gd name="connsiteX33" fmla="*/ 0 w 9155876"/>
                <a:gd name="connsiteY33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741720 w 9155876"/>
                <a:gd name="connsiteY23" fmla="*/ 801584 h 3087584"/>
                <a:gd name="connsiteX24" fmla="*/ 5973289 w 9155876"/>
                <a:gd name="connsiteY24" fmla="*/ 819397 h 3087584"/>
                <a:gd name="connsiteX25" fmla="*/ 6163294 w 9155876"/>
                <a:gd name="connsiteY25" fmla="*/ 831273 h 3087584"/>
                <a:gd name="connsiteX26" fmla="*/ 6353299 w 9155876"/>
                <a:gd name="connsiteY26" fmla="*/ 837210 h 3087584"/>
                <a:gd name="connsiteX27" fmla="*/ 6513616 w 9155876"/>
                <a:gd name="connsiteY27" fmla="*/ 837210 h 3087584"/>
                <a:gd name="connsiteX28" fmla="*/ 9155876 w 9155876"/>
                <a:gd name="connsiteY28" fmla="*/ 843147 h 3087584"/>
                <a:gd name="connsiteX29" fmla="*/ 9138063 w 9155876"/>
                <a:gd name="connsiteY29" fmla="*/ 825335 h 3087584"/>
                <a:gd name="connsiteX30" fmla="*/ 9149938 w 9155876"/>
                <a:gd name="connsiteY30" fmla="*/ 3087584 h 3087584"/>
                <a:gd name="connsiteX31" fmla="*/ 0 w 9155876"/>
                <a:gd name="connsiteY31" fmla="*/ 3087584 h 3087584"/>
                <a:gd name="connsiteX32" fmla="*/ 0 w 9155876"/>
                <a:gd name="connsiteY32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781299 w 9155876"/>
                <a:gd name="connsiteY7" fmla="*/ 184067 h 3087584"/>
                <a:gd name="connsiteX8" fmla="*/ 1941616 w 9155876"/>
                <a:gd name="connsiteY8" fmla="*/ 207818 h 3087584"/>
                <a:gd name="connsiteX9" fmla="*/ 2107870 w 9155876"/>
                <a:gd name="connsiteY9" fmla="*/ 237506 h 3087584"/>
                <a:gd name="connsiteX10" fmla="*/ 2327564 w 9155876"/>
                <a:gd name="connsiteY10" fmla="*/ 267195 h 3087584"/>
                <a:gd name="connsiteX11" fmla="*/ 2559133 w 9155876"/>
                <a:gd name="connsiteY11" fmla="*/ 308758 h 3087584"/>
                <a:gd name="connsiteX12" fmla="*/ 2838203 w 9155876"/>
                <a:gd name="connsiteY12" fmla="*/ 356260 h 3087584"/>
                <a:gd name="connsiteX13" fmla="*/ 3063834 w 9155876"/>
                <a:gd name="connsiteY13" fmla="*/ 397823 h 3087584"/>
                <a:gd name="connsiteX14" fmla="*/ 3331029 w 9155876"/>
                <a:gd name="connsiteY14" fmla="*/ 445325 h 3087584"/>
                <a:gd name="connsiteX15" fmla="*/ 3550722 w 9155876"/>
                <a:gd name="connsiteY15" fmla="*/ 480950 h 3087584"/>
                <a:gd name="connsiteX16" fmla="*/ 3758541 w 9155876"/>
                <a:gd name="connsiteY16" fmla="*/ 522514 h 3087584"/>
                <a:gd name="connsiteX17" fmla="*/ 4091050 w 9155876"/>
                <a:gd name="connsiteY17" fmla="*/ 587828 h 3087584"/>
                <a:gd name="connsiteX18" fmla="*/ 4352307 w 9155876"/>
                <a:gd name="connsiteY18" fmla="*/ 629392 h 3087584"/>
                <a:gd name="connsiteX19" fmla="*/ 4566063 w 9155876"/>
                <a:gd name="connsiteY19" fmla="*/ 659080 h 3087584"/>
                <a:gd name="connsiteX20" fmla="*/ 4839195 w 9155876"/>
                <a:gd name="connsiteY20" fmla="*/ 700644 h 3087584"/>
                <a:gd name="connsiteX21" fmla="*/ 5088577 w 9155876"/>
                <a:gd name="connsiteY21" fmla="*/ 730332 h 3087584"/>
                <a:gd name="connsiteX22" fmla="*/ 5343896 w 9155876"/>
                <a:gd name="connsiteY22" fmla="*/ 760021 h 3087584"/>
                <a:gd name="connsiteX23" fmla="*/ 5741720 w 9155876"/>
                <a:gd name="connsiteY23" fmla="*/ 801584 h 3087584"/>
                <a:gd name="connsiteX24" fmla="*/ 5973289 w 9155876"/>
                <a:gd name="connsiteY24" fmla="*/ 819397 h 3087584"/>
                <a:gd name="connsiteX25" fmla="*/ 6353299 w 9155876"/>
                <a:gd name="connsiteY25" fmla="*/ 837210 h 3087584"/>
                <a:gd name="connsiteX26" fmla="*/ 6513616 w 9155876"/>
                <a:gd name="connsiteY26" fmla="*/ 837210 h 3087584"/>
                <a:gd name="connsiteX27" fmla="*/ 9155876 w 9155876"/>
                <a:gd name="connsiteY27" fmla="*/ 843147 h 3087584"/>
                <a:gd name="connsiteX28" fmla="*/ 9138063 w 9155876"/>
                <a:gd name="connsiteY28" fmla="*/ 825335 h 3087584"/>
                <a:gd name="connsiteX29" fmla="*/ 9149938 w 9155876"/>
                <a:gd name="connsiteY29" fmla="*/ 3087584 h 3087584"/>
                <a:gd name="connsiteX30" fmla="*/ 0 w 9155876"/>
                <a:gd name="connsiteY30" fmla="*/ 3087584 h 3087584"/>
                <a:gd name="connsiteX31" fmla="*/ 0 w 9155876"/>
                <a:gd name="connsiteY31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107870 w 9155876"/>
                <a:gd name="connsiteY8" fmla="*/ 237506 h 3087584"/>
                <a:gd name="connsiteX9" fmla="*/ 2327564 w 9155876"/>
                <a:gd name="connsiteY9" fmla="*/ 267195 h 3087584"/>
                <a:gd name="connsiteX10" fmla="*/ 2559133 w 9155876"/>
                <a:gd name="connsiteY10" fmla="*/ 308758 h 3087584"/>
                <a:gd name="connsiteX11" fmla="*/ 2838203 w 9155876"/>
                <a:gd name="connsiteY11" fmla="*/ 356260 h 3087584"/>
                <a:gd name="connsiteX12" fmla="*/ 3063834 w 9155876"/>
                <a:gd name="connsiteY12" fmla="*/ 397823 h 3087584"/>
                <a:gd name="connsiteX13" fmla="*/ 3331029 w 9155876"/>
                <a:gd name="connsiteY13" fmla="*/ 445325 h 3087584"/>
                <a:gd name="connsiteX14" fmla="*/ 3550722 w 9155876"/>
                <a:gd name="connsiteY14" fmla="*/ 480950 h 3087584"/>
                <a:gd name="connsiteX15" fmla="*/ 3758541 w 9155876"/>
                <a:gd name="connsiteY15" fmla="*/ 522514 h 3087584"/>
                <a:gd name="connsiteX16" fmla="*/ 4091050 w 9155876"/>
                <a:gd name="connsiteY16" fmla="*/ 587828 h 3087584"/>
                <a:gd name="connsiteX17" fmla="*/ 4352307 w 9155876"/>
                <a:gd name="connsiteY17" fmla="*/ 629392 h 3087584"/>
                <a:gd name="connsiteX18" fmla="*/ 4566063 w 9155876"/>
                <a:gd name="connsiteY18" fmla="*/ 659080 h 3087584"/>
                <a:gd name="connsiteX19" fmla="*/ 4839195 w 9155876"/>
                <a:gd name="connsiteY19" fmla="*/ 700644 h 3087584"/>
                <a:gd name="connsiteX20" fmla="*/ 5088577 w 9155876"/>
                <a:gd name="connsiteY20" fmla="*/ 730332 h 3087584"/>
                <a:gd name="connsiteX21" fmla="*/ 5343896 w 9155876"/>
                <a:gd name="connsiteY21" fmla="*/ 760021 h 3087584"/>
                <a:gd name="connsiteX22" fmla="*/ 5741720 w 9155876"/>
                <a:gd name="connsiteY22" fmla="*/ 801584 h 3087584"/>
                <a:gd name="connsiteX23" fmla="*/ 5973289 w 9155876"/>
                <a:gd name="connsiteY23" fmla="*/ 819397 h 3087584"/>
                <a:gd name="connsiteX24" fmla="*/ 6353299 w 9155876"/>
                <a:gd name="connsiteY24" fmla="*/ 837210 h 3087584"/>
                <a:gd name="connsiteX25" fmla="*/ 6513616 w 9155876"/>
                <a:gd name="connsiteY25" fmla="*/ 837210 h 3087584"/>
                <a:gd name="connsiteX26" fmla="*/ 9155876 w 9155876"/>
                <a:gd name="connsiteY26" fmla="*/ 843147 h 3087584"/>
                <a:gd name="connsiteX27" fmla="*/ 9138063 w 9155876"/>
                <a:gd name="connsiteY27" fmla="*/ 825335 h 3087584"/>
                <a:gd name="connsiteX28" fmla="*/ 9149938 w 9155876"/>
                <a:gd name="connsiteY28" fmla="*/ 3087584 h 3087584"/>
                <a:gd name="connsiteX29" fmla="*/ 0 w 9155876"/>
                <a:gd name="connsiteY29" fmla="*/ 3087584 h 3087584"/>
                <a:gd name="connsiteX30" fmla="*/ 0 w 9155876"/>
                <a:gd name="connsiteY30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559133 w 9155876"/>
                <a:gd name="connsiteY9" fmla="*/ 308758 h 3087584"/>
                <a:gd name="connsiteX10" fmla="*/ 2838203 w 9155876"/>
                <a:gd name="connsiteY10" fmla="*/ 356260 h 3087584"/>
                <a:gd name="connsiteX11" fmla="*/ 3063834 w 9155876"/>
                <a:gd name="connsiteY11" fmla="*/ 397823 h 3087584"/>
                <a:gd name="connsiteX12" fmla="*/ 3331029 w 9155876"/>
                <a:gd name="connsiteY12" fmla="*/ 445325 h 3087584"/>
                <a:gd name="connsiteX13" fmla="*/ 3550722 w 9155876"/>
                <a:gd name="connsiteY13" fmla="*/ 480950 h 3087584"/>
                <a:gd name="connsiteX14" fmla="*/ 3758541 w 9155876"/>
                <a:gd name="connsiteY14" fmla="*/ 522514 h 3087584"/>
                <a:gd name="connsiteX15" fmla="*/ 4091050 w 9155876"/>
                <a:gd name="connsiteY15" fmla="*/ 587828 h 3087584"/>
                <a:gd name="connsiteX16" fmla="*/ 4352307 w 9155876"/>
                <a:gd name="connsiteY16" fmla="*/ 629392 h 3087584"/>
                <a:gd name="connsiteX17" fmla="*/ 4566063 w 9155876"/>
                <a:gd name="connsiteY17" fmla="*/ 659080 h 3087584"/>
                <a:gd name="connsiteX18" fmla="*/ 4839195 w 9155876"/>
                <a:gd name="connsiteY18" fmla="*/ 700644 h 3087584"/>
                <a:gd name="connsiteX19" fmla="*/ 5088577 w 9155876"/>
                <a:gd name="connsiteY19" fmla="*/ 730332 h 3087584"/>
                <a:gd name="connsiteX20" fmla="*/ 5343896 w 9155876"/>
                <a:gd name="connsiteY20" fmla="*/ 760021 h 3087584"/>
                <a:gd name="connsiteX21" fmla="*/ 5741720 w 9155876"/>
                <a:gd name="connsiteY21" fmla="*/ 801584 h 3087584"/>
                <a:gd name="connsiteX22" fmla="*/ 5973289 w 9155876"/>
                <a:gd name="connsiteY22" fmla="*/ 819397 h 3087584"/>
                <a:gd name="connsiteX23" fmla="*/ 6353299 w 9155876"/>
                <a:gd name="connsiteY23" fmla="*/ 837210 h 3087584"/>
                <a:gd name="connsiteX24" fmla="*/ 6513616 w 9155876"/>
                <a:gd name="connsiteY24" fmla="*/ 837210 h 3087584"/>
                <a:gd name="connsiteX25" fmla="*/ 9155876 w 9155876"/>
                <a:gd name="connsiteY25" fmla="*/ 843147 h 3087584"/>
                <a:gd name="connsiteX26" fmla="*/ 9138063 w 9155876"/>
                <a:gd name="connsiteY26" fmla="*/ 825335 h 3087584"/>
                <a:gd name="connsiteX27" fmla="*/ 9149938 w 9155876"/>
                <a:gd name="connsiteY27" fmla="*/ 3087584 h 3087584"/>
                <a:gd name="connsiteX28" fmla="*/ 0 w 9155876"/>
                <a:gd name="connsiteY28" fmla="*/ 3087584 h 3087584"/>
                <a:gd name="connsiteX29" fmla="*/ 0 w 9155876"/>
                <a:gd name="connsiteY29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838203 w 9155876"/>
                <a:gd name="connsiteY9" fmla="*/ 356260 h 3087584"/>
                <a:gd name="connsiteX10" fmla="*/ 3063834 w 9155876"/>
                <a:gd name="connsiteY10" fmla="*/ 397823 h 3087584"/>
                <a:gd name="connsiteX11" fmla="*/ 3331029 w 9155876"/>
                <a:gd name="connsiteY11" fmla="*/ 445325 h 3087584"/>
                <a:gd name="connsiteX12" fmla="*/ 3550722 w 9155876"/>
                <a:gd name="connsiteY12" fmla="*/ 480950 h 3087584"/>
                <a:gd name="connsiteX13" fmla="*/ 3758541 w 9155876"/>
                <a:gd name="connsiteY13" fmla="*/ 522514 h 3087584"/>
                <a:gd name="connsiteX14" fmla="*/ 4091050 w 9155876"/>
                <a:gd name="connsiteY14" fmla="*/ 587828 h 3087584"/>
                <a:gd name="connsiteX15" fmla="*/ 4352307 w 9155876"/>
                <a:gd name="connsiteY15" fmla="*/ 629392 h 3087584"/>
                <a:gd name="connsiteX16" fmla="*/ 4566063 w 9155876"/>
                <a:gd name="connsiteY16" fmla="*/ 659080 h 3087584"/>
                <a:gd name="connsiteX17" fmla="*/ 4839195 w 9155876"/>
                <a:gd name="connsiteY17" fmla="*/ 700644 h 3087584"/>
                <a:gd name="connsiteX18" fmla="*/ 5088577 w 9155876"/>
                <a:gd name="connsiteY18" fmla="*/ 730332 h 3087584"/>
                <a:gd name="connsiteX19" fmla="*/ 5343896 w 9155876"/>
                <a:gd name="connsiteY19" fmla="*/ 760021 h 3087584"/>
                <a:gd name="connsiteX20" fmla="*/ 5741720 w 9155876"/>
                <a:gd name="connsiteY20" fmla="*/ 801584 h 3087584"/>
                <a:gd name="connsiteX21" fmla="*/ 5973289 w 9155876"/>
                <a:gd name="connsiteY21" fmla="*/ 819397 h 3087584"/>
                <a:gd name="connsiteX22" fmla="*/ 6353299 w 9155876"/>
                <a:gd name="connsiteY22" fmla="*/ 837210 h 3087584"/>
                <a:gd name="connsiteX23" fmla="*/ 6513616 w 9155876"/>
                <a:gd name="connsiteY23" fmla="*/ 837210 h 3087584"/>
                <a:gd name="connsiteX24" fmla="*/ 9155876 w 9155876"/>
                <a:gd name="connsiteY24" fmla="*/ 843147 h 3087584"/>
                <a:gd name="connsiteX25" fmla="*/ 9138063 w 9155876"/>
                <a:gd name="connsiteY25" fmla="*/ 825335 h 3087584"/>
                <a:gd name="connsiteX26" fmla="*/ 9149938 w 9155876"/>
                <a:gd name="connsiteY26" fmla="*/ 3087584 h 3087584"/>
                <a:gd name="connsiteX27" fmla="*/ 0 w 9155876"/>
                <a:gd name="connsiteY27" fmla="*/ 3087584 h 3087584"/>
                <a:gd name="connsiteX28" fmla="*/ 0 w 9155876"/>
                <a:gd name="connsiteY28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838203 w 9155876"/>
                <a:gd name="connsiteY9" fmla="*/ 356260 h 3087584"/>
                <a:gd name="connsiteX10" fmla="*/ 3063834 w 9155876"/>
                <a:gd name="connsiteY10" fmla="*/ 397823 h 3087584"/>
                <a:gd name="connsiteX11" fmla="*/ 3331029 w 9155876"/>
                <a:gd name="connsiteY11" fmla="*/ 445325 h 3087584"/>
                <a:gd name="connsiteX12" fmla="*/ 3758541 w 9155876"/>
                <a:gd name="connsiteY12" fmla="*/ 522514 h 3087584"/>
                <a:gd name="connsiteX13" fmla="*/ 4091050 w 9155876"/>
                <a:gd name="connsiteY13" fmla="*/ 587828 h 3087584"/>
                <a:gd name="connsiteX14" fmla="*/ 4352307 w 9155876"/>
                <a:gd name="connsiteY14" fmla="*/ 629392 h 3087584"/>
                <a:gd name="connsiteX15" fmla="*/ 4566063 w 9155876"/>
                <a:gd name="connsiteY15" fmla="*/ 659080 h 3087584"/>
                <a:gd name="connsiteX16" fmla="*/ 4839195 w 9155876"/>
                <a:gd name="connsiteY16" fmla="*/ 700644 h 3087584"/>
                <a:gd name="connsiteX17" fmla="*/ 5088577 w 9155876"/>
                <a:gd name="connsiteY17" fmla="*/ 730332 h 3087584"/>
                <a:gd name="connsiteX18" fmla="*/ 5343896 w 9155876"/>
                <a:gd name="connsiteY18" fmla="*/ 760021 h 3087584"/>
                <a:gd name="connsiteX19" fmla="*/ 5741720 w 9155876"/>
                <a:gd name="connsiteY19" fmla="*/ 801584 h 3087584"/>
                <a:gd name="connsiteX20" fmla="*/ 5973289 w 9155876"/>
                <a:gd name="connsiteY20" fmla="*/ 819397 h 3087584"/>
                <a:gd name="connsiteX21" fmla="*/ 6353299 w 9155876"/>
                <a:gd name="connsiteY21" fmla="*/ 837210 h 3087584"/>
                <a:gd name="connsiteX22" fmla="*/ 6513616 w 9155876"/>
                <a:gd name="connsiteY22" fmla="*/ 837210 h 3087584"/>
                <a:gd name="connsiteX23" fmla="*/ 9155876 w 9155876"/>
                <a:gd name="connsiteY23" fmla="*/ 843147 h 3087584"/>
                <a:gd name="connsiteX24" fmla="*/ 9138063 w 9155876"/>
                <a:gd name="connsiteY24" fmla="*/ 825335 h 3087584"/>
                <a:gd name="connsiteX25" fmla="*/ 9149938 w 9155876"/>
                <a:gd name="connsiteY25" fmla="*/ 3087584 h 3087584"/>
                <a:gd name="connsiteX26" fmla="*/ 0 w 9155876"/>
                <a:gd name="connsiteY26" fmla="*/ 3087584 h 3087584"/>
                <a:gd name="connsiteX27" fmla="*/ 0 w 9155876"/>
                <a:gd name="connsiteY27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838203 w 9155876"/>
                <a:gd name="connsiteY9" fmla="*/ 356260 h 3087584"/>
                <a:gd name="connsiteX10" fmla="*/ 3063834 w 9155876"/>
                <a:gd name="connsiteY10" fmla="*/ 397823 h 3087584"/>
                <a:gd name="connsiteX11" fmla="*/ 3331029 w 9155876"/>
                <a:gd name="connsiteY11" fmla="*/ 445325 h 3087584"/>
                <a:gd name="connsiteX12" fmla="*/ 3758541 w 9155876"/>
                <a:gd name="connsiteY12" fmla="*/ 522514 h 3087584"/>
                <a:gd name="connsiteX13" fmla="*/ 4091050 w 9155876"/>
                <a:gd name="connsiteY13" fmla="*/ 587828 h 3087584"/>
                <a:gd name="connsiteX14" fmla="*/ 4352307 w 9155876"/>
                <a:gd name="connsiteY14" fmla="*/ 629392 h 3087584"/>
                <a:gd name="connsiteX15" fmla="*/ 4566063 w 9155876"/>
                <a:gd name="connsiteY15" fmla="*/ 659080 h 3087584"/>
                <a:gd name="connsiteX16" fmla="*/ 4839195 w 9155876"/>
                <a:gd name="connsiteY16" fmla="*/ 700644 h 3087584"/>
                <a:gd name="connsiteX17" fmla="*/ 5088577 w 9155876"/>
                <a:gd name="connsiteY17" fmla="*/ 730332 h 3087584"/>
                <a:gd name="connsiteX18" fmla="*/ 5343896 w 9155876"/>
                <a:gd name="connsiteY18" fmla="*/ 760021 h 3087584"/>
                <a:gd name="connsiteX19" fmla="*/ 5741720 w 9155876"/>
                <a:gd name="connsiteY19" fmla="*/ 801584 h 3087584"/>
                <a:gd name="connsiteX20" fmla="*/ 5973289 w 9155876"/>
                <a:gd name="connsiteY20" fmla="*/ 819397 h 3087584"/>
                <a:gd name="connsiteX21" fmla="*/ 6353299 w 9155876"/>
                <a:gd name="connsiteY21" fmla="*/ 837210 h 3087584"/>
                <a:gd name="connsiteX22" fmla="*/ 6513616 w 9155876"/>
                <a:gd name="connsiteY22" fmla="*/ 837210 h 3087584"/>
                <a:gd name="connsiteX23" fmla="*/ 9155876 w 9155876"/>
                <a:gd name="connsiteY23" fmla="*/ 843147 h 3087584"/>
                <a:gd name="connsiteX24" fmla="*/ 9138063 w 9155876"/>
                <a:gd name="connsiteY24" fmla="*/ 825335 h 3087584"/>
                <a:gd name="connsiteX25" fmla="*/ 9149938 w 9155876"/>
                <a:gd name="connsiteY25" fmla="*/ 3087584 h 3087584"/>
                <a:gd name="connsiteX26" fmla="*/ 0 w 9155876"/>
                <a:gd name="connsiteY26" fmla="*/ 3087584 h 3087584"/>
                <a:gd name="connsiteX27" fmla="*/ 0 w 9155876"/>
                <a:gd name="connsiteY27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838203 w 9155876"/>
                <a:gd name="connsiteY9" fmla="*/ 356260 h 3087584"/>
                <a:gd name="connsiteX10" fmla="*/ 3063834 w 9155876"/>
                <a:gd name="connsiteY10" fmla="*/ 397823 h 3087584"/>
                <a:gd name="connsiteX11" fmla="*/ 3331029 w 9155876"/>
                <a:gd name="connsiteY11" fmla="*/ 445325 h 3087584"/>
                <a:gd name="connsiteX12" fmla="*/ 3758541 w 9155876"/>
                <a:gd name="connsiteY12" fmla="*/ 522514 h 3087584"/>
                <a:gd name="connsiteX13" fmla="*/ 4091050 w 9155876"/>
                <a:gd name="connsiteY13" fmla="*/ 587828 h 3087584"/>
                <a:gd name="connsiteX14" fmla="*/ 4352307 w 9155876"/>
                <a:gd name="connsiteY14" fmla="*/ 629392 h 3087584"/>
                <a:gd name="connsiteX15" fmla="*/ 4566063 w 9155876"/>
                <a:gd name="connsiteY15" fmla="*/ 659080 h 3087584"/>
                <a:gd name="connsiteX16" fmla="*/ 4839195 w 9155876"/>
                <a:gd name="connsiteY16" fmla="*/ 700644 h 3087584"/>
                <a:gd name="connsiteX17" fmla="*/ 5088577 w 9155876"/>
                <a:gd name="connsiteY17" fmla="*/ 730332 h 3087584"/>
                <a:gd name="connsiteX18" fmla="*/ 5343896 w 9155876"/>
                <a:gd name="connsiteY18" fmla="*/ 760021 h 3087584"/>
                <a:gd name="connsiteX19" fmla="*/ 5741720 w 9155876"/>
                <a:gd name="connsiteY19" fmla="*/ 801584 h 3087584"/>
                <a:gd name="connsiteX20" fmla="*/ 5973289 w 9155876"/>
                <a:gd name="connsiteY20" fmla="*/ 819397 h 3087584"/>
                <a:gd name="connsiteX21" fmla="*/ 6353299 w 9155876"/>
                <a:gd name="connsiteY21" fmla="*/ 837210 h 3087584"/>
                <a:gd name="connsiteX22" fmla="*/ 6513616 w 9155876"/>
                <a:gd name="connsiteY22" fmla="*/ 837210 h 3087584"/>
                <a:gd name="connsiteX23" fmla="*/ 9155876 w 9155876"/>
                <a:gd name="connsiteY23" fmla="*/ 843147 h 3087584"/>
                <a:gd name="connsiteX24" fmla="*/ 9138063 w 9155876"/>
                <a:gd name="connsiteY24" fmla="*/ 825335 h 3087584"/>
                <a:gd name="connsiteX25" fmla="*/ 9149938 w 9155876"/>
                <a:gd name="connsiteY25" fmla="*/ 3087584 h 3087584"/>
                <a:gd name="connsiteX26" fmla="*/ 0 w 9155876"/>
                <a:gd name="connsiteY26" fmla="*/ 3087584 h 3087584"/>
                <a:gd name="connsiteX27" fmla="*/ 0 w 9155876"/>
                <a:gd name="connsiteY27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838203 w 9155876"/>
                <a:gd name="connsiteY9" fmla="*/ 356260 h 3087584"/>
                <a:gd name="connsiteX10" fmla="*/ 3063834 w 9155876"/>
                <a:gd name="connsiteY10" fmla="*/ 397823 h 3087584"/>
                <a:gd name="connsiteX11" fmla="*/ 3331029 w 9155876"/>
                <a:gd name="connsiteY11" fmla="*/ 445325 h 3087584"/>
                <a:gd name="connsiteX12" fmla="*/ 3758541 w 9155876"/>
                <a:gd name="connsiteY12" fmla="*/ 522514 h 3087584"/>
                <a:gd name="connsiteX13" fmla="*/ 4091050 w 9155876"/>
                <a:gd name="connsiteY13" fmla="*/ 587828 h 3087584"/>
                <a:gd name="connsiteX14" fmla="*/ 4352307 w 9155876"/>
                <a:gd name="connsiteY14" fmla="*/ 629392 h 3087584"/>
                <a:gd name="connsiteX15" fmla="*/ 4566063 w 9155876"/>
                <a:gd name="connsiteY15" fmla="*/ 659080 h 3087584"/>
                <a:gd name="connsiteX16" fmla="*/ 4839195 w 9155876"/>
                <a:gd name="connsiteY16" fmla="*/ 700644 h 3087584"/>
                <a:gd name="connsiteX17" fmla="*/ 5088577 w 9155876"/>
                <a:gd name="connsiteY17" fmla="*/ 730332 h 3087584"/>
                <a:gd name="connsiteX18" fmla="*/ 5343896 w 9155876"/>
                <a:gd name="connsiteY18" fmla="*/ 760021 h 3087584"/>
                <a:gd name="connsiteX19" fmla="*/ 5741720 w 9155876"/>
                <a:gd name="connsiteY19" fmla="*/ 801584 h 3087584"/>
                <a:gd name="connsiteX20" fmla="*/ 5973289 w 9155876"/>
                <a:gd name="connsiteY20" fmla="*/ 819397 h 3087584"/>
                <a:gd name="connsiteX21" fmla="*/ 6368372 w 9155876"/>
                <a:gd name="connsiteY21" fmla="*/ 847258 h 3087584"/>
                <a:gd name="connsiteX22" fmla="*/ 6513616 w 9155876"/>
                <a:gd name="connsiteY22" fmla="*/ 837210 h 3087584"/>
                <a:gd name="connsiteX23" fmla="*/ 9155876 w 9155876"/>
                <a:gd name="connsiteY23" fmla="*/ 843147 h 3087584"/>
                <a:gd name="connsiteX24" fmla="*/ 9138063 w 9155876"/>
                <a:gd name="connsiteY24" fmla="*/ 825335 h 3087584"/>
                <a:gd name="connsiteX25" fmla="*/ 9149938 w 9155876"/>
                <a:gd name="connsiteY25" fmla="*/ 3087584 h 3087584"/>
                <a:gd name="connsiteX26" fmla="*/ 0 w 9155876"/>
                <a:gd name="connsiteY26" fmla="*/ 3087584 h 3087584"/>
                <a:gd name="connsiteX27" fmla="*/ 0 w 9155876"/>
                <a:gd name="connsiteY27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838203 w 9155876"/>
                <a:gd name="connsiteY9" fmla="*/ 356260 h 3087584"/>
                <a:gd name="connsiteX10" fmla="*/ 3063834 w 9155876"/>
                <a:gd name="connsiteY10" fmla="*/ 397823 h 3087584"/>
                <a:gd name="connsiteX11" fmla="*/ 3331029 w 9155876"/>
                <a:gd name="connsiteY11" fmla="*/ 445325 h 3087584"/>
                <a:gd name="connsiteX12" fmla="*/ 3758541 w 9155876"/>
                <a:gd name="connsiteY12" fmla="*/ 522514 h 3087584"/>
                <a:gd name="connsiteX13" fmla="*/ 4091050 w 9155876"/>
                <a:gd name="connsiteY13" fmla="*/ 587828 h 3087584"/>
                <a:gd name="connsiteX14" fmla="*/ 4352307 w 9155876"/>
                <a:gd name="connsiteY14" fmla="*/ 629392 h 3087584"/>
                <a:gd name="connsiteX15" fmla="*/ 4566063 w 9155876"/>
                <a:gd name="connsiteY15" fmla="*/ 659080 h 3087584"/>
                <a:gd name="connsiteX16" fmla="*/ 4839195 w 9155876"/>
                <a:gd name="connsiteY16" fmla="*/ 700644 h 3087584"/>
                <a:gd name="connsiteX17" fmla="*/ 5088577 w 9155876"/>
                <a:gd name="connsiteY17" fmla="*/ 730332 h 3087584"/>
                <a:gd name="connsiteX18" fmla="*/ 5343896 w 9155876"/>
                <a:gd name="connsiteY18" fmla="*/ 760021 h 3087584"/>
                <a:gd name="connsiteX19" fmla="*/ 5741720 w 9155876"/>
                <a:gd name="connsiteY19" fmla="*/ 801584 h 3087584"/>
                <a:gd name="connsiteX20" fmla="*/ 5973289 w 9155876"/>
                <a:gd name="connsiteY20" fmla="*/ 819397 h 3087584"/>
                <a:gd name="connsiteX21" fmla="*/ 6368372 w 9155876"/>
                <a:gd name="connsiteY21" fmla="*/ 847258 h 3087584"/>
                <a:gd name="connsiteX22" fmla="*/ 7417967 w 9155876"/>
                <a:gd name="connsiteY22" fmla="*/ 847258 h 3087584"/>
                <a:gd name="connsiteX23" fmla="*/ 9155876 w 9155876"/>
                <a:gd name="connsiteY23" fmla="*/ 843147 h 3087584"/>
                <a:gd name="connsiteX24" fmla="*/ 9138063 w 9155876"/>
                <a:gd name="connsiteY24" fmla="*/ 825335 h 3087584"/>
                <a:gd name="connsiteX25" fmla="*/ 9149938 w 9155876"/>
                <a:gd name="connsiteY25" fmla="*/ 3087584 h 3087584"/>
                <a:gd name="connsiteX26" fmla="*/ 0 w 9155876"/>
                <a:gd name="connsiteY26" fmla="*/ 3087584 h 3087584"/>
                <a:gd name="connsiteX27" fmla="*/ 0 w 9155876"/>
                <a:gd name="connsiteY27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838203 w 9155876"/>
                <a:gd name="connsiteY9" fmla="*/ 356260 h 3087584"/>
                <a:gd name="connsiteX10" fmla="*/ 3063834 w 9155876"/>
                <a:gd name="connsiteY10" fmla="*/ 397823 h 3087584"/>
                <a:gd name="connsiteX11" fmla="*/ 3331029 w 9155876"/>
                <a:gd name="connsiteY11" fmla="*/ 445325 h 3087584"/>
                <a:gd name="connsiteX12" fmla="*/ 3758541 w 9155876"/>
                <a:gd name="connsiteY12" fmla="*/ 522514 h 3087584"/>
                <a:gd name="connsiteX13" fmla="*/ 4091050 w 9155876"/>
                <a:gd name="connsiteY13" fmla="*/ 587828 h 3087584"/>
                <a:gd name="connsiteX14" fmla="*/ 4352307 w 9155876"/>
                <a:gd name="connsiteY14" fmla="*/ 629392 h 3087584"/>
                <a:gd name="connsiteX15" fmla="*/ 4566063 w 9155876"/>
                <a:gd name="connsiteY15" fmla="*/ 659080 h 3087584"/>
                <a:gd name="connsiteX16" fmla="*/ 4839195 w 9155876"/>
                <a:gd name="connsiteY16" fmla="*/ 700644 h 3087584"/>
                <a:gd name="connsiteX17" fmla="*/ 5088577 w 9155876"/>
                <a:gd name="connsiteY17" fmla="*/ 730332 h 3087584"/>
                <a:gd name="connsiteX18" fmla="*/ 5343896 w 9155876"/>
                <a:gd name="connsiteY18" fmla="*/ 760021 h 3087584"/>
                <a:gd name="connsiteX19" fmla="*/ 5741720 w 9155876"/>
                <a:gd name="connsiteY19" fmla="*/ 801584 h 3087584"/>
                <a:gd name="connsiteX20" fmla="*/ 5973289 w 9155876"/>
                <a:gd name="connsiteY20" fmla="*/ 819397 h 3087584"/>
                <a:gd name="connsiteX21" fmla="*/ 6368372 w 9155876"/>
                <a:gd name="connsiteY21" fmla="*/ 847258 h 3087584"/>
                <a:gd name="connsiteX22" fmla="*/ 7417967 w 9155876"/>
                <a:gd name="connsiteY22" fmla="*/ 847258 h 3087584"/>
                <a:gd name="connsiteX23" fmla="*/ 9155876 w 9155876"/>
                <a:gd name="connsiteY23" fmla="*/ 843147 h 3087584"/>
                <a:gd name="connsiteX24" fmla="*/ 9138063 w 9155876"/>
                <a:gd name="connsiteY24" fmla="*/ 825335 h 3087584"/>
                <a:gd name="connsiteX25" fmla="*/ 9149938 w 9155876"/>
                <a:gd name="connsiteY25" fmla="*/ 3087584 h 3087584"/>
                <a:gd name="connsiteX26" fmla="*/ 0 w 9155876"/>
                <a:gd name="connsiteY26" fmla="*/ 3087584 h 3087584"/>
                <a:gd name="connsiteX27" fmla="*/ 0 w 9155876"/>
                <a:gd name="connsiteY27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838203 w 9155876"/>
                <a:gd name="connsiteY9" fmla="*/ 356260 h 3087584"/>
                <a:gd name="connsiteX10" fmla="*/ 3063834 w 9155876"/>
                <a:gd name="connsiteY10" fmla="*/ 397823 h 3087584"/>
                <a:gd name="connsiteX11" fmla="*/ 3331029 w 9155876"/>
                <a:gd name="connsiteY11" fmla="*/ 445325 h 3087584"/>
                <a:gd name="connsiteX12" fmla="*/ 3758541 w 9155876"/>
                <a:gd name="connsiteY12" fmla="*/ 522514 h 3087584"/>
                <a:gd name="connsiteX13" fmla="*/ 4091050 w 9155876"/>
                <a:gd name="connsiteY13" fmla="*/ 587828 h 3087584"/>
                <a:gd name="connsiteX14" fmla="*/ 4352307 w 9155876"/>
                <a:gd name="connsiteY14" fmla="*/ 629392 h 3087584"/>
                <a:gd name="connsiteX15" fmla="*/ 4566063 w 9155876"/>
                <a:gd name="connsiteY15" fmla="*/ 659080 h 3087584"/>
                <a:gd name="connsiteX16" fmla="*/ 4839195 w 9155876"/>
                <a:gd name="connsiteY16" fmla="*/ 700644 h 3087584"/>
                <a:gd name="connsiteX17" fmla="*/ 5088577 w 9155876"/>
                <a:gd name="connsiteY17" fmla="*/ 730332 h 3087584"/>
                <a:gd name="connsiteX18" fmla="*/ 5343896 w 9155876"/>
                <a:gd name="connsiteY18" fmla="*/ 760021 h 3087584"/>
                <a:gd name="connsiteX19" fmla="*/ 5741720 w 9155876"/>
                <a:gd name="connsiteY19" fmla="*/ 801584 h 3087584"/>
                <a:gd name="connsiteX20" fmla="*/ 5973289 w 9155876"/>
                <a:gd name="connsiteY20" fmla="*/ 819397 h 3087584"/>
                <a:gd name="connsiteX21" fmla="*/ 6368372 w 9155876"/>
                <a:gd name="connsiteY21" fmla="*/ 847258 h 3087584"/>
                <a:gd name="connsiteX22" fmla="*/ 7417967 w 9155876"/>
                <a:gd name="connsiteY22" fmla="*/ 847258 h 3087584"/>
                <a:gd name="connsiteX23" fmla="*/ 9155876 w 9155876"/>
                <a:gd name="connsiteY23" fmla="*/ 843147 h 3087584"/>
                <a:gd name="connsiteX24" fmla="*/ 9138063 w 9155876"/>
                <a:gd name="connsiteY24" fmla="*/ 825335 h 3087584"/>
                <a:gd name="connsiteX25" fmla="*/ 9149938 w 9155876"/>
                <a:gd name="connsiteY25" fmla="*/ 3087584 h 3087584"/>
                <a:gd name="connsiteX26" fmla="*/ 0 w 9155876"/>
                <a:gd name="connsiteY26" fmla="*/ 3087584 h 3087584"/>
                <a:gd name="connsiteX27" fmla="*/ 0 w 9155876"/>
                <a:gd name="connsiteY27" fmla="*/ 0 h 3087584"/>
                <a:gd name="connsiteX0" fmla="*/ 5938 w 9155876"/>
                <a:gd name="connsiteY0" fmla="*/ 0 h 3087584"/>
                <a:gd name="connsiteX1" fmla="*/ 267195 w 9155876"/>
                <a:gd name="connsiteY1" fmla="*/ 17813 h 3087584"/>
                <a:gd name="connsiteX2" fmla="*/ 528452 w 9155876"/>
                <a:gd name="connsiteY2" fmla="*/ 35626 h 3087584"/>
                <a:gd name="connsiteX3" fmla="*/ 801585 w 9155876"/>
                <a:gd name="connsiteY3" fmla="*/ 59376 h 3087584"/>
                <a:gd name="connsiteX4" fmla="*/ 1045029 w 9155876"/>
                <a:gd name="connsiteY4" fmla="*/ 83127 h 3087584"/>
                <a:gd name="connsiteX5" fmla="*/ 1294411 w 9155876"/>
                <a:gd name="connsiteY5" fmla="*/ 112815 h 3087584"/>
                <a:gd name="connsiteX6" fmla="*/ 1502229 w 9155876"/>
                <a:gd name="connsiteY6" fmla="*/ 142504 h 3087584"/>
                <a:gd name="connsiteX7" fmla="*/ 1941616 w 9155876"/>
                <a:gd name="connsiteY7" fmla="*/ 207818 h 3087584"/>
                <a:gd name="connsiteX8" fmla="*/ 2327564 w 9155876"/>
                <a:gd name="connsiteY8" fmla="*/ 267195 h 3087584"/>
                <a:gd name="connsiteX9" fmla="*/ 2838203 w 9155876"/>
                <a:gd name="connsiteY9" fmla="*/ 356260 h 3087584"/>
                <a:gd name="connsiteX10" fmla="*/ 3063834 w 9155876"/>
                <a:gd name="connsiteY10" fmla="*/ 397823 h 3087584"/>
                <a:gd name="connsiteX11" fmla="*/ 3331029 w 9155876"/>
                <a:gd name="connsiteY11" fmla="*/ 445325 h 3087584"/>
                <a:gd name="connsiteX12" fmla="*/ 3758541 w 9155876"/>
                <a:gd name="connsiteY12" fmla="*/ 522514 h 3087584"/>
                <a:gd name="connsiteX13" fmla="*/ 4091050 w 9155876"/>
                <a:gd name="connsiteY13" fmla="*/ 587828 h 3087584"/>
                <a:gd name="connsiteX14" fmla="*/ 4352307 w 9155876"/>
                <a:gd name="connsiteY14" fmla="*/ 629392 h 3087584"/>
                <a:gd name="connsiteX15" fmla="*/ 4566063 w 9155876"/>
                <a:gd name="connsiteY15" fmla="*/ 659080 h 3087584"/>
                <a:gd name="connsiteX16" fmla="*/ 4839195 w 9155876"/>
                <a:gd name="connsiteY16" fmla="*/ 700644 h 3087584"/>
                <a:gd name="connsiteX17" fmla="*/ 5088577 w 9155876"/>
                <a:gd name="connsiteY17" fmla="*/ 730332 h 3087584"/>
                <a:gd name="connsiteX18" fmla="*/ 5343896 w 9155876"/>
                <a:gd name="connsiteY18" fmla="*/ 760021 h 3087584"/>
                <a:gd name="connsiteX19" fmla="*/ 5741720 w 9155876"/>
                <a:gd name="connsiteY19" fmla="*/ 801584 h 3087584"/>
                <a:gd name="connsiteX20" fmla="*/ 5973289 w 9155876"/>
                <a:gd name="connsiteY20" fmla="*/ 819397 h 3087584"/>
                <a:gd name="connsiteX21" fmla="*/ 6368372 w 9155876"/>
                <a:gd name="connsiteY21" fmla="*/ 847258 h 3087584"/>
                <a:gd name="connsiteX22" fmla="*/ 9155876 w 9155876"/>
                <a:gd name="connsiteY22" fmla="*/ 843147 h 3087584"/>
                <a:gd name="connsiteX23" fmla="*/ 9138063 w 9155876"/>
                <a:gd name="connsiteY23" fmla="*/ 825335 h 3087584"/>
                <a:gd name="connsiteX24" fmla="*/ 9149938 w 9155876"/>
                <a:gd name="connsiteY24" fmla="*/ 3087584 h 3087584"/>
                <a:gd name="connsiteX25" fmla="*/ 0 w 9155876"/>
                <a:gd name="connsiteY25" fmla="*/ 3087584 h 3087584"/>
                <a:gd name="connsiteX26" fmla="*/ 0 w 9155876"/>
                <a:gd name="connsiteY26" fmla="*/ 0 h 3087584"/>
                <a:gd name="connsiteX0" fmla="*/ 5938 w 9221190"/>
                <a:gd name="connsiteY0" fmla="*/ 0 h 3087584"/>
                <a:gd name="connsiteX1" fmla="*/ 267195 w 9221190"/>
                <a:gd name="connsiteY1" fmla="*/ 17813 h 3087584"/>
                <a:gd name="connsiteX2" fmla="*/ 528452 w 9221190"/>
                <a:gd name="connsiteY2" fmla="*/ 35626 h 3087584"/>
                <a:gd name="connsiteX3" fmla="*/ 801585 w 9221190"/>
                <a:gd name="connsiteY3" fmla="*/ 59376 h 3087584"/>
                <a:gd name="connsiteX4" fmla="*/ 1045029 w 9221190"/>
                <a:gd name="connsiteY4" fmla="*/ 83127 h 3087584"/>
                <a:gd name="connsiteX5" fmla="*/ 1294411 w 9221190"/>
                <a:gd name="connsiteY5" fmla="*/ 112815 h 3087584"/>
                <a:gd name="connsiteX6" fmla="*/ 1502229 w 9221190"/>
                <a:gd name="connsiteY6" fmla="*/ 142504 h 3087584"/>
                <a:gd name="connsiteX7" fmla="*/ 1941616 w 9221190"/>
                <a:gd name="connsiteY7" fmla="*/ 207818 h 3087584"/>
                <a:gd name="connsiteX8" fmla="*/ 2327564 w 9221190"/>
                <a:gd name="connsiteY8" fmla="*/ 267195 h 3087584"/>
                <a:gd name="connsiteX9" fmla="*/ 2838203 w 9221190"/>
                <a:gd name="connsiteY9" fmla="*/ 356260 h 3087584"/>
                <a:gd name="connsiteX10" fmla="*/ 3063834 w 9221190"/>
                <a:gd name="connsiteY10" fmla="*/ 397823 h 3087584"/>
                <a:gd name="connsiteX11" fmla="*/ 3331029 w 9221190"/>
                <a:gd name="connsiteY11" fmla="*/ 445325 h 3087584"/>
                <a:gd name="connsiteX12" fmla="*/ 3758541 w 9221190"/>
                <a:gd name="connsiteY12" fmla="*/ 522514 h 3087584"/>
                <a:gd name="connsiteX13" fmla="*/ 4091050 w 9221190"/>
                <a:gd name="connsiteY13" fmla="*/ 587828 h 3087584"/>
                <a:gd name="connsiteX14" fmla="*/ 4352307 w 9221190"/>
                <a:gd name="connsiteY14" fmla="*/ 629392 h 3087584"/>
                <a:gd name="connsiteX15" fmla="*/ 4566063 w 9221190"/>
                <a:gd name="connsiteY15" fmla="*/ 659080 h 3087584"/>
                <a:gd name="connsiteX16" fmla="*/ 4839195 w 9221190"/>
                <a:gd name="connsiteY16" fmla="*/ 700644 h 3087584"/>
                <a:gd name="connsiteX17" fmla="*/ 5088577 w 9221190"/>
                <a:gd name="connsiteY17" fmla="*/ 730332 h 3087584"/>
                <a:gd name="connsiteX18" fmla="*/ 5343896 w 9221190"/>
                <a:gd name="connsiteY18" fmla="*/ 760021 h 3087584"/>
                <a:gd name="connsiteX19" fmla="*/ 5741720 w 9221190"/>
                <a:gd name="connsiteY19" fmla="*/ 801584 h 3087584"/>
                <a:gd name="connsiteX20" fmla="*/ 5973289 w 9221190"/>
                <a:gd name="connsiteY20" fmla="*/ 819397 h 3087584"/>
                <a:gd name="connsiteX21" fmla="*/ 6368372 w 9221190"/>
                <a:gd name="connsiteY21" fmla="*/ 847258 h 3087584"/>
                <a:gd name="connsiteX22" fmla="*/ 9221190 w 9221190"/>
                <a:gd name="connsiteY22" fmla="*/ 838123 h 3087584"/>
                <a:gd name="connsiteX23" fmla="*/ 9138063 w 9221190"/>
                <a:gd name="connsiteY23" fmla="*/ 825335 h 3087584"/>
                <a:gd name="connsiteX24" fmla="*/ 9149938 w 9221190"/>
                <a:gd name="connsiteY24" fmla="*/ 3087584 h 3087584"/>
                <a:gd name="connsiteX25" fmla="*/ 0 w 9221190"/>
                <a:gd name="connsiteY25" fmla="*/ 3087584 h 3087584"/>
                <a:gd name="connsiteX26" fmla="*/ 0 w 9221190"/>
                <a:gd name="connsiteY26" fmla="*/ 0 h 3087584"/>
                <a:gd name="connsiteX0" fmla="*/ 5938 w 9149938"/>
                <a:gd name="connsiteY0" fmla="*/ 0 h 3087584"/>
                <a:gd name="connsiteX1" fmla="*/ 267195 w 9149938"/>
                <a:gd name="connsiteY1" fmla="*/ 17813 h 3087584"/>
                <a:gd name="connsiteX2" fmla="*/ 528452 w 9149938"/>
                <a:gd name="connsiteY2" fmla="*/ 35626 h 3087584"/>
                <a:gd name="connsiteX3" fmla="*/ 801585 w 9149938"/>
                <a:gd name="connsiteY3" fmla="*/ 59376 h 3087584"/>
                <a:gd name="connsiteX4" fmla="*/ 1045029 w 9149938"/>
                <a:gd name="connsiteY4" fmla="*/ 83127 h 3087584"/>
                <a:gd name="connsiteX5" fmla="*/ 1294411 w 9149938"/>
                <a:gd name="connsiteY5" fmla="*/ 112815 h 3087584"/>
                <a:gd name="connsiteX6" fmla="*/ 1502229 w 9149938"/>
                <a:gd name="connsiteY6" fmla="*/ 142504 h 3087584"/>
                <a:gd name="connsiteX7" fmla="*/ 1941616 w 9149938"/>
                <a:gd name="connsiteY7" fmla="*/ 207818 h 3087584"/>
                <a:gd name="connsiteX8" fmla="*/ 2327564 w 9149938"/>
                <a:gd name="connsiteY8" fmla="*/ 267195 h 3087584"/>
                <a:gd name="connsiteX9" fmla="*/ 2838203 w 9149938"/>
                <a:gd name="connsiteY9" fmla="*/ 356260 h 3087584"/>
                <a:gd name="connsiteX10" fmla="*/ 3063834 w 9149938"/>
                <a:gd name="connsiteY10" fmla="*/ 397823 h 3087584"/>
                <a:gd name="connsiteX11" fmla="*/ 3331029 w 9149938"/>
                <a:gd name="connsiteY11" fmla="*/ 445325 h 3087584"/>
                <a:gd name="connsiteX12" fmla="*/ 3758541 w 9149938"/>
                <a:gd name="connsiteY12" fmla="*/ 522514 h 3087584"/>
                <a:gd name="connsiteX13" fmla="*/ 4091050 w 9149938"/>
                <a:gd name="connsiteY13" fmla="*/ 587828 h 3087584"/>
                <a:gd name="connsiteX14" fmla="*/ 4352307 w 9149938"/>
                <a:gd name="connsiteY14" fmla="*/ 629392 h 3087584"/>
                <a:gd name="connsiteX15" fmla="*/ 4566063 w 9149938"/>
                <a:gd name="connsiteY15" fmla="*/ 659080 h 3087584"/>
                <a:gd name="connsiteX16" fmla="*/ 4839195 w 9149938"/>
                <a:gd name="connsiteY16" fmla="*/ 700644 h 3087584"/>
                <a:gd name="connsiteX17" fmla="*/ 5088577 w 9149938"/>
                <a:gd name="connsiteY17" fmla="*/ 730332 h 3087584"/>
                <a:gd name="connsiteX18" fmla="*/ 5343896 w 9149938"/>
                <a:gd name="connsiteY18" fmla="*/ 760021 h 3087584"/>
                <a:gd name="connsiteX19" fmla="*/ 5741720 w 9149938"/>
                <a:gd name="connsiteY19" fmla="*/ 801584 h 3087584"/>
                <a:gd name="connsiteX20" fmla="*/ 5973289 w 9149938"/>
                <a:gd name="connsiteY20" fmla="*/ 819397 h 3087584"/>
                <a:gd name="connsiteX21" fmla="*/ 6368372 w 9149938"/>
                <a:gd name="connsiteY21" fmla="*/ 847258 h 3087584"/>
                <a:gd name="connsiteX22" fmla="*/ 9138063 w 9149938"/>
                <a:gd name="connsiteY22" fmla="*/ 825335 h 3087584"/>
                <a:gd name="connsiteX23" fmla="*/ 9149938 w 9149938"/>
                <a:gd name="connsiteY23" fmla="*/ 3087584 h 3087584"/>
                <a:gd name="connsiteX24" fmla="*/ 0 w 9149938"/>
                <a:gd name="connsiteY24" fmla="*/ 3087584 h 3087584"/>
                <a:gd name="connsiteX25" fmla="*/ 0 w 9149938"/>
                <a:gd name="connsiteY25" fmla="*/ 0 h 3087584"/>
                <a:gd name="connsiteX0" fmla="*/ 5938 w 9149938"/>
                <a:gd name="connsiteY0" fmla="*/ 0 h 3087584"/>
                <a:gd name="connsiteX1" fmla="*/ 267195 w 9149938"/>
                <a:gd name="connsiteY1" fmla="*/ 17813 h 3087584"/>
                <a:gd name="connsiteX2" fmla="*/ 528452 w 9149938"/>
                <a:gd name="connsiteY2" fmla="*/ 35626 h 3087584"/>
                <a:gd name="connsiteX3" fmla="*/ 801585 w 9149938"/>
                <a:gd name="connsiteY3" fmla="*/ 59376 h 3087584"/>
                <a:gd name="connsiteX4" fmla="*/ 1045029 w 9149938"/>
                <a:gd name="connsiteY4" fmla="*/ 83127 h 3087584"/>
                <a:gd name="connsiteX5" fmla="*/ 1294411 w 9149938"/>
                <a:gd name="connsiteY5" fmla="*/ 112815 h 3087584"/>
                <a:gd name="connsiteX6" fmla="*/ 1502229 w 9149938"/>
                <a:gd name="connsiteY6" fmla="*/ 142504 h 3087584"/>
                <a:gd name="connsiteX7" fmla="*/ 1941616 w 9149938"/>
                <a:gd name="connsiteY7" fmla="*/ 207818 h 3087584"/>
                <a:gd name="connsiteX8" fmla="*/ 2327564 w 9149938"/>
                <a:gd name="connsiteY8" fmla="*/ 267195 h 3087584"/>
                <a:gd name="connsiteX9" fmla="*/ 2838203 w 9149938"/>
                <a:gd name="connsiteY9" fmla="*/ 356260 h 3087584"/>
                <a:gd name="connsiteX10" fmla="*/ 3063834 w 9149938"/>
                <a:gd name="connsiteY10" fmla="*/ 397823 h 3087584"/>
                <a:gd name="connsiteX11" fmla="*/ 3331029 w 9149938"/>
                <a:gd name="connsiteY11" fmla="*/ 445325 h 3087584"/>
                <a:gd name="connsiteX12" fmla="*/ 3758541 w 9149938"/>
                <a:gd name="connsiteY12" fmla="*/ 522514 h 3087584"/>
                <a:gd name="connsiteX13" fmla="*/ 4091050 w 9149938"/>
                <a:gd name="connsiteY13" fmla="*/ 587828 h 3087584"/>
                <a:gd name="connsiteX14" fmla="*/ 4352307 w 9149938"/>
                <a:gd name="connsiteY14" fmla="*/ 629392 h 3087584"/>
                <a:gd name="connsiteX15" fmla="*/ 4566063 w 9149938"/>
                <a:gd name="connsiteY15" fmla="*/ 659080 h 3087584"/>
                <a:gd name="connsiteX16" fmla="*/ 4839195 w 9149938"/>
                <a:gd name="connsiteY16" fmla="*/ 700644 h 3087584"/>
                <a:gd name="connsiteX17" fmla="*/ 5088577 w 9149938"/>
                <a:gd name="connsiteY17" fmla="*/ 730332 h 3087584"/>
                <a:gd name="connsiteX18" fmla="*/ 5343896 w 9149938"/>
                <a:gd name="connsiteY18" fmla="*/ 760021 h 3087584"/>
                <a:gd name="connsiteX19" fmla="*/ 5741720 w 9149938"/>
                <a:gd name="connsiteY19" fmla="*/ 801584 h 3087584"/>
                <a:gd name="connsiteX20" fmla="*/ 5973289 w 9149938"/>
                <a:gd name="connsiteY20" fmla="*/ 819397 h 3087584"/>
                <a:gd name="connsiteX21" fmla="*/ 6368372 w 9149938"/>
                <a:gd name="connsiteY21" fmla="*/ 847258 h 3087584"/>
                <a:gd name="connsiteX22" fmla="*/ 9138063 w 9149938"/>
                <a:gd name="connsiteY22" fmla="*/ 845432 h 3087584"/>
                <a:gd name="connsiteX23" fmla="*/ 9149938 w 9149938"/>
                <a:gd name="connsiteY23" fmla="*/ 3087584 h 3087584"/>
                <a:gd name="connsiteX24" fmla="*/ 0 w 9149938"/>
                <a:gd name="connsiteY24" fmla="*/ 3087584 h 3087584"/>
                <a:gd name="connsiteX25" fmla="*/ 0 w 9149938"/>
                <a:gd name="connsiteY25" fmla="*/ 0 h 3087584"/>
                <a:gd name="connsiteX0" fmla="*/ 5938 w 9149938"/>
                <a:gd name="connsiteY0" fmla="*/ 0 h 3087584"/>
                <a:gd name="connsiteX1" fmla="*/ 267195 w 9149938"/>
                <a:gd name="connsiteY1" fmla="*/ 17813 h 3087584"/>
                <a:gd name="connsiteX2" fmla="*/ 528452 w 9149938"/>
                <a:gd name="connsiteY2" fmla="*/ 35626 h 3087584"/>
                <a:gd name="connsiteX3" fmla="*/ 801585 w 9149938"/>
                <a:gd name="connsiteY3" fmla="*/ 59376 h 3087584"/>
                <a:gd name="connsiteX4" fmla="*/ 1045029 w 9149938"/>
                <a:gd name="connsiteY4" fmla="*/ 83127 h 3087584"/>
                <a:gd name="connsiteX5" fmla="*/ 1294411 w 9149938"/>
                <a:gd name="connsiteY5" fmla="*/ 112815 h 3087584"/>
                <a:gd name="connsiteX6" fmla="*/ 1502229 w 9149938"/>
                <a:gd name="connsiteY6" fmla="*/ 142504 h 3087584"/>
                <a:gd name="connsiteX7" fmla="*/ 1941616 w 9149938"/>
                <a:gd name="connsiteY7" fmla="*/ 207818 h 3087584"/>
                <a:gd name="connsiteX8" fmla="*/ 2327564 w 9149938"/>
                <a:gd name="connsiteY8" fmla="*/ 267195 h 3087584"/>
                <a:gd name="connsiteX9" fmla="*/ 2838203 w 9149938"/>
                <a:gd name="connsiteY9" fmla="*/ 356260 h 3087584"/>
                <a:gd name="connsiteX10" fmla="*/ 3063834 w 9149938"/>
                <a:gd name="connsiteY10" fmla="*/ 397823 h 3087584"/>
                <a:gd name="connsiteX11" fmla="*/ 3331029 w 9149938"/>
                <a:gd name="connsiteY11" fmla="*/ 445325 h 3087584"/>
                <a:gd name="connsiteX12" fmla="*/ 3758541 w 9149938"/>
                <a:gd name="connsiteY12" fmla="*/ 522514 h 3087584"/>
                <a:gd name="connsiteX13" fmla="*/ 4091050 w 9149938"/>
                <a:gd name="connsiteY13" fmla="*/ 587828 h 3087584"/>
                <a:gd name="connsiteX14" fmla="*/ 4352307 w 9149938"/>
                <a:gd name="connsiteY14" fmla="*/ 629392 h 3087584"/>
                <a:gd name="connsiteX15" fmla="*/ 4566063 w 9149938"/>
                <a:gd name="connsiteY15" fmla="*/ 659080 h 3087584"/>
                <a:gd name="connsiteX16" fmla="*/ 4839195 w 9149938"/>
                <a:gd name="connsiteY16" fmla="*/ 700644 h 3087584"/>
                <a:gd name="connsiteX17" fmla="*/ 5088577 w 9149938"/>
                <a:gd name="connsiteY17" fmla="*/ 730332 h 3087584"/>
                <a:gd name="connsiteX18" fmla="*/ 5343896 w 9149938"/>
                <a:gd name="connsiteY18" fmla="*/ 760021 h 3087584"/>
                <a:gd name="connsiteX19" fmla="*/ 5741720 w 9149938"/>
                <a:gd name="connsiteY19" fmla="*/ 801584 h 3087584"/>
                <a:gd name="connsiteX20" fmla="*/ 5973289 w 9149938"/>
                <a:gd name="connsiteY20" fmla="*/ 819397 h 3087584"/>
                <a:gd name="connsiteX21" fmla="*/ 6368372 w 9149938"/>
                <a:gd name="connsiteY21" fmla="*/ 847258 h 3087584"/>
                <a:gd name="connsiteX22" fmla="*/ 9138063 w 9149938"/>
                <a:gd name="connsiteY22" fmla="*/ 845432 h 3087584"/>
                <a:gd name="connsiteX23" fmla="*/ 9149938 w 9149938"/>
                <a:gd name="connsiteY23" fmla="*/ 3087584 h 3087584"/>
                <a:gd name="connsiteX24" fmla="*/ 0 w 9149938"/>
                <a:gd name="connsiteY24" fmla="*/ 3087584 h 3087584"/>
                <a:gd name="connsiteX25" fmla="*/ 0 w 9149938"/>
                <a:gd name="connsiteY25" fmla="*/ 0 h 3087584"/>
                <a:gd name="connsiteX0" fmla="*/ 5938 w 9149938"/>
                <a:gd name="connsiteY0" fmla="*/ 0 h 3087584"/>
                <a:gd name="connsiteX1" fmla="*/ 267195 w 9149938"/>
                <a:gd name="connsiteY1" fmla="*/ 17813 h 3087584"/>
                <a:gd name="connsiteX2" fmla="*/ 528452 w 9149938"/>
                <a:gd name="connsiteY2" fmla="*/ 35626 h 3087584"/>
                <a:gd name="connsiteX3" fmla="*/ 801585 w 9149938"/>
                <a:gd name="connsiteY3" fmla="*/ 59376 h 3087584"/>
                <a:gd name="connsiteX4" fmla="*/ 1045029 w 9149938"/>
                <a:gd name="connsiteY4" fmla="*/ 83127 h 3087584"/>
                <a:gd name="connsiteX5" fmla="*/ 1294411 w 9149938"/>
                <a:gd name="connsiteY5" fmla="*/ 112815 h 3087584"/>
                <a:gd name="connsiteX6" fmla="*/ 1502229 w 9149938"/>
                <a:gd name="connsiteY6" fmla="*/ 142504 h 3087584"/>
                <a:gd name="connsiteX7" fmla="*/ 1941616 w 9149938"/>
                <a:gd name="connsiteY7" fmla="*/ 207818 h 3087584"/>
                <a:gd name="connsiteX8" fmla="*/ 2327564 w 9149938"/>
                <a:gd name="connsiteY8" fmla="*/ 267195 h 3087584"/>
                <a:gd name="connsiteX9" fmla="*/ 2838203 w 9149938"/>
                <a:gd name="connsiteY9" fmla="*/ 356260 h 3087584"/>
                <a:gd name="connsiteX10" fmla="*/ 3063834 w 9149938"/>
                <a:gd name="connsiteY10" fmla="*/ 397823 h 3087584"/>
                <a:gd name="connsiteX11" fmla="*/ 3331029 w 9149938"/>
                <a:gd name="connsiteY11" fmla="*/ 445325 h 3087584"/>
                <a:gd name="connsiteX12" fmla="*/ 3758541 w 9149938"/>
                <a:gd name="connsiteY12" fmla="*/ 522514 h 3087584"/>
                <a:gd name="connsiteX13" fmla="*/ 4091050 w 9149938"/>
                <a:gd name="connsiteY13" fmla="*/ 587828 h 3087584"/>
                <a:gd name="connsiteX14" fmla="*/ 4352307 w 9149938"/>
                <a:gd name="connsiteY14" fmla="*/ 629392 h 3087584"/>
                <a:gd name="connsiteX15" fmla="*/ 4566063 w 9149938"/>
                <a:gd name="connsiteY15" fmla="*/ 659080 h 3087584"/>
                <a:gd name="connsiteX16" fmla="*/ 4839195 w 9149938"/>
                <a:gd name="connsiteY16" fmla="*/ 700644 h 3087584"/>
                <a:gd name="connsiteX17" fmla="*/ 5088577 w 9149938"/>
                <a:gd name="connsiteY17" fmla="*/ 730332 h 3087584"/>
                <a:gd name="connsiteX18" fmla="*/ 5343896 w 9149938"/>
                <a:gd name="connsiteY18" fmla="*/ 760021 h 3087584"/>
                <a:gd name="connsiteX19" fmla="*/ 5741720 w 9149938"/>
                <a:gd name="connsiteY19" fmla="*/ 801584 h 3087584"/>
                <a:gd name="connsiteX20" fmla="*/ 5973289 w 9149938"/>
                <a:gd name="connsiteY20" fmla="*/ 819397 h 3087584"/>
                <a:gd name="connsiteX21" fmla="*/ 6368372 w 9149938"/>
                <a:gd name="connsiteY21" fmla="*/ 847258 h 3087584"/>
                <a:gd name="connsiteX22" fmla="*/ 9138063 w 9149938"/>
                <a:gd name="connsiteY22" fmla="*/ 845432 h 3087584"/>
                <a:gd name="connsiteX23" fmla="*/ 9149938 w 9149938"/>
                <a:gd name="connsiteY23" fmla="*/ 3087584 h 3087584"/>
                <a:gd name="connsiteX24" fmla="*/ 0 w 9149938"/>
                <a:gd name="connsiteY24" fmla="*/ 3087584 h 3087584"/>
                <a:gd name="connsiteX25" fmla="*/ 0 w 9149938"/>
                <a:gd name="connsiteY25" fmla="*/ 0 h 3087584"/>
                <a:gd name="connsiteX0" fmla="*/ 5938 w 9154002"/>
                <a:gd name="connsiteY0" fmla="*/ 0 h 3087584"/>
                <a:gd name="connsiteX1" fmla="*/ 267195 w 9154002"/>
                <a:gd name="connsiteY1" fmla="*/ 17813 h 3087584"/>
                <a:gd name="connsiteX2" fmla="*/ 528452 w 9154002"/>
                <a:gd name="connsiteY2" fmla="*/ 35626 h 3087584"/>
                <a:gd name="connsiteX3" fmla="*/ 801585 w 9154002"/>
                <a:gd name="connsiteY3" fmla="*/ 59376 h 3087584"/>
                <a:gd name="connsiteX4" fmla="*/ 1045029 w 9154002"/>
                <a:gd name="connsiteY4" fmla="*/ 83127 h 3087584"/>
                <a:gd name="connsiteX5" fmla="*/ 1294411 w 9154002"/>
                <a:gd name="connsiteY5" fmla="*/ 112815 h 3087584"/>
                <a:gd name="connsiteX6" fmla="*/ 1502229 w 9154002"/>
                <a:gd name="connsiteY6" fmla="*/ 142504 h 3087584"/>
                <a:gd name="connsiteX7" fmla="*/ 1941616 w 9154002"/>
                <a:gd name="connsiteY7" fmla="*/ 207818 h 3087584"/>
                <a:gd name="connsiteX8" fmla="*/ 2327564 w 9154002"/>
                <a:gd name="connsiteY8" fmla="*/ 267195 h 3087584"/>
                <a:gd name="connsiteX9" fmla="*/ 2838203 w 9154002"/>
                <a:gd name="connsiteY9" fmla="*/ 356260 h 3087584"/>
                <a:gd name="connsiteX10" fmla="*/ 3063834 w 9154002"/>
                <a:gd name="connsiteY10" fmla="*/ 397823 h 3087584"/>
                <a:gd name="connsiteX11" fmla="*/ 3331029 w 9154002"/>
                <a:gd name="connsiteY11" fmla="*/ 445325 h 3087584"/>
                <a:gd name="connsiteX12" fmla="*/ 3758541 w 9154002"/>
                <a:gd name="connsiteY12" fmla="*/ 522514 h 3087584"/>
                <a:gd name="connsiteX13" fmla="*/ 4091050 w 9154002"/>
                <a:gd name="connsiteY13" fmla="*/ 587828 h 3087584"/>
                <a:gd name="connsiteX14" fmla="*/ 4352307 w 9154002"/>
                <a:gd name="connsiteY14" fmla="*/ 629392 h 3087584"/>
                <a:gd name="connsiteX15" fmla="*/ 4566063 w 9154002"/>
                <a:gd name="connsiteY15" fmla="*/ 659080 h 3087584"/>
                <a:gd name="connsiteX16" fmla="*/ 4839195 w 9154002"/>
                <a:gd name="connsiteY16" fmla="*/ 700644 h 3087584"/>
                <a:gd name="connsiteX17" fmla="*/ 5088577 w 9154002"/>
                <a:gd name="connsiteY17" fmla="*/ 730332 h 3087584"/>
                <a:gd name="connsiteX18" fmla="*/ 5343896 w 9154002"/>
                <a:gd name="connsiteY18" fmla="*/ 760021 h 3087584"/>
                <a:gd name="connsiteX19" fmla="*/ 5741720 w 9154002"/>
                <a:gd name="connsiteY19" fmla="*/ 801584 h 3087584"/>
                <a:gd name="connsiteX20" fmla="*/ 5973289 w 9154002"/>
                <a:gd name="connsiteY20" fmla="*/ 819397 h 3087584"/>
                <a:gd name="connsiteX21" fmla="*/ 6368372 w 9154002"/>
                <a:gd name="connsiteY21" fmla="*/ 847258 h 3087584"/>
                <a:gd name="connsiteX22" fmla="*/ 9153136 w 9154002"/>
                <a:gd name="connsiteY22" fmla="*/ 845432 h 3087584"/>
                <a:gd name="connsiteX23" fmla="*/ 9149938 w 9154002"/>
                <a:gd name="connsiteY23" fmla="*/ 3087584 h 3087584"/>
                <a:gd name="connsiteX24" fmla="*/ 0 w 9154002"/>
                <a:gd name="connsiteY24" fmla="*/ 3087584 h 3087584"/>
                <a:gd name="connsiteX25" fmla="*/ 0 w 9154002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68372 w 9159987"/>
                <a:gd name="connsiteY21" fmla="*/ 847258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78420 w 9159987"/>
                <a:gd name="connsiteY21" fmla="*/ 832185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83444 w 9159987"/>
                <a:gd name="connsiteY21" fmla="*/ 852282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83444 w 9159987"/>
                <a:gd name="connsiteY21" fmla="*/ 852282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88468 w 9159987"/>
                <a:gd name="connsiteY21" fmla="*/ 837209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88468 w 9159987"/>
                <a:gd name="connsiteY21" fmla="*/ 852281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88468 w 9159987"/>
                <a:gd name="connsiteY21" fmla="*/ 852281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88468 w 9159987"/>
                <a:gd name="connsiteY21" fmla="*/ 852281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88468 w 9159987"/>
                <a:gd name="connsiteY21" fmla="*/ 852281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88468 w 9159987"/>
                <a:gd name="connsiteY21" fmla="*/ 852281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93230 w 9159987"/>
                <a:gd name="connsiteY21" fmla="*/ 842756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93230 w 9159987"/>
                <a:gd name="connsiteY21" fmla="*/ 842756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393230 w 9159987"/>
                <a:gd name="connsiteY21" fmla="*/ 842756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3289 w 9159987"/>
                <a:gd name="connsiteY20" fmla="*/ 819397 h 3087584"/>
                <a:gd name="connsiteX21" fmla="*/ 6209874 w 9159987"/>
                <a:gd name="connsiteY21" fmla="*/ 845137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75670 w 9159987"/>
                <a:gd name="connsiteY20" fmla="*/ 833685 h 3087584"/>
                <a:gd name="connsiteX21" fmla="*/ 6209874 w 9159987"/>
                <a:gd name="connsiteY21" fmla="*/ 845137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80432 w 9159987"/>
                <a:gd name="connsiteY20" fmla="*/ 826541 h 3087584"/>
                <a:gd name="connsiteX21" fmla="*/ 6209874 w 9159987"/>
                <a:gd name="connsiteY21" fmla="*/ 845137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80432 w 9159987"/>
                <a:gd name="connsiteY20" fmla="*/ 826541 h 3087584"/>
                <a:gd name="connsiteX21" fmla="*/ 6209874 w 9159987"/>
                <a:gd name="connsiteY21" fmla="*/ 845137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80432 w 9159987"/>
                <a:gd name="connsiteY20" fmla="*/ 826541 h 3087584"/>
                <a:gd name="connsiteX21" fmla="*/ 6209874 w 9159987"/>
                <a:gd name="connsiteY21" fmla="*/ 845137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80432 w 9159987"/>
                <a:gd name="connsiteY20" fmla="*/ 826541 h 3087584"/>
                <a:gd name="connsiteX21" fmla="*/ 6209874 w 9159987"/>
                <a:gd name="connsiteY21" fmla="*/ 845137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1720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39339 w 9159987"/>
                <a:gd name="connsiteY19" fmla="*/ 808728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4102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4102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4102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4102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4102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4102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4102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1050 w 9159987"/>
                <a:gd name="connsiteY13" fmla="*/ 587828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4102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352307 w 9159987"/>
                <a:gd name="connsiteY14" fmla="*/ 629392 h 3087584"/>
                <a:gd name="connsiteX15" fmla="*/ 4566063 w 9159987"/>
                <a:gd name="connsiteY15" fmla="*/ 659080 h 3087584"/>
                <a:gd name="connsiteX16" fmla="*/ 4839195 w 9159987"/>
                <a:gd name="connsiteY16" fmla="*/ 700644 h 3087584"/>
                <a:gd name="connsiteX17" fmla="*/ 5088577 w 9159987"/>
                <a:gd name="connsiteY17" fmla="*/ 730332 h 3087584"/>
                <a:gd name="connsiteX18" fmla="*/ 5343896 w 9159987"/>
                <a:gd name="connsiteY18" fmla="*/ 760021 h 3087584"/>
                <a:gd name="connsiteX19" fmla="*/ 5744102 w 9159987"/>
                <a:gd name="connsiteY19" fmla="*/ 801584 h 3087584"/>
                <a:gd name="connsiteX20" fmla="*/ 5980432 w 9159987"/>
                <a:gd name="connsiteY20" fmla="*/ 826541 h 3087584"/>
                <a:gd name="connsiteX21" fmla="*/ 6400374 w 9159987"/>
                <a:gd name="connsiteY21" fmla="*/ 849900 h 3087584"/>
                <a:gd name="connsiteX22" fmla="*/ 9153136 w 9159987"/>
                <a:gd name="connsiteY22" fmla="*/ 845432 h 3087584"/>
                <a:gd name="connsiteX23" fmla="*/ 9159987 w 9159987"/>
                <a:gd name="connsiteY23" fmla="*/ 3087584 h 3087584"/>
                <a:gd name="connsiteX24" fmla="*/ 0 w 9159987"/>
                <a:gd name="connsiteY24" fmla="*/ 3087584 h 3087584"/>
                <a:gd name="connsiteX25" fmla="*/ 0 w 9159987"/>
                <a:gd name="connsiteY25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744102 w 9159987"/>
                <a:gd name="connsiteY18" fmla="*/ 801584 h 3087584"/>
                <a:gd name="connsiteX19" fmla="*/ 5980432 w 9159987"/>
                <a:gd name="connsiteY19" fmla="*/ 826541 h 3087584"/>
                <a:gd name="connsiteX20" fmla="*/ 6400374 w 9159987"/>
                <a:gd name="connsiteY20" fmla="*/ 849900 h 3087584"/>
                <a:gd name="connsiteX21" fmla="*/ 9153136 w 9159987"/>
                <a:gd name="connsiteY21" fmla="*/ 845432 h 3087584"/>
                <a:gd name="connsiteX22" fmla="*/ 9159987 w 9159987"/>
                <a:gd name="connsiteY22" fmla="*/ 3087584 h 3087584"/>
                <a:gd name="connsiteX23" fmla="*/ 0 w 9159987"/>
                <a:gd name="connsiteY23" fmla="*/ 3087584 h 3087584"/>
                <a:gd name="connsiteX24" fmla="*/ 0 w 9159987"/>
                <a:gd name="connsiteY24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744102 w 9159987"/>
                <a:gd name="connsiteY18" fmla="*/ 801584 h 3087584"/>
                <a:gd name="connsiteX19" fmla="*/ 5980432 w 9159987"/>
                <a:gd name="connsiteY19" fmla="*/ 826541 h 3087584"/>
                <a:gd name="connsiteX20" fmla="*/ 6400374 w 9159987"/>
                <a:gd name="connsiteY20" fmla="*/ 849900 h 3087584"/>
                <a:gd name="connsiteX21" fmla="*/ 9153136 w 9159987"/>
                <a:gd name="connsiteY21" fmla="*/ 845432 h 3087584"/>
                <a:gd name="connsiteX22" fmla="*/ 9159987 w 9159987"/>
                <a:gd name="connsiteY22" fmla="*/ 3087584 h 3087584"/>
                <a:gd name="connsiteX23" fmla="*/ 0 w 9159987"/>
                <a:gd name="connsiteY23" fmla="*/ 3087584 h 3087584"/>
                <a:gd name="connsiteX24" fmla="*/ 0 w 9159987"/>
                <a:gd name="connsiteY24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746483 w 9159987"/>
                <a:gd name="connsiteY18" fmla="*/ 806346 h 3087584"/>
                <a:gd name="connsiteX19" fmla="*/ 5980432 w 9159987"/>
                <a:gd name="connsiteY19" fmla="*/ 826541 h 3087584"/>
                <a:gd name="connsiteX20" fmla="*/ 6400374 w 9159987"/>
                <a:gd name="connsiteY20" fmla="*/ 849900 h 3087584"/>
                <a:gd name="connsiteX21" fmla="*/ 9153136 w 9159987"/>
                <a:gd name="connsiteY21" fmla="*/ 845432 h 3087584"/>
                <a:gd name="connsiteX22" fmla="*/ 9159987 w 9159987"/>
                <a:gd name="connsiteY22" fmla="*/ 3087584 h 3087584"/>
                <a:gd name="connsiteX23" fmla="*/ 0 w 9159987"/>
                <a:gd name="connsiteY23" fmla="*/ 3087584 h 3087584"/>
                <a:gd name="connsiteX24" fmla="*/ 0 w 9159987"/>
                <a:gd name="connsiteY24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746483 w 9159987"/>
                <a:gd name="connsiteY18" fmla="*/ 806346 h 3087584"/>
                <a:gd name="connsiteX19" fmla="*/ 5980432 w 9159987"/>
                <a:gd name="connsiteY19" fmla="*/ 826541 h 3087584"/>
                <a:gd name="connsiteX20" fmla="*/ 6400374 w 9159987"/>
                <a:gd name="connsiteY20" fmla="*/ 849900 h 3087584"/>
                <a:gd name="connsiteX21" fmla="*/ 9153136 w 9159987"/>
                <a:gd name="connsiteY21" fmla="*/ 845432 h 3087584"/>
                <a:gd name="connsiteX22" fmla="*/ 9159987 w 9159987"/>
                <a:gd name="connsiteY22" fmla="*/ 3087584 h 3087584"/>
                <a:gd name="connsiteX23" fmla="*/ 0 w 9159987"/>
                <a:gd name="connsiteY23" fmla="*/ 3087584 h 3087584"/>
                <a:gd name="connsiteX24" fmla="*/ 0 w 9159987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400374 w 9161016"/>
                <a:gd name="connsiteY20" fmla="*/ 849900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400374 w 9161016"/>
                <a:gd name="connsiteY20" fmla="*/ 849900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400374 w 9161016"/>
                <a:gd name="connsiteY20" fmla="*/ 849900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400374 w 9161016"/>
                <a:gd name="connsiteY20" fmla="*/ 849900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6927 w 9161016"/>
                <a:gd name="connsiteY20" fmla="*/ 863347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6927 w 9161016"/>
                <a:gd name="connsiteY20" fmla="*/ 863347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6927 w 9161016"/>
                <a:gd name="connsiteY20" fmla="*/ 863347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6927 w 9161016"/>
                <a:gd name="connsiteY20" fmla="*/ 856623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6927 w 9161016"/>
                <a:gd name="connsiteY20" fmla="*/ 856623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6927 w 9161016"/>
                <a:gd name="connsiteY20" fmla="*/ 856623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4546 w 9161016"/>
                <a:gd name="connsiteY20" fmla="*/ 849479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4546 w 9161016"/>
                <a:gd name="connsiteY20" fmla="*/ 849479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4546 w 9161016"/>
                <a:gd name="connsiteY20" fmla="*/ 849479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4546 w 9161016"/>
                <a:gd name="connsiteY20" fmla="*/ 849479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61016"/>
                <a:gd name="connsiteY0" fmla="*/ 0 h 3087584"/>
                <a:gd name="connsiteX1" fmla="*/ 267195 w 9161016"/>
                <a:gd name="connsiteY1" fmla="*/ 17813 h 3087584"/>
                <a:gd name="connsiteX2" fmla="*/ 528452 w 9161016"/>
                <a:gd name="connsiteY2" fmla="*/ 35626 h 3087584"/>
                <a:gd name="connsiteX3" fmla="*/ 801585 w 9161016"/>
                <a:gd name="connsiteY3" fmla="*/ 59376 h 3087584"/>
                <a:gd name="connsiteX4" fmla="*/ 1045029 w 9161016"/>
                <a:gd name="connsiteY4" fmla="*/ 83127 h 3087584"/>
                <a:gd name="connsiteX5" fmla="*/ 1294411 w 9161016"/>
                <a:gd name="connsiteY5" fmla="*/ 112815 h 3087584"/>
                <a:gd name="connsiteX6" fmla="*/ 1502229 w 9161016"/>
                <a:gd name="connsiteY6" fmla="*/ 142504 h 3087584"/>
                <a:gd name="connsiteX7" fmla="*/ 1941616 w 9161016"/>
                <a:gd name="connsiteY7" fmla="*/ 207818 h 3087584"/>
                <a:gd name="connsiteX8" fmla="*/ 2327564 w 9161016"/>
                <a:gd name="connsiteY8" fmla="*/ 267195 h 3087584"/>
                <a:gd name="connsiteX9" fmla="*/ 2838203 w 9161016"/>
                <a:gd name="connsiteY9" fmla="*/ 356260 h 3087584"/>
                <a:gd name="connsiteX10" fmla="*/ 3063834 w 9161016"/>
                <a:gd name="connsiteY10" fmla="*/ 397823 h 3087584"/>
                <a:gd name="connsiteX11" fmla="*/ 3331029 w 9161016"/>
                <a:gd name="connsiteY11" fmla="*/ 445325 h 3087584"/>
                <a:gd name="connsiteX12" fmla="*/ 3758541 w 9161016"/>
                <a:gd name="connsiteY12" fmla="*/ 522514 h 3087584"/>
                <a:gd name="connsiteX13" fmla="*/ 4093431 w 9161016"/>
                <a:gd name="connsiteY13" fmla="*/ 580684 h 3087584"/>
                <a:gd name="connsiteX14" fmla="*/ 4566063 w 9161016"/>
                <a:gd name="connsiteY14" fmla="*/ 659080 h 3087584"/>
                <a:gd name="connsiteX15" fmla="*/ 4839195 w 9161016"/>
                <a:gd name="connsiteY15" fmla="*/ 700644 h 3087584"/>
                <a:gd name="connsiteX16" fmla="*/ 5088577 w 9161016"/>
                <a:gd name="connsiteY16" fmla="*/ 730332 h 3087584"/>
                <a:gd name="connsiteX17" fmla="*/ 5343896 w 9161016"/>
                <a:gd name="connsiteY17" fmla="*/ 760021 h 3087584"/>
                <a:gd name="connsiteX18" fmla="*/ 5746483 w 9161016"/>
                <a:gd name="connsiteY18" fmla="*/ 806346 h 3087584"/>
                <a:gd name="connsiteX19" fmla="*/ 5980432 w 9161016"/>
                <a:gd name="connsiteY19" fmla="*/ 826541 h 3087584"/>
                <a:gd name="connsiteX20" fmla="*/ 6384546 w 9161016"/>
                <a:gd name="connsiteY20" fmla="*/ 849479 h 3087584"/>
                <a:gd name="connsiteX21" fmla="*/ 9159859 w 9161016"/>
                <a:gd name="connsiteY21" fmla="*/ 865603 h 3087584"/>
                <a:gd name="connsiteX22" fmla="*/ 9159987 w 9161016"/>
                <a:gd name="connsiteY22" fmla="*/ 3087584 h 3087584"/>
                <a:gd name="connsiteX23" fmla="*/ 0 w 9161016"/>
                <a:gd name="connsiteY23" fmla="*/ 3087584 h 3087584"/>
                <a:gd name="connsiteX24" fmla="*/ 0 w 9161016"/>
                <a:gd name="connsiteY24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746483 w 9159987"/>
                <a:gd name="connsiteY18" fmla="*/ 806346 h 3087584"/>
                <a:gd name="connsiteX19" fmla="*/ 5980432 w 9159987"/>
                <a:gd name="connsiteY19" fmla="*/ 826541 h 3087584"/>
                <a:gd name="connsiteX20" fmla="*/ 6384546 w 9159987"/>
                <a:gd name="connsiteY20" fmla="*/ 849479 h 3087584"/>
                <a:gd name="connsiteX21" fmla="*/ 9151767 w 9159987"/>
                <a:gd name="connsiteY21" fmla="*/ 857511 h 3087584"/>
                <a:gd name="connsiteX22" fmla="*/ 9159987 w 9159987"/>
                <a:gd name="connsiteY22" fmla="*/ 3087584 h 3087584"/>
                <a:gd name="connsiteX23" fmla="*/ 0 w 9159987"/>
                <a:gd name="connsiteY23" fmla="*/ 3087584 h 3087584"/>
                <a:gd name="connsiteX24" fmla="*/ 0 w 9159987"/>
                <a:gd name="connsiteY24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746483 w 9159987"/>
                <a:gd name="connsiteY18" fmla="*/ 806346 h 3087584"/>
                <a:gd name="connsiteX19" fmla="*/ 6384546 w 9159987"/>
                <a:gd name="connsiteY19" fmla="*/ 849479 h 3087584"/>
                <a:gd name="connsiteX20" fmla="*/ 9151767 w 9159987"/>
                <a:gd name="connsiteY20" fmla="*/ 857511 h 3087584"/>
                <a:gd name="connsiteX21" fmla="*/ 9159987 w 9159987"/>
                <a:gd name="connsiteY21" fmla="*/ 3087584 h 3087584"/>
                <a:gd name="connsiteX22" fmla="*/ 0 w 9159987"/>
                <a:gd name="connsiteY22" fmla="*/ 3087584 h 3087584"/>
                <a:gd name="connsiteX23" fmla="*/ 0 w 9159987"/>
                <a:gd name="connsiteY23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746483 w 9159987"/>
                <a:gd name="connsiteY18" fmla="*/ 806346 h 3087584"/>
                <a:gd name="connsiteX19" fmla="*/ 6384546 w 9159987"/>
                <a:gd name="connsiteY19" fmla="*/ 849479 h 3087584"/>
                <a:gd name="connsiteX20" fmla="*/ 9151767 w 9159987"/>
                <a:gd name="connsiteY20" fmla="*/ 857511 h 3087584"/>
                <a:gd name="connsiteX21" fmla="*/ 9159987 w 9159987"/>
                <a:gd name="connsiteY21" fmla="*/ 3087584 h 3087584"/>
                <a:gd name="connsiteX22" fmla="*/ 0 w 9159987"/>
                <a:gd name="connsiteY22" fmla="*/ 3087584 h 3087584"/>
                <a:gd name="connsiteX23" fmla="*/ 0 w 9159987"/>
                <a:gd name="connsiteY23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858165 w 9159987"/>
                <a:gd name="connsiteY18" fmla="*/ 820306 h 3087584"/>
                <a:gd name="connsiteX19" fmla="*/ 6384546 w 9159987"/>
                <a:gd name="connsiteY19" fmla="*/ 849479 h 3087584"/>
                <a:gd name="connsiteX20" fmla="*/ 9151767 w 9159987"/>
                <a:gd name="connsiteY20" fmla="*/ 857511 h 3087584"/>
                <a:gd name="connsiteX21" fmla="*/ 9159987 w 9159987"/>
                <a:gd name="connsiteY21" fmla="*/ 3087584 h 3087584"/>
                <a:gd name="connsiteX22" fmla="*/ 0 w 9159987"/>
                <a:gd name="connsiteY22" fmla="*/ 3087584 h 3087584"/>
                <a:gd name="connsiteX23" fmla="*/ 0 w 9159987"/>
                <a:gd name="connsiteY23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858165 w 9159987"/>
                <a:gd name="connsiteY18" fmla="*/ 820306 h 3087584"/>
                <a:gd name="connsiteX19" fmla="*/ 6384546 w 9159987"/>
                <a:gd name="connsiteY19" fmla="*/ 849479 h 3087584"/>
                <a:gd name="connsiteX20" fmla="*/ 9151767 w 9159987"/>
                <a:gd name="connsiteY20" fmla="*/ 857511 h 3087584"/>
                <a:gd name="connsiteX21" fmla="*/ 9159987 w 9159987"/>
                <a:gd name="connsiteY21" fmla="*/ 3087584 h 3087584"/>
                <a:gd name="connsiteX22" fmla="*/ 0 w 9159987"/>
                <a:gd name="connsiteY22" fmla="*/ 3087584 h 3087584"/>
                <a:gd name="connsiteX23" fmla="*/ 0 w 9159987"/>
                <a:gd name="connsiteY23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858165 w 9159987"/>
                <a:gd name="connsiteY18" fmla="*/ 820306 h 3087584"/>
                <a:gd name="connsiteX19" fmla="*/ 6384546 w 9159987"/>
                <a:gd name="connsiteY19" fmla="*/ 849479 h 3087584"/>
                <a:gd name="connsiteX20" fmla="*/ 9151767 w 9159987"/>
                <a:gd name="connsiteY20" fmla="*/ 857511 h 3087584"/>
                <a:gd name="connsiteX21" fmla="*/ 9159987 w 9159987"/>
                <a:gd name="connsiteY21" fmla="*/ 3087584 h 3087584"/>
                <a:gd name="connsiteX22" fmla="*/ 0 w 9159987"/>
                <a:gd name="connsiteY22" fmla="*/ 3087584 h 3087584"/>
                <a:gd name="connsiteX23" fmla="*/ 0 w 9159987"/>
                <a:gd name="connsiteY23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858165 w 9159987"/>
                <a:gd name="connsiteY18" fmla="*/ 820306 h 3087584"/>
                <a:gd name="connsiteX19" fmla="*/ 6384546 w 9159987"/>
                <a:gd name="connsiteY19" fmla="*/ 849479 h 3087584"/>
                <a:gd name="connsiteX20" fmla="*/ 9151767 w 9159987"/>
                <a:gd name="connsiteY20" fmla="*/ 857511 h 3087584"/>
                <a:gd name="connsiteX21" fmla="*/ 9159987 w 9159987"/>
                <a:gd name="connsiteY21" fmla="*/ 3087584 h 3087584"/>
                <a:gd name="connsiteX22" fmla="*/ 0 w 9159987"/>
                <a:gd name="connsiteY22" fmla="*/ 3087584 h 3087584"/>
                <a:gd name="connsiteX23" fmla="*/ 0 w 9159987"/>
                <a:gd name="connsiteY23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858165 w 9159987"/>
                <a:gd name="connsiteY18" fmla="*/ 820306 h 3087584"/>
                <a:gd name="connsiteX19" fmla="*/ 6384546 w 9159987"/>
                <a:gd name="connsiteY19" fmla="*/ 849479 h 3087584"/>
                <a:gd name="connsiteX20" fmla="*/ 9151767 w 9159987"/>
                <a:gd name="connsiteY20" fmla="*/ 857511 h 3087584"/>
                <a:gd name="connsiteX21" fmla="*/ 9159987 w 9159987"/>
                <a:gd name="connsiteY21" fmla="*/ 3087584 h 3087584"/>
                <a:gd name="connsiteX22" fmla="*/ 0 w 9159987"/>
                <a:gd name="connsiteY22" fmla="*/ 3087584 h 3087584"/>
                <a:gd name="connsiteX23" fmla="*/ 0 w 9159987"/>
                <a:gd name="connsiteY23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858165 w 9159987"/>
                <a:gd name="connsiteY18" fmla="*/ 820306 h 3087584"/>
                <a:gd name="connsiteX19" fmla="*/ 6384546 w 9159987"/>
                <a:gd name="connsiteY19" fmla="*/ 849479 h 3087584"/>
                <a:gd name="connsiteX20" fmla="*/ 9151767 w 9159987"/>
                <a:gd name="connsiteY20" fmla="*/ 857511 h 3087584"/>
                <a:gd name="connsiteX21" fmla="*/ 9159987 w 9159987"/>
                <a:gd name="connsiteY21" fmla="*/ 3087584 h 3087584"/>
                <a:gd name="connsiteX22" fmla="*/ 0 w 9159987"/>
                <a:gd name="connsiteY22" fmla="*/ 3087584 h 3087584"/>
                <a:gd name="connsiteX23" fmla="*/ 0 w 9159987"/>
                <a:gd name="connsiteY23" fmla="*/ 0 h 3087584"/>
                <a:gd name="connsiteX0" fmla="*/ 5938 w 9159987"/>
                <a:gd name="connsiteY0" fmla="*/ 0 h 3087584"/>
                <a:gd name="connsiteX1" fmla="*/ 267195 w 9159987"/>
                <a:gd name="connsiteY1" fmla="*/ 17813 h 3087584"/>
                <a:gd name="connsiteX2" fmla="*/ 528452 w 9159987"/>
                <a:gd name="connsiteY2" fmla="*/ 35626 h 3087584"/>
                <a:gd name="connsiteX3" fmla="*/ 801585 w 9159987"/>
                <a:gd name="connsiteY3" fmla="*/ 59376 h 3087584"/>
                <a:gd name="connsiteX4" fmla="*/ 1045029 w 9159987"/>
                <a:gd name="connsiteY4" fmla="*/ 83127 h 3087584"/>
                <a:gd name="connsiteX5" fmla="*/ 1294411 w 9159987"/>
                <a:gd name="connsiteY5" fmla="*/ 112815 h 3087584"/>
                <a:gd name="connsiteX6" fmla="*/ 1502229 w 9159987"/>
                <a:gd name="connsiteY6" fmla="*/ 142504 h 3087584"/>
                <a:gd name="connsiteX7" fmla="*/ 1941616 w 9159987"/>
                <a:gd name="connsiteY7" fmla="*/ 207818 h 3087584"/>
                <a:gd name="connsiteX8" fmla="*/ 2327564 w 9159987"/>
                <a:gd name="connsiteY8" fmla="*/ 267195 h 3087584"/>
                <a:gd name="connsiteX9" fmla="*/ 2838203 w 9159987"/>
                <a:gd name="connsiteY9" fmla="*/ 356260 h 3087584"/>
                <a:gd name="connsiteX10" fmla="*/ 3063834 w 9159987"/>
                <a:gd name="connsiteY10" fmla="*/ 397823 h 3087584"/>
                <a:gd name="connsiteX11" fmla="*/ 3331029 w 9159987"/>
                <a:gd name="connsiteY11" fmla="*/ 445325 h 3087584"/>
                <a:gd name="connsiteX12" fmla="*/ 3758541 w 9159987"/>
                <a:gd name="connsiteY12" fmla="*/ 522514 h 3087584"/>
                <a:gd name="connsiteX13" fmla="*/ 4093431 w 9159987"/>
                <a:gd name="connsiteY13" fmla="*/ 580684 h 3087584"/>
                <a:gd name="connsiteX14" fmla="*/ 4566063 w 9159987"/>
                <a:gd name="connsiteY14" fmla="*/ 659080 h 3087584"/>
                <a:gd name="connsiteX15" fmla="*/ 4839195 w 9159987"/>
                <a:gd name="connsiteY15" fmla="*/ 700644 h 3087584"/>
                <a:gd name="connsiteX16" fmla="*/ 5088577 w 9159987"/>
                <a:gd name="connsiteY16" fmla="*/ 730332 h 3087584"/>
                <a:gd name="connsiteX17" fmla="*/ 5343896 w 9159987"/>
                <a:gd name="connsiteY17" fmla="*/ 760021 h 3087584"/>
                <a:gd name="connsiteX18" fmla="*/ 5858165 w 9159987"/>
                <a:gd name="connsiteY18" fmla="*/ 820306 h 3087584"/>
                <a:gd name="connsiteX19" fmla="*/ 6384546 w 9159987"/>
                <a:gd name="connsiteY19" fmla="*/ 849479 h 3087584"/>
                <a:gd name="connsiteX20" fmla="*/ 9151767 w 9159987"/>
                <a:gd name="connsiteY20" fmla="*/ 857511 h 3087584"/>
                <a:gd name="connsiteX21" fmla="*/ 9159987 w 9159987"/>
                <a:gd name="connsiteY21" fmla="*/ 3087584 h 3087584"/>
                <a:gd name="connsiteX22" fmla="*/ 0 w 9159987"/>
                <a:gd name="connsiteY22" fmla="*/ 3087584 h 3087584"/>
                <a:gd name="connsiteX23" fmla="*/ 0 w 9159987"/>
                <a:gd name="connsiteY23" fmla="*/ 0 h 3087584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28452 w 9159987"/>
                <a:gd name="connsiteY2" fmla="*/ 38753 h 3090711"/>
                <a:gd name="connsiteX3" fmla="*/ 801585 w 9159987"/>
                <a:gd name="connsiteY3" fmla="*/ 62503 h 3090711"/>
                <a:gd name="connsiteX4" fmla="*/ 1045029 w 9159987"/>
                <a:gd name="connsiteY4" fmla="*/ 86254 h 3090711"/>
                <a:gd name="connsiteX5" fmla="*/ 1294411 w 9159987"/>
                <a:gd name="connsiteY5" fmla="*/ 115942 h 3090711"/>
                <a:gd name="connsiteX6" fmla="*/ 1502229 w 9159987"/>
                <a:gd name="connsiteY6" fmla="*/ 14563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1274 w 9159987"/>
                <a:gd name="connsiteY2" fmla="*/ 17812 h 3090711"/>
                <a:gd name="connsiteX3" fmla="*/ 801585 w 9159987"/>
                <a:gd name="connsiteY3" fmla="*/ 62503 h 3090711"/>
                <a:gd name="connsiteX4" fmla="*/ 1045029 w 9159987"/>
                <a:gd name="connsiteY4" fmla="*/ 86254 h 3090711"/>
                <a:gd name="connsiteX5" fmla="*/ 1294411 w 9159987"/>
                <a:gd name="connsiteY5" fmla="*/ 115942 h 3090711"/>
                <a:gd name="connsiteX6" fmla="*/ 1502229 w 9159987"/>
                <a:gd name="connsiteY6" fmla="*/ 14563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1274 w 9159987"/>
                <a:gd name="connsiteY2" fmla="*/ 17812 h 3090711"/>
                <a:gd name="connsiteX3" fmla="*/ 829506 w 9159987"/>
                <a:gd name="connsiteY3" fmla="*/ 48543 h 3090711"/>
                <a:gd name="connsiteX4" fmla="*/ 1045029 w 9159987"/>
                <a:gd name="connsiteY4" fmla="*/ 86254 h 3090711"/>
                <a:gd name="connsiteX5" fmla="*/ 1294411 w 9159987"/>
                <a:gd name="connsiteY5" fmla="*/ 115942 h 3090711"/>
                <a:gd name="connsiteX6" fmla="*/ 1502229 w 9159987"/>
                <a:gd name="connsiteY6" fmla="*/ 14563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1274 w 9159987"/>
                <a:gd name="connsiteY2" fmla="*/ 17812 h 3090711"/>
                <a:gd name="connsiteX3" fmla="*/ 878367 w 9159987"/>
                <a:gd name="connsiteY3" fmla="*/ 20622 h 3090711"/>
                <a:gd name="connsiteX4" fmla="*/ 1045029 w 9159987"/>
                <a:gd name="connsiteY4" fmla="*/ 86254 h 3090711"/>
                <a:gd name="connsiteX5" fmla="*/ 1294411 w 9159987"/>
                <a:gd name="connsiteY5" fmla="*/ 115942 h 3090711"/>
                <a:gd name="connsiteX6" fmla="*/ 1502229 w 9159987"/>
                <a:gd name="connsiteY6" fmla="*/ 14563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1274 w 9159987"/>
                <a:gd name="connsiteY2" fmla="*/ 17812 h 3090711"/>
                <a:gd name="connsiteX3" fmla="*/ 878367 w 9159987"/>
                <a:gd name="connsiteY3" fmla="*/ 20622 h 3090711"/>
                <a:gd name="connsiteX4" fmla="*/ 1114831 w 9159987"/>
                <a:gd name="connsiteY4" fmla="*/ 44373 h 3090711"/>
                <a:gd name="connsiteX5" fmla="*/ 1294411 w 9159987"/>
                <a:gd name="connsiteY5" fmla="*/ 115942 h 3090711"/>
                <a:gd name="connsiteX6" fmla="*/ 1502229 w 9159987"/>
                <a:gd name="connsiteY6" fmla="*/ 14563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1274 w 9159987"/>
                <a:gd name="connsiteY2" fmla="*/ 17812 h 3090711"/>
                <a:gd name="connsiteX3" fmla="*/ 878367 w 9159987"/>
                <a:gd name="connsiteY3" fmla="*/ 20622 h 3090711"/>
                <a:gd name="connsiteX4" fmla="*/ 1114831 w 9159987"/>
                <a:gd name="connsiteY4" fmla="*/ 44373 h 3090711"/>
                <a:gd name="connsiteX5" fmla="*/ 1315352 w 9159987"/>
                <a:gd name="connsiteY5" fmla="*/ 95002 h 3090711"/>
                <a:gd name="connsiteX6" fmla="*/ 1502229 w 9159987"/>
                <a:gd name="connsiteY6" fmla="*/ 14563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1274 w 9159987"/>
                <a:gd name="connsiteY2" fmla="*/ 17812 h 3090711"/>
                <a:gd name="connsiteX3" fmla="*/ 878367 w 9159987"/>
                <a:gd name="connsiteY3" fmla="*/ 20622 h 3090711"/>
                <a:gd name="connsiteX4" fmla="*/ 1114831 w 9159987"/>
                <a:gd name="connsiteY4" fmla="*/ 44373 h 3090711"/>
                <a:gd name="connsiteX5" fmla="*/ 1315352 w 9159987"/>
                <a:gd name="connsiteY5" fmla="*/ 95002 h 3090711"/>
                <a:gd name="connsiteX6" fmla="*/ 1544109 w 9159987"/>
                <a:gd name="connsiteY6" fmla="*/ 13167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1274 w 9159987"/>
                <a:gd name="connsiteY2" fmla="*/ 17812 h 3090711"/>
                <a:gd name="connsiteX3" fmla="*/ 878367 w 9159987"/>
                <a:gd name="connsiteY3" fmla="*/ 20622 h 3090711"/>
                <a:gd name="connsiteX4" fmla="*/ 1114831 w 9159987"/>
                <a:gd name="connsiteY4" fmla="*/ 44373 h 3090711"/>
                <a:gd name="connsiteX5" fmla="*/ 1343272 w 9159987"/>
                <a:gd name="connsiteY5" fmla="*/ 74062 h 3090711"/>
                <a:gd name="connsiteX6" fmla="*/ 1544109 w 9159987"/>
                <a:gd name="connsiteY6" fmla="*/ 13167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78367 w 9159987"/>
                <a:gd name="connsiteY3" fmla="*/ 20622 h 3090711"/>
                <a:gd name="connsiteX4" fmla="*/ 1114831 w 9159987"/>
                <a:gd name="connsiteY4" fmla="*/ 44373 h 3090711"/>
                <a:gd name="connsiteX5" fmla="*/ 1343272 w 9159987"/>
                <a:gd name="connsiteY5" fmla="*/ 74062 h 3090711"/>
                <a:gd name="connsiteX6" fmla="*/ 1544109 w 9159987"/>
                <a:gd name="connsiteY6" fmla="*/ 13167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78367 w 9159987"/>
                <a:gd name="connsiteY3" fmla="*/ 20622 h 3090711"/>
                <a:gd name="connsiteX4" fmla="*/ 1114831 w 9159987"/>
                <a:gd name="connsiteY4" fmla="*/ 44373 h 3090711"/>
                <a:gd name="connsiteX5" fmla="*/ 1343272 w 9159987"/>
                <a:gd name="connsiteY5" fmla="*/ 74062 h 3090711"/>
                <a:gd name="connsiteX6" fmla="*/ 1544109 w 9159987"/>
                <a:gd name="connsiteY6" fmla="*/ 13167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114831 w 9159987"/>
                <a:gd name="connsiteY4" fmla="*/ 44373 h 3090711"/>
                <a:gd name="connsiteX5" fmla="*/ 1343272 w 9159987"/>
                <a:gd name="connsiteY5" fmla="*/ 74062 h 3090711"/>
                <a:gd name="connsiteX6" fmla="*/ 1544109 w 9159987"/>
                <a:gd name="connsiteY6" fmla="*/ 13167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114831 w 9159987"/>
                <a:gd name="connsiteY4" fmla="*/ 44373 h 3090711"/>
                <a:gd name="connsiteX5" fmla="*/ 1343272 w 9159987"/>
                <a:gd name="connsiteY5" fmla="*/ 74062 h 3090711"/>
                <a:gd name="connsiteX6" fmla="*/ 1544109 w 9159987"/>
                <a:gd name="connsiteY6" fmla="*/ 13167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114831 w 9159987"/>
                <a:gd name="connsiteY4" fmla="*/ 44373 h 3090711"/>
                <a:gd name="connsiteX5" fmla="*/ 1343272 w 9159987"/>
                <a:gd name="connsiteY5" fmla="*/ 88350 h 3090711"/>
                <a:gd name="connsiteX6" fmla="*/ 1544109 w 9159987"/>
                <a:gd name="connsiteY6" fmla="*/ 13167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105306 w 9159987"/>
                <a:gd name="connsiteY4" fmla="*/ 51516 h 3090711"/>
                <a:gd name="connsiteX5" fmla="*/ 1343272 w 9159987"/>
                <a:gd name="connsiteY5" fmla="*/ 88350 h 3090711"/>
                <a:gd name="connsiteX6" fmla="*/ 1544109 w 9159987"/>
                <a:gd name="connsiteY6" fmla="*/ 131671 h 3090711"/>
                <a:gd name="connsiteX7" fmla="*/ 1941616 w 9159987"/>
                <a:gd name="connsiteY7" fmla="*/ 210945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105306 w 9159987"/>
                <a:gd name="connsiteY4" fmla="*/ 51516 h 3090711"/>
                <a:gd name="connsiteX5" fmla="*/ 1343272 w 9159987"/>
                <a:gd name="connsiteY5" fmla="*/ 88350 h 3090711"/>
                <a:gd name="connsiteX6" fmla="*/ 1544109 w 9159987"/>
                <a:gd name="connsiteY6" fmla="*/ 131671 h 3090711"/>
                <a:gd name="connsiteX7" fmla="*/ 1946378 w 9159987"/>
                <a:gd name="connsiteY7" fmla="*/ 201420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105306 w 9159987"/>
                <a:gd name="connsiteY4" fmla="*/ 51516 h 3090711"/>
                <a:gd name="connsiteX5" fmla="*/ 1343272 w 9159987"/>
                <a:gd name="connsiteY5" fmla="*/ 88350 h 3090711"/>
                <a:gd name="connsiteX6" fmla="*/ 1551252 w 9159987"/>
                <a:gd name="connsiteY6" fmla="*/ 129290 h 3090711"/>
                <a:gd name="connsiteX7" fmla="*/ 1946378 w 9159987"/>
                <a:gd name="connsiteY7" fmla="*/ 201420 h 3090711"/>
                <a:gd name="connsiteX8" fmla="*/ 2327564 w 9159987"/>
                <a:gd name="connsiteY8" fmla="*/ 270322 h 3090711"/>
                <a:gd name="connsiteX9" fmla="*/ 2838203 w 9159987"/>
                <a:gd name="connsiteY9" fmla="*/ 359387 h 3090711"/>
                <a:gd name="connsiteX10" fmla="*/ 3063834 w 9159987"/>
                <a:gd name="connsiteY10" fmla="*/ 400950 h 3090711"/>
                <a:gd name="connsiteX11" fmla="*/ 3331029 w 9159987"/>
                <a:gd name="connsiteY11" fmla="*/ 448452 h 3090711"/>
                <a:gd name="connsiteX12" fmla="*/ 3758541 w 9159987"/>
                <a:gd name="connsiteY12" fmla="*/ 525641 h 3090711"/>
                <a:gd name="connsiteX13" fmla="*/ 4093431 w 9159987"/>
                <a:gd name="connsiteY13" fmla="*/ 583811 h 3090711"/>
                <a:gd name="connsiteX14" fmla="*/ 4566063 w 9159987"/>
                <a:gd name="connsiteY14" fmla="*/ 662207 h 3090711"/>
                <a:gd name="connsiteX15" fmla="*/ 4839195 w 9159987"/>
                <a:gd name="connsiteY15" fmla="*/ 703771 h 3090711"/>
                <a:gd name="connsiteX16" fmla="*/ 5088577 w 9159987"/>
                <a:gd name="connsiteY16" fmla="*/ 733459 h 3090711"/>
                <a:gd name="connsiteX17" fmla="*/ 5343896 w 9159987"/>
                <a:gd name="connsiteY17" fmla="*/ 763148 h 3090711"/>
                <a:gd name="connsiteX18" fmla="*/ 5858165 w 9159987"/>
                <a:gd name="connsiteY18" fmla="*/ 823433 h 3090711"/>
                <a:gd name="connsiteX19" fmla="*/ 6384546 w 9159987"/>
                <a:gd name="connsiteY19" fmla="*/ 852606 h 3090711"/>
                <a:gd name="connsiteX20" fmla="*/ 9151767 w 9159987"/>
                <a:gd name="connsiteY20" fmla="*/ 860638 h 3090711"/>
                <a:gd name="connsiteX21" fmla="*/ 9159987 w 9159987"/>
                <a:gd name="connsiteY21" fmla="*/ 3090711 h 3090711"/>
                <a:gd name="connsiteX22" fmla="*/ 0 w 9159987"/>
                <a:gd name="connsiteY22" fmla="*/ 3090711 h 3090711"/>
                <a:gd name="connsiteX23" fmla="*/ 0 w 9159987"/>
                <a:gd name="connsiteY23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343272 w 9159987"/>
                <a:gd name="connsiteY4" fmla="*/ 88350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38203 w 9159987"/>
                <a:gd name="connsiteY8" fmla="*/ 359387 h 3090711"/>
                <a:gd name="connsiteX9" fmla="*/ 3063834 w 9159987"/>
                <a:gd name="connsiteY9" fmla="*/ 400950 h 3090711"/>
                <a:gd name="connsiteX10" fmla="*/ 3331029 w 9159987"/>
                <a:gd name="connsiteY10" fmla="*/ 448452 h 3090711"/>
                <a:gd name="connsiteX11" fmla="*/ 3758541 w 9159987"/>
                <a:gd name="connsiteY11" fmla="*/ 525641 h 3090711"/>
                <a:gd name="connsiteX12" fmla="*/ 4093431 w 9159987"/>
                <a:gd name="connsiteY12" fmla="*/ 583811 h 3090711"/>
                <a:gd name="connsiteX13" fmla="*/ 4566063 w 9159987"/>
                <a:gd name="connsiteY13" fmla="*/ 662207 h 3090711"/>
                <a:gd name="connsiteX14" fmla="*/ 4839195 w 9159987"/>
                <a:gd name="connsiteY14" fmla="*/ 703771 h 3090711"/>
                <a:gd name="connsiteX15" fmla="*/ 5088577 w 9159987"/>
                <a:gd name="connsiteY15" fmla="*/ 733459 h 3090711"/>
                <a:gd name="connsiteX16" fmla="*/ 5343896 w 9159987"/>
                <a:gd name="connsiteY16" fmla="*/ 763148 h 3090711"/>
                <a:gd name="connsiteX17" fmla="*/ 5858165 w 9159987"/>
                <a:gd name="connsiteY17" fmla="*/ 823433 h 3090711"/>
                <a:gd name="connsiteX18" fmla="*/ 6384546 w 9159987"/>
                <a:gd name="connsiteY18" fmla="*/ 852606 h 3090711"/>
                <a:gd name="connsiteX19" fmla="*/ 9151767 w 9159987"/>
                <a:gd name="connsiteY19" fmla="*/ 860638 h 3090711"/>
                <a:gd name="connsiteX20" fmla="*/ 9159987 w 9159987"/>
                <a:gd name="connsiteY20" fmla="*/ 3090711 h 3090711"/>
                <a:gd name="connsiteX21" fmla="*/ 0 w 9159987"/>
                <a:gd name="connsiteY21" fmla="*/ 3090711 h 3090711"/>
                <a:gd name="connsiteX22" fmla="*/ 0 w 9159987"/>
                <a:gd name="connsiteY22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343272 w 9159987"/>
                <a:gd name="connsiteY4" fmla="*/ 88350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38203 w 9159987"/>
                <a:gd name="connsiteY8" fmla="*/ 359387 h 3090711"/>
                <a:gd name="connsiteX9" fmla="*/ 3063834 w 9159987"/>
                <a:gd name="connsiteY9" fmla="*/ 400950 h 3090711"/>
                <a:gd name="connsiteX10" fmla="*/ 3331029 w 9159987"/>
                <a:gd name="connsiteY10" fmla="*/ 448452 h 3090711"/>
                <a:gd name="connsiteX11" fmla="*/ 3758541 w 9159987"/>
                <a:gd name="connsiteY11" fmla="*/ 525641 h 3090711"/>
                <a:gd name="connsiteX12" fmla="*/ 4093431 w 9159987"/>
                <a:gd name="connsiteY12" fmla="*/ 583811 h 3090711"/>
                <a:gd name="connsiteX13" fmla="*/ 4566063 w 9159987"/>
                <a:gd name="connsiteY13" fmla="*/ 662207 h 3090711"/>
                <a:gd name="connsiteX14" fmla="*/ 4839195 w 9159987"/>
                <a:gd name="connsiteY14" fmla="*/ 703771 h 3090711"/>
                <a:gd name="connsiteX15" fmla="*/ 5088577 w 9159987"/>
                <a:gd name="connsiteY15" fmla="*/ 733459 h 3090711"/>
                <a:gd name="connsiteX16" fmla="*/ 5343896 w 9159987"/>
                <a:gd name="connsiteY16" fmla="*/ 763148 h 3090711"/>
                <a:gd name="connsiteX17" fmla="*/ 5858165 w 9159987"/>
                <a:gd name="connsiteY17" fmla="*/ 823433 h 3090711"/>
                <a:gd name="connsiteX18" fmla="*/ 6384546 w 9159987"/>
                <a:gd name="connsiteY18" fmla="*/ 852606 h 3090711"/>
                <a:gd name="connsiteX19" fmla="*/ 9151767 w 9159987"/>
                <a:gd name="connsiteY19" fmla="*/ 860638 h 3090711"/>
                <a:gd name="connsiteX20" fmla="*/ 9159987 w 9159987"/>
                <a:gd name="connsiteY20" fmla="*/ 3090711 h 3090711"/>
                <a:gd name="connsiteX21" fmla="*/ 0 w 9159987"/>
                <a:gd name="connsiteY21" fmla="*/ 3090711 h 3090711"/>
                <a:gd name="connsiteX22" fmla="*/ 0 w 9159987"/>
                <a:gd name="connsiteY22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343272 w 9159987"/>
                <a:gd name="connsiteY4" fmla="*/ 88350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38203 w 9159987"/>
                <a:gd name="connsiteY8" fmla="*/ 359387 h 3090711"/>
                <a:gd name="connsiteX9" fmla="*/ 3063834 w 9159987"/>
                <a:gd name="connsiteY9" fmla="*/ 400950 h 3090711"/>
                <a:gd name="connsiteX10" fmla="*/ 3331029 w 9159987"/>
                <a:gd name="connsiteY10" fmla="*/ 448452 h 3090711"/>
                <a:gd name="connsiteX11" fmla="*/ 3758541 w 9159987"/>
                <a:gd name="connsiteY11" fmla="*/ 525641 h 3090711"/>
                <a:gd name="connsiteX12" fmla="*/ 4093431 w 9159987"/>
                <a:gd name="connsiteY12" fmla="*/ 583811 h 3090711"/>
                <a:gd name="connsiteX13" fmla="*/ 4566063 w 9159987"/>
                <a:gd name="connsiteY13" fmla="*/ 662207 h 3090711"/>
                <a:gd name="connsiteX14" fmla="*/ 4839195 w 9159987"/>
                <a:gd name="connsiteY14" fmla="*/ 703771 h 3090711"/>
                <a:gd name="connsiteX15" fmla="*/ 5088577 w 9159987"/>
                <a:gd name="connsiteY15" fmla="*/ 733459 h 3090711"/>
                <a:gd name="connsiteX16" fmla="*/ 5343896 w 9159987"/>
                <a:gd name="connsiteY16" fmla="*/ 763148 h 3090711"/>
                <a:gd name="connsiteX17" fmla="*/ 5858165 w 9159987"/>
                <a:gd name="connsiteY17" fmla="*/ 823433 h 3090711"/>
                <a:gd name="connsiteX18" fmla="*/ 6459702 w 9159987"/>
                <a:gd name="connsiteY18" fmla="*/ 862000 h 3090711"/>
                <a:gd name="connsiteX19" fmla="*/ 9151767 w 9159987"/>
                <a:gd name="connsiteY19" fmla="*/ 860638 h 3090711"/>
                <a:gd name="connsiteX20" fmla="*/ 9159987 w 9159987"/>
                <a:gd name="connsiteY20" fmla="*/ 3090711 h 3090711"/>
                <a:gd name="connsiteX21" fmla="*/ 0 w 9159987"/>
                <a:gd name="connsiteY21" fmla="*/ 3090711 h 3090711"/>
                <a:gd name="connsiteX22" fmla="*/ 0 w 9159987"/>
                <a:gd name="connsiteY22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343272 w 9159987"/>
                <a:gd name="connsiteY4" fmla="*/ 88350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38203 w 9159987"/>
                <a:gd name="connsiteY8" fmla="*/ 359387 h 3090711"/>
                <a:gd name="connsiteX9" fmla="*/ 3063834 w 9159987"/>
                <a:gd name="connsiteY9" fmla="*/ 400950 h 3090711"/>
                <a:gd name="connsiteX10" fmla="*/ 3331029 w 9159987"/>
                <a:gd name="connsiteY10" fmla="*/ 448452 h 3090711"/>
                <a:gd name="connsiteX11" fmla="*/ 3758541 w 9159987"/>
                <a:gd name="connsiteY11" fmla="*/ 525641 h 3090711"/>
                <a:gd name="connsiteX12" fmla="*/ 4093431 w 9159987"/>
                <a:gd name="connsiteY12" fmla="*/ 583811 h 3090711"/>
                <a:gd name="connsiteX13" fmla="*/ 4566063 w 9159987"/>
                <a:gd name="connsiteY13" fmla="*/ 662207 h 3090711"/>
                <a:gd name="connsiteX14" fmla="*/ 4839195 w 9159987"/>
                <a:gd name="connsiteY14" fmla="*/ 703771 h 3090711"/>
                <a:gd name="connsiteX15" fmla="*/ 5088577 w 9159987"/>
                <a:gd name="connsiteY15" fmla="*/ 733459 h 3090711"/>
                <a:gd name="connsiteX16" fmla="*/ 5343896 w 9159987"/>
                <a:gd name="connsiteY16" fmla="*/ 763148 h 3090711"/>
                <a:gd name="connsiteX17" fmla="*/ 5858165 w 9159987"/>
                <a:gd name="connsiteY17" fmla="*/ 823433 h 3090711"/>
                <a:gd name="connsiteX18" fmla="*/ 6459702 w 9159987"/>
                <a:gd name="connsiteY18" fmla="*/ 862000 h 3090711"/>
                <a:gd name="connsiteX19" fmla="*/ 9151767 w 9159987"/>
                <a:gd name="connsiteY19" fmla="*/ 860638 h 3090711"/>
                <a:gd name="connsiteX20" fmla="*/ 9159987 w 9159987"/>
                <a:gd name="connsiteY20" fmla="*/ 3090711 h 3090711"/>
                <a:gd name="connsiteX21" fmla="*/ 0 w 9159987"/>
                <a:gd name="connsiteY21" fmla="*/ 3090711 h 3090711"/>
                <a:gd name="connsiteX22" fmla="*/ 0 w 9159987"/>
                <a:gd name="connsiteY22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343272 w 9159987"/>
                <a:gd name="connsiteY4" fmla="*/ 88350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38203 w 9159987"/>
                <a:gd name="connsiteY8" fmla="*/ 359387 h 3090711"/>
                <a:gd name="connsiteX9" fmla="*/ 3063834 w 9159987"/>
                <a:gd name="connsiteY9" fmla="*/ 400950 h 3090711"/>
                <a:gd name="connsiteX10" fmla="*/ 3331029 w 9159987"/>
                <a:gd name="connsiteY10" fmla="*/ 448452 h 3090711"/>
                <a:gd name="connsiteX11" fmla="*/ 3758541 w 9159987"/>
                <a:gd name="connsiteY11" fmla="*/ 525641 h 3090711"/>
                <a:gd name="connsiteX12" fmla="*/ 4093431 w 9159987"/>
                <a:gd name="connsiteY12" fmla="*/ 583811 h 3090711"/>
                <a:gd name="connsiteX13" fmla="*/ 4566063 w 9159987"/>
                <a:gd name="connsiteY13" fmla="*/ 662207 h 3090711"/>
                <a:gd name="connsiteX14" fmla="*/ 4839195 w 9159987"/>
                <a:gd name="connsiteY14" fmla="*/ 703771 h 3090711"/>
                <a:gd name="connsiteX15" fmla="*/ 5088577 w 9159987"/>
                <a:gd name="connsiteY15" fmla="*/ 733459 h 3090711"/>
                <a:gd name="connsiteX16" fmla="*/ 5343896 w 9159987"/>
                <a:gd name="connsiteY16" fmla="*/ 763148 h 3090711"/>
                <a:gd name="connsiteX17" fmla="*/ 5858165 w 9159987"/>
                <a:gd name="connsiteY17" fmla="*/ 823433 h 3090711"/>
                <a:gd name="connsiteX18" fmla="*/ 6459702 w 9159987"/>
                <a:gd name="connsiteY18" fmla="*/ 862000 h 3090711"/>
                <a:gd name="connsiteX19" fmla="*/ 9151767 w 9159987"/>
                <a:gd name="connsiteY19" fmla="*/ 860638 h 3090711"/>
                <a:gd name="connsiteX20" fmla="*/ 9159987 w 9159987"/>
                <a:gd name="connsiteY20" fmla="*/ 3090711 h 3090711"/>
                <a:gd name="connsiteX21" fmla="*/ 0 w 9159987"/>
                <a:gd name="connsiteY21" fmla="*/ 3090711 h 3090711"/>
                <a:gd name="connsiteX22" fmla="*/ 0 w 9159987"/>
                <a:gd name="connsiteY22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343272 w 9159987"/>
                <a:gd name="connsiteY4" fmla="*/ 88350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38203 w 9159987"/>
                <a:gd name="connsiteY8" fmla="*/ 359387 h 3090711"/>
                <a:gd name="connsiteX9" fmla="*/ 3063834 w 9159987"/>
                <a:gd name="connsiteY9" fmla="*/ 400950 h 3090711"/>
                <a:gd name="connsiteX10" fmla="*/ 3331029 w 9159987"/>
                <a:gd name="connsiteY10" fmla="*/ 448452 h 3090711"/>
                <a:gd name="connsiteX11" fmla="*/ 3758541 w 9159987"/>
                <a:gd name="connsiteY11" fmla="*/ 525641 h 3090711"/>
                <a:gd name="connsiteX12" fmla="*/ 4093431 w 9159987"/>
                <a:gd name="connsiteY12" fmla="*/ 583811 h 3090711"/>
                <a:gd name="connsiteX13" fmla="*/ 4566063 w 9159987"/>
                <a:gd name="connsiteY13" fmla="*/ 662207 h 3090711"/>
                <a:gd name="connsiteX14" fmla="*/ 4839195 w 9159987"/>
                <a:gd name="connsiteY14" fmla="*/ 703771 h 3090711"/>
                <a:gd name="connsiteX15" fmla="*/ 5088577 w 9159987"/>
                <a:gd name="connsiteY15" fmla="*/ 733459 h 3090711"/>
                <a:gd name="connsiteX16" fmla="*/ 5343896 w 9159987"/>
                <a:gd name="connsiteY16" fmla="*/ 763148 h 3090711"/>
                <a:gd name="connsiteX17" fmla="*/ 5858165 w 9159987"/>
                <a:gd name="connsiteY17" fmla="*/ 823433 h 3090711"/>
                <a:gd name="connsiteX18" fmla="*/ 6459702 w 9159987"/>
                <a:gd name="connsiteY18" fmla="*/ 862000 h 3090711"/>
                <a:gd name="connsiteX19" fmla="*/ 9151767 w 9159987"/>
                <a:gd name="connsiteY19" fmla="*/ 860638 h 3090711"/>
                <a:gd name="connsiteX20" fmla="*/ 9159987 w 9159987"/>
                <a:gd name="connsiteY20" fmla="*/ 3090711 h 3090711"/>
                <a:gd name="connsiteX21" fmla="*/ 0 w 9159987"/>
                <a:gd name="connsiteY21" fmla="*/ 3090711 h 3090711"/>
                <a:gd name="connsiteX22" fmla="*/ 0 w 9159987"/>
                <a:gd name="connsiteY22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343272 w 9159987"/>
                <a:gd name="connsiteY4" fmla="*/ 88350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38203 w 9159987"/>
                <a:gd name="connsiteY8" fmla="*/ 359387 h 3090711"/>
                <a:gd name="connsiteX9" fmla="*/ 3063834 w 9159987"/>
                <a:gd name="connsiteY9" fmla="*/ 400950 h 3090711"/>
                <a:gd name="connsiteX10" fmla="*/ 3331029 w 9159987"/>
                <a:gd name="connsiteY10" fmla="*/ 448452 h 3090711"/>
                <a:gd name="connsiteX11" fmla="*/ 3758541 w 9159987"/>
                <a:gd name="connsiteY11" fmla="*/ 525641 h 3090711"/>
                <a:gd name="connsiteX12" fmla="*/ 4093431 w 9159987"/>
                <a:gd name="connsiteY12" fmla="*/ 583811 h 3090711"/>
                <a:gd name="connsiteX13" fmla="*/ 4566063 w 9159987"/>
                <a:gd name="connsiteY13" fmla="*/ 662207 h 3090711"/>
                <a:gd name="connsiteX14" fmla="*/ 4839195 w 9159987"/>
                <a:gd name="connsiteY14" fmla="*/ 703771 h 3090711"/>
                <a:gd name="connsiteX15" fmla="*/ 5088577 w 9159987"/>
                <a:gd name="connsiteY15" fmla="*/ 733459 h 3090711"/>
                <a:gd name="connsiteX16" fmla="*/ 5343896 w 9159987"/>
                <a:gd name="connsiteY16" fmla="*/ 763148 h 3090711"/>
                <a:gd name="connsiteX17" fmla="*/ 5858165 w 9159987"/>
                <a:gd name="connsiteY17" fmla="*/ 823433 h 3090711"/>
                <a:gd name="connsiteX18" fmla="*/ 6459702 w 9159987"/>
                <a:gd name="connsiteY18" fmla="*/ 862000 h 3090711"/>
                <a:gd name="connsiteX19" fmla="*/ 9151767 w 9159987"/>
                <a:gd name="connsiteY19" fmla="*/ 860638 h 3090711"/>
                <a:gd name="connsiteX20" fmla="*/ 9159987 w 9159987"/>
                <a:gd name="connsiteY20" fmla="*/ 3090711 h 3090711"/>
                <a:gd name="connsiteX21" fmla="*/ 0 w 9159987"/>
                <a:gd name="connsiteY21" fmla="*/ 3090711 h 3090711"/>
                <a:gd name="connsiteX22" fmla="*/ 0 w 9159987"/>
                <a:gd name="connsiteY22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262885 w 9159987"/>
                <a:gd name="connsiteY4" fmla="*/ 78301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38203 w 9159987"/>
                <a:gd name="connsiteY8" fmla="*/ 359387 h 3090711"/>
                <a:gd name="connsiteX9" fmla="*/ 3063834 w 9159987"/>
                <a:gd name="connsiteY9" fmla="*/ 400950 h 3090711"/>
                <a:gd name="connsiteX10" fmla="*/ 3331029 w 9159987"/>
                <a:gd name="connsiteY10" fmla="*/ 448452 h 3090711"/>
                <a:gd name="connsiteX11" fmla="*/ 3758541 w 9159987"/>
                <a:gd name="connsiteY11" fmla="*/ 525641 h 3090711"/>
                <a:gd name="connsiteX12" fmla="*/ 4093431 w 9159987"/>
                <a:gd name="connsiteY12" fmla="*/ 583811 h 3090711"/>
                <a:gd name="connsiteX13" fmla="*/ 4566063 w 9159987"/>
                <a:gd name="connsiteY13" fmla="*/ 662207 h 3090711"/>
                <a:gd name="connsiteX14" fmla="*/ 4839195 w 9159987"/>
                <a:gd name="connsiteY14" fmla="*/ 703771 h 3090711"/>
                <a:gd name="connsiteX15" fmla="*/ 5088577 w 9159987"/>
                <a:gd name="connsiteY15" fmla="*/ 733459 h 3090711"/>
                <a:gd name="connsiteX16" fmla="*/ 5343896 w 9159987"/>
                <a:gd name="connsiteY16" fmla="*/ 763148 h 3090711"/>
                <a:gd name="connsiteX17" fmla="*/ 5858165 w 9159987"/>
                <a:gd name="connsiteY17" fmla="*/ 823433 h 3090711"/>
                <a:gd name="connsiteX18" fmla="*/ 6459702 w 9159987"/>
                <a:gd name="connsiteY18" fmla="*/ 862000 h 3090711"/>
                <a:gd name="connsiteX19" fmla="*/ 9151767 w 9159987"/>
                <a:gd name="connsiteY19" fmla="*/ 860638 h 3090711"/>
                <a:gd name="connsiteX20" fmla="*/ 9159987 w 9159987"/>
                <a:gd name="connsiteY20" fmla="*/ 3090711 h 3090711"/>
                <a:gd name="connsiteX21" fmla="*/ 0 w 9159987"/>
                <a:gd name="connsiteY21" fmla="*/ 3090711 h 3090711"/>
                <a:gd name="connsiteX22" fmla="*/ 0 w 9159987"/>
                <a:gd name="connsiteY22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262885 w 9159987"/>
                <a:gd name="connsiteY4" fmla="*/ 78301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18106 w 9159987"/>
                <a:gd name="connsiteY8" fmla="*/ 299097 h 3090711"/>
                <a:gd name="connsiteX9" fmla="*/ 3063834 w 9159987"/>
                <a:gd name="connsiteY9" fmla="*/ 400950 h 3090711"/>
                <a:gd name="connsiteX10" fmla="*/ 3331029 w 9159987"/>
                <a:gd name="connsiteY10" fmla="*/ 448452 h 3090711"/>
                <a:gd name="connsiteX11" fmla="*/ 3758541 w 9159987"/>
                <a:gd name="connsiteY11" fmla="*/ 525641 h 3090711"/>
                <a:gd name="connsiteX12" fmla="*/ 4093431 w 9159987"/>
                <a:gd name="connsiteY12" fmla="*/ 583811 h 3090711"/>
                <a:gd name="connsiteX13" fmla="*/ 4566063 w 9159987"/>
                <a:gd name="connsiteY13" fmla="*/ 662207 h 3090711"/>
                <a:gd name="connsiteX14" fmla="*/ 4839195 w 9159987"/>
                <a:gd name="connsiteY14" fmla="*/ 703771 h 3090711"/>
                <a:gd name="connsiteX15" fmla="*/ 5088577 w 9159987"/>
                <a:gd name="connsiteY15" fmla="*/ 733459 h 3090711"/>
                <a:gd name="connsiteX16" fmla="*/ 5343896 w 9159987"/>
                <a:gd name="connsiteY16" fmla="*/ 763148 h 3090711"/>
                <a:gd name="connsiteX17" fmla="*/ 5858165 w 9159987"/>
                <a:gd name="connsiteY17" fmla="*/ 823433 h 3090711"/>
                <a:gd name="connsiteX18" fmla="*/ 6459702 w 9159987"/>
                <a:gd name="connsiteY18" fmla="*/ 862000 h 3090711"/>
                <a:gd name="connsiteX19" fmla="*/ 9151767 w 9159987"/>
                <a:gd name="connsiteY19" fmla="*/ 860638 h 3090711"/>
                <a:gd name="connsiteX20" fmla="*/ 9159987 w 9159987"/>
                <a:gd name="connsiteY20" fmla="*/ 3090711 h 3090711"/>
                <a:gd name="connsiteX21" fmla="*/ 0 w 9159987"/>
                <a:gd name="connsiteY21" fmla="*/ 3090711 h 3090711"/>
                <a:gd name="connsiteX22" fmla="*/ 0 w 9159987"/>
                <a:gd name="connsiteY22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262885 w 9159987"/>
                <a:gd name="connsiteY4" fmla="*/ 78301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327564 w 9159987"/>
                <a:gd name="connsiteY7" fmla="*/ 270322 h 3090711"/>
                <a:gd name="connsiteX8" fmla="*/ 2818106 w 9159987"/>
                <a:gd name="connsiteY8" fmla="*/ 299097 h 3090711"/>
                <a:gd name="connsiteX9" fmla="*/ 3331029 w 9159987"/>
                <a:gd name="connsiteY9" fmla="*/ 448452 h 3090711"/>
                <a:gd name="connsiteX10" fmla="*/ 3758541 w 9159987"/>
                <a:gd name="connsiteY10" fmla="*/ 525641 h 3090711"/>
                <a:gd name="connsiteX11" fmla="*/ 4093431 w 9159987"/>
                <a:gd name="connsiteY11" fmla="*/ 583811 h 3090711"/>
                <a:gd name="connsiteX12" fmla="*/ 4566063 w 9159987"/>
                <a:gd name="connsiteY12" fmla="*/ 662207 h 3090711"/>
                <a:gd name="connsiteX13" fmla="*/ 4839195 w 9159987"/>
                <a:gd name="connsiteY13" fmla="*/ 703771 h 3090711"/>
                <a:gd name="connsiteX14" fmla="*/ 5088577 w 9159987"/>
                <a:gd name="connsiteY14" fmla="*/ 733459 h 3090711"/>
                <a:gd name="connsiteX15" fmla="*/ 5343896 w 9159987"/>
                <a:gd name="connsiteY15" fmla="*/ 763148 h 3090711"/>
                <a:gd name="connsiteX16" fmla="*/ 5858165 w 9159987"/>
                <a:gd name="connsiteY16" fmla="*/ 823433 h 3090711"/>
                <a:gd name="connsiteX17" fmla="*/ 6459702 w 9159987"/>
                <a:gd name="connsiteY17" fmla="*/ 862000 h 3090711"/>
                <a:gd name="connsiteX18" fmla="*/ 9151767 w 9159987"/>
                <a:gd name="connsiteY18" fmla="*/ 860638 h 3090711"/>
                <a:gd name="connsiteX19" fmla="*/ 9159987 w 9159987"/>
                <a:gd name="connsiteY19" fmla="*/ 3090711 h 3090711"/>
                <a:gd name="connsiteX20" fmla="*/ 0 w 9159987"/>
                <a:gd name="connsiteY20" fmla="*/ 3090711 h 3090711"/>
                <a:gd name="connsiteX21" fmla="*/ 0 w 9159987"/>
                <a:gd name="connsiteY21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262885 w 9159987"/>
                <a:gd name="connsiteY4" fmla="*/ 78301 h 3090711"/>
                <a:gd name="connsiteX5" fmla="*/ 1551252 w 9159987"/>
                <a:gd name="connsiteY5" fmla="*/ 129290 h 3090711"/>
                <a:gd name="connsiteX6" fmla="*/ 1946378 w 9159987"/>
                <a:gd name="connsiteY6" fmla="*/ 201420 h 3090711"/>
                <a:gd name="connsiteX7" fmla="*/ 2297419 w 9159987"/>
                <a:gd name="connsiteY7" fmla="*/ 169838 h 3090711"/>
                <a:gd name="connsiteX8" fmla="*/ 2818106 w 9159987"/>
                <a:gd name="connsiteY8" fmla="*/ 299097 h 3090711"/>
                <a:gd name="connsiteX9" fmla="*/ 3331029 w 9159987"/>
                <a:gd name="connsiteY9" fmla="*/ 448452 h 3090711"/>
                <a:gd name="connsiteX10" fmla="*/ 3758541 w 9159987"/>
                <a:gd name="connsiteY10" fmla="*/ 525641 h 3090711"/>
                <a:gd name="connsiteX11" fmla="*/ 4093431 w 9159987"/>
                <a:gd name="connsiteY11" fmla="*/ 583811 h 3090711"/>
                <a:gd name="connsiteX12" fmla="*/ 4566063 w 9159987"/>
                <a:gd name="connsiteY12" fmla="*/ 662207 h 3090711"/>
                <a:gd name="connsiteX13" fmla="*/ 4839195 w 9159987"/>
                <a:gd name="connsiteY13" fmla="*/ 703771 h 3090711"/>
                <a:gd name="connsiteX14" fmla="*/ 5088577 w 9159987"/>
                <a:gd name="connsiteY14" fmla="*/ 733459 h 3090711"/>
                <a:gd name="connsiteX15" fmla="*/ 5343896 w 9159987"/>
                <a:gd name="connsiteY15" fmla="*/ 763148 h 3090711"/>
                <a:gd name="connsiteX16" fmla="*/ 5858165 w 9159987"/>
                <a:gd name="connsiteY16" fmla="*/ 823433 h 3090711"/>
                <a:gd name="connsiteX17" fmla="*/ 6459702 w 9159987"/>
                <a:gd name="connsiteY17" fmla="*/ 862000 h 3090711"/>
                <a:gd name="connsiteX18" fmla="*/ 9151767 w 9159987"/>
                <a:gd name="connsiteY18" fmla="*/ 860638 h 3090711"/>
                <a:gd name="connsiteX19" fmla="*/ 9159987 w 9159987"/>
                <a:gd name="connsiteY19" fmla="*/ 3090711 h 3090711"/>
                <a:gd name="connsiteX20" fmla="*/ 0 w 9159987"/>
                <a:gd name="connsiteY20" fmla="*/ 3090711 h 3090711"/>
                <a:gd name="connsiteX21" fmla="*/ 0 w 9159987"/>
                <a:gd name="connsiteY21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262885 w 9159987"/>
                <a:gd name="connsiteY4" fmla="*/ 78301 h 3090711"/>
                <a:gd name="connsiteX5" fmla="*/ 1551252 w 9159987"/>
                <a:gd name="connsiteY5" fmla="*/ 129290 h 3090711"/>
                <a:gd name="connsiteX6" fmla="*/ 1916233 w 9159987"/>
                <a:gd name="connsiteY6" fmla="*/ 70792 h 3090711"/>
                <a:gd name="connsiteX7" fmla="*/ 2297419 w 9159987"/>
                <a:gd name="connsiteY7" fmla="*/ 169838 h 3090711"/>
                <a:gd name="connsiteX8" fmla="*/ 2818106 w 9159987"/>
                <a:gd name="connsiteY8" fmla="*/ 299097 h 3090711"/>
                <a:gd name="connsiteX9" fmla="*/ 3331029 w 9159987"/>
                <a:gd name="connsiteY9" fmla="*/ 448452 h 3090711"/>
                <a:gd name="connsiteX10" fmla="*/ 3758541 w 9159987"/>
                <a:gd name="connsiteY10" fmla="*/ 525641 h 3090711"/>
                <a:gd name="connsiteX11" fmla="*/ 4093431 w 9159987"/>
                <a:gd name="connsiteY11" fmla="*/ 583811 h 3090711"/>
                <a:gd name="connsiteX12" fmla="*/ 4566063 w 9159987"/>
                <a:gd name="connsiteY12" fmla="*/ 662207 h 3090711"/>
                <a:gd name="connsiteX13" fmla="*/ 4839195 w 9159987"/>
                <a:gd name="connsiteY13" fmla="*/ 703771 h 3090711"/>
                <a:gd name="connsiteX14" fmla="*/ 5088577 w 9159987"/>
                <a:gd name="connsiteY14" fmla="*/ 733459 h 3090711"/>
                <a:gd name="connsiteX15" fmla="*/ 5343896 w 9159987"/>
                <a:gd name="connsiteY15" fmla="*/ 763148 h 3090711"/>
                <a:gd name="connsiteX16" fmla="*/ 5858165 w 9159987"/>
                <a:gd name="connsiteY16" fmla="*/ 823433 h 3090711"/>
                <a:gd name="connsiteX17" fmla="*/ 6459702 w 9159987"/>
                <a:gd name="connsiteY17" fmla="*/ 862000 h 3090711"/>
                <a:gd name="connsiteX18" fmla="*/ 9151767 w 9159987"/>
                <a:gd name="connsiteY18" fmla="*/ 860638 h 3090711"/>
                <a:gd name="connsiteX19" fmla="*/ 9159987 w 9159987"/>
                <a:gd name="connsiteY19" fmla="*/ 3090711 h 3090711"/>
                <a:gd name="connsiteX20" fmla="*/ 0 w 9159987"/>
                <a:gd name="connsiteY20" fmla="*/ 3090711 h 3090711"/>
                <a:gd name="connsiteX21" fmla="*/ 0 w 9159987"/>
                <a:gd name="connsiteY21" fmla="*/ 3127 h 3090711"/>
                <a:gd name="connsiteX0" fmla="*/ 5938 w 9159987"/>
                <a:gd name="connsiteY0" fmla="*/ 4466 h 3092050"/>
                <a:gd name="connsiteX1" fmla="*/ 302096 w 9159987"/>
                <a:gd name="connsiteY1" fmla="*/ 1339 h 3092050"/>
                <a:gd name="connsiteX2" fmla="*/ 598418 w 9159987"/>
                <a:gd name="connsiteY2" fmla="*/ 12007 h 3092050"/>
                <a:gd name="connsiteX3" fmla="*/ 883129 w 9159987"/>
                <a:gd name="connsiteY3" fmla="*/ 29104 h 3092050"/>
                <a:gd name="connsiteX4" fmla="*/ 1262885 w 9159987"/>
                <a:gd name="connsiteY4" fmla="*/ 79640 h 3092050"/>
                <a:gd name="connsiteX5" fmla="*/ 1551252 w 9159987"/>
                <a:gd name="connsiteY5" fmla="*/ 0 h 3092050"/>
                <a:gd name="connsiteX6" fmla="*/ 1916233 w 9159987"/>
                <a:gd name="connsiteY6" fmla="*/ 72131 h 3092050"/>
                <a:gd name="connsiteX7" fmla="*/ 2297419 w 9159987"/>
                <a:gd name="connsiteY7" fmla="*/ 171177 h 3092050"/>
                <a:gd name="connsiteX8" fmla="*/ 2818106 w 9159987"/>
                <a:gd name="connsiteY8" fmla="*/ 300436 h 3092050"/>
                <a:gd name="connsiteX9" fmla="*/ 3331029 w 9159987"/>
                <a:gd name="connsiteY9" fmla="*/ 449791 h 3092050"/>
                <a:gd name="connsiteX10" fmla="*/ 3758541 w 9159987"/>
                <a:gd name="connsiteY10" fmla="*/ 526980 h 3092050"/>
                <a:gd name="connsiteX11" fmla="*/ 4093431 w 9159987"/>
                <a:gd name="connsiteY11" fmla="*/ 585150 h 3092050"/>
                <a:gd name="connsiteX12" fmla="*/ 4566063 w 9159987"/>
                <a:gd name="connsiteY12" fmla="*/ 663546 h 3092050"/>
                <a:gd name="connsiteX13" fmla="*/ 4839195 w 9159987"/>
                <a:gd name="connsiteY13" fmla="*/ 705110 h 3092050"/>
                <a:gd name="connsiteX14" fmla="*/ 5088577 w 9159987"/>
                <a:gd name="connsiteY14" fmla="*/ 734798 h 3092050"/>
                <a:gd name="connsiteX15" fmla="*/ 5343896 w 9159987"/>
                <a:gd name="connsiteY15" fmla="*/ 764487 h 3092050"/>
                <a:gd name="connsiteX16" fmla="*/ 5858165 w 9159987"/>
                <a:gd name="connsiteY16" fmla="*/ 824772 h 3092050"/>
                <a:gd name="connsiteX17" fmla="*/ 6459702 w 9159987"/>
                <a:gd name="connsiteY17" fmla="*/ 863339 h 3092050"/>
                <a:gd name="connsiteX18" fmla="*/ 9151767 w 9159987"/>
                <a:gd name="connsiteY18" fmla="*/ 861977 h 3092050"/>
                <a:gd name="connsiteX19" fmla="*/ 9159987 w 9159987"/>
                <a:gd name="connsiteY19" fmla="*/ 3092050 h 3092050"/>
                <a:gd name="connsiteX20" fmla="*/ 0 w 9159987"/>
                <a:gd name="connsiteY20" fmla="*/ 3092050 h 3092050"/>
                <a:gd name="connsiteX21" fmla="*/ 0 w 9159987"/>
                <a:gd name="connsiteY21" fmla="*/ 4466 h 3092050"/>
                <a:gd name="connsiteX0" fmla="*/ 5938 w 9159987"/>
                <a:gd name="connsiteY0" fmla="*/ 4466 h 3092050"/>
                <a:gd name="connsiteX1" fmla="*/ 302096 w 9159987"/>
                <a:gd name="connsiteY1" fmla="*/ 1339 h 3092050"/>
                <a:gd name="connsiteX2" fmla="*/ 598418 w 9159987"/>
                <a:gd name="connsiteY2" fmla="*/ 12007 h 3092050"/>
                <a:gd name="connsiteX3" fmla="*/ 883129 w 9159987"/>
                <a:gd name="connsiteY3" fmla="*/ 29104 h 3092050"/>
                <a:gd name="connsiteX4" fmla="*/ 1232740 w 9159987"/>
                <a:gd name="connsiteY4" fmla="*/ 19350 h 3092050"/>
                <a:gd name="connsiteX5" fmla="*/ 1551252 w 9159987"/>
                <a:gd name="connsiteY5" fmla="*/ 0 h 3092050"/>
                <a:gd name="connsiteX6" fmla="*/ 1916233 w 9159987"/>
                <a:gd name="connsiteY6" fmla="*/ 72131 h 3092050"/>
                <a:gd name="connsiteX7" fmla="*/ 2297419 w 9159987"/>
                <a:gd name="connsiteY7" fmla="*/ 171177 h 3092050"/>
                <a:gd name="connsiteX8" fmla="*/ 2818106 w 9159987"/>
                <a:gd name="connsiteY8" fmla="*/ 300436 h 3092050"/>
                <a:gd name="connsiteX9" fmla="*/ 3331029 w 9159987"/>
                <a:gd name="connsiteY9" fmla="*/ 449791 h 3092050"/>
                <a:gd name="connsiteX10" fmla="*/ 3758541 w 9159987"/>
                <a:gd name="connsiteY10" fmla="*/ 526980 h 3092050"/>
                <a:gd name="connsiteX11" fmla="*/ 4093431 w 9159987"/>
                <a:gd name="connsiteY11" fmla="*/ 585150 h 3092050"/>
                <a:gd name="connsiteX12" fmla="*/ 4566063 w 9159987"/>
                <a:gd name="connsiteY12" fmla="*/ 663546 h 3092050"/>
                <a:gd name="connsiteX13" fmla="*/ 4839195 w 9159987"/>
                <a:gd name="connsiteY13" fmla="*/ 705110 h 3092050"/>
                <a:gd name="connsiteX14" fmla="*/ 5088577 w 9159987"/>
                <a:gd name="connsiteY14" fmla="*/ 734798 h 3092050"/>
                <a:gd name="connsiteX15" fmla="*/ 5343896 w 9159987"/>
                <a:gd name="connsiteY15" fmla="*/ 764487 h 3092050"/>
                <a:gd name="connsiteX16" fmla="*/ 5858165 w 9159987"/>
                <a:gd name="connsiteY16" fmla="*/ 824772 h 3092050"/>
                <a:gd name="connsiteX17" fmla="*/ 6459702 w 9159987"/>
                <a:gd name="connsiteY17" fmla="*/ 863339 h 3092050"/>
                <a:gd name="connsiteX18" fmla="*/ 9151767 w 9159987"/>
                <a:gd name="connsiteY18" fmla="*/ 861977 h 3092050"/>
                <a:gd name="connsiteX19" fmla="*/ 9159987 w 9159987"/>
                <a:gd name="connsiteY19" fmla="*/ 3092050 h 3092050"/>
                <a:gd name="connsiteX20" fmla="*/ 0 w 9159987"/>
                <a:gd name="connsiteY20" fmla="*/ 3092050 h 3092050"/>
                <a:gd name="connsiteX21" fmla="*/ 0 w 9159987"/>
                <a:gd name="connsiteY21" fmla="*/ 4466 h 3092050"/>
                <a:gd name="connsiteX0" fmla="*/ 5938 w 9159987"/>
                <a:gd name="connsiteY0" fmla="*/ 4466 h 3092050"/>
                <a:gd name="connsiteX1" fmla="*/ 302096 w 9159987"/>
                <a:gd name="connsiteY1" fmla="*/ 1339 h 3092050"/>
                <a:gd name="connsiteX2" fmla="*/ 598418 w 9159987"/>
                <a:gd name="connsiteY2" fmla="*/ 12007 h 3092050"/>
                <a:gd name="connsiteX3" fmla="*/ 883129 w 9159987"/>
                <a:gd name="connsiteY3" fmla="*/ 29104 h 3092050"/>
                <a:gd name="connsiteX4" fmla="*/ 1232740 w 9159987"/>
                <a:gd name="connsiteY4" fmla="*/ 19350 h 3092050"/>
                <a:gd name="connsiteX5" fmla="*/ 1551252 w 9159987"/>
                <a:gd name="connsiteY5" fmla="*/ 0 h 3092050"/>
                <a:gd name="connsiteX6" fmla="*/ 1855943 w 9159987"/>
                <a:gd name="connsiteY6" fmla="*/ 122373 h 3092050"/>
                <a:gd name="connsiteX7" fmla="*/ 2297419 w 9159987"/>
                <a:gd name="connsiteY7" fmla="*/ 171177 h 3092050"/>
                <a:gd name="connsiteX8" fmla="*/ 2818106 w 9159987"/>
                <a:gd name="connsiteY8" fmla="*/ 300436 h 3092050"/>
                <a:gd name="connsiteX9" fmla="*/ 3331029 w 9159987"/>
                <a:gd name="connsiteY9" fmla="*/ 449791 h 3092050"/>
                <a:gd name="connsiteX10" fmla="*/ 3758541 w 9159987"/>
                <a:gd name="connsiteY10" fmla="*/ 526980 h 3092050"/>
                <a:gd name="connsiteX11" fmla="*/ 4093431 w 9159987"/>
                <a:gd name="connsiteY11" fmla="*/ 585150 h 3092050"/>
                <a:gd name="connsiteX12" fmla="*/ 4566063 w 9159987"/>
                <a:gd name="connsiteY12" fmla="*/ 663546 h 3092050"/>
                <a:gd name="connsiteX13" fmla="*/ 4839195 w 9159987"/>
                <a:gd name="connsiteY13" fmla="*/ 705110 h 3092050"/>
                <a:gd name="connsiteX14" fmla="*/ 5088577 w 9159987"/>
                <a:gd name="connsiteY14" fmla="*/ 734798 h 3092050"/>
                <a:gd name="connsiteX15" fmla="*/ 5343896 w 9159987"/>
                <a:gd name="connsiteY15" fmla="*/ 764487 h 3092050"/>
                <a:gd name="connsiteX16" fmla="*/ 5858165 w 9159987"/>
                <a:gd name="connsiteY16" fmla="*/ 824772 h 3092050"/>
                <a:gd name="connsiteX17" fmla="*/ 6459702 w 9159987"/>
                <a:gd name="connsiteY17" fmla="*/ 863339 h 3092050"/>
                <a:gd name="connsiteX18" fmla="*/ 9151767 w 9159987"/>
                <a:gd name="connsiteY18" fmla="*/ 861977 h 3092050"/>
                <a:gd name="connsiteX19" fmla="*/ 9159987 w 9159987"/>
                <a:gd name="connsiteY19" fmla="*/ 3092050 h 3092050"/>
                <a:gd name="connsiteX20" fmla="*/ 0 w 9159987"/>
                <a:gd name="connsiteY20" fmla="*/ 3092050 h 3092050"/>
                <a:gd name="connsiteX21" fmla="*/ 0 w 9159987"/>
                <a:gd name="connsiteY21" fmla="*/ 4466 h 3092050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232740 w 9159987"/>
                <a:gd name="connsiteY4" fmla="*/ 18011 h 3090711"/>
                <a:gd name="connsiteX5" fmla="*/ 1420624 w 9159987"/>
                <a:gd name="connsiteY5" fmla="*/ 58951 h 3090711"/>
                <a:gd name="connsiteX6" fmla="*/ 1855943 w 9159987"/>
                <a:gd name="connsiteY6" fmla="*/ 121034 h 3090711"/>
                <a:gd name="connsiteX7" fmla="*/ 2297419 w 9159987"/>
                <a:gd name="connsiteY7" fmla="*/ 169838 h 3090711"/>
                <a:gd name="connsiteX8" fmla="*/ 2818106 w 9159987"/>
                <a:gd name="connsiteY8" fmla="*/ 299097 h 3090711"/>
                <a:gd name="connsiteX9" fmla="*/ 3331029 w 9159987"/>
                <a:gd name="connsiteY9" fmla="*/ 448452 h 3090711"/>
                <a:gd name="connsiteX10" fmla="*/ 3758541 w 9159987"/>
                <a:gd name="connsiteY10" fmla="*/ 525641 h 3090711"/>
                <a:gd name="connsiteX11" fmla="*/ 4093431 w 9159987"/>
                <a:gd name="connsiteY11" fmla="*/ 583811 h 3090711"/>
                <a:gd name="connsiteX12" fmla="*/ 4566063 w 9159987"/>
                <a:gd name="connsiteY12" fmla="*/ 662207 h 3090711"/>
                <a:gd name="connsiteX13" fmla="*/ 4839195 w 9159987"/>
                <a:gd name="connsiteY13" fmla="*/ 703771 h 3090711"/>
                <a:gd name="connsiteX14" fmla="*/ 5088577 w 9159987"/>
                <a:gd name="connsiteY14" fmla="*/ 733459 h 3090711"/>
                <a:gd name="connsiteX15" fmla="*/ 5343896 w 9159987"/>
                <a:gd name="connsiteY15" fmla="*/ 763148 h 3090711"/>
                <a:gd name="connsiteX16" fmla="*/ 5858165 w 9159987"/>
                <a:gd name="connsiteY16" fmla="*/ 823433 h 3090711"/>
                <a:gd name="connsiteX17" fmla="*/ 6459702 w 9159987"/>
                <a:gd name="connsiteY17" fmla="*/ 862000 h 3090711"/>
                <a:gd name="connsiteX18" fmla="*/ 9151767 w 9159987"/>
                <a:gd name="connsiteY18" fmla="*/ 860638 h 3090711"/>
                <a:gd name="connsiteX19" fmla="*/ 9159987 w 9159987"/>
                <a:gd name="connsiteY19" fmla="*/ 3090711 h 3090711"/>
                <a:gd name="connsiteX20" fmla="*/ 0 w 9159987"/>
                <a:gd name="connsiteY20" fmla="*/ 3090711 h 3090711"/>
                <a:gd name="connsiteX21" fmla="*/ 0 w 9159987"/>
                <a:gd name="connsiteY21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20624 w 9159987"/>
                <a:gd name="connsiteY4" fmla="*/ 58951 h 3090711"/>
                <a:gd name="connsiteX5" fmla="*/ 1855943 w 9159987"/>
                <a:gd name="connsiteY5" fmla="*/ 121034 h 3090711"/>
                <a:gd name="connsiteX6" fmla="*/ 2297419 w 9159987"/>
                <a:gd name="connsiteY6" fmla="*/ 169838 h 3090711"/>
                <a:gd name="connsiteX7" fmla="*/ 2818106 w 9159987"/>
                <a:gd name="connsiteY7" fmla="*/ 299097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20624 w 9159987"/>
                <a:gd name="connsiteY4" fmla="*/ 58951 h 3090711"/>
                <a:gd name="connsiteX5" fmla="*/ 1855943 w 9159987"/>
                <a:gd name="connsiteY5" fmla="*/ 121034 h 3090711"/>
                <a:gd name="connsiteX6" fmla="*/ 2287371 w 9159987"/>
                <a:gd name="connsiteY6" fmla="*/ 199983 h 3090711"/>
                <a:gd name="connsiteX7" fmla="*/ 2818106 w 9159987"/>
                <a:gd name="connsiteY7" fmla="*/ 299097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20624 w 9159987"/>
                <a:gd name="connsiteY4" fmla="*/ 58951 h 3090711"/>
                <a:gd name="connsiteX5" fmla="*/ 1835846 w 9159987"/>
                <a:gd name="connsiteY5" fmla="*/ 90889 h 3090711"/>
                <a:gd name="connsiteX6" fmla="*/ 2287371 w 9159987"/>
                <a:gd name="connsiteY6" fmla="*/ 199983 h 3090711"/>
                <a:gd name="connsiteX7" fmla="*/ 2818106 w 9159987"/>
                <a:gd name="connsiteY7" fmla="*/ 299097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20624 w 9159987"/>
                <a:gd name="connsiteY4" fmla="*/ 58951 h 3090711"/>
                <a:gd name="connsiteX5" fmla="*/ 1835846 w 9159987"/>
                <a:gd name="connsiteY5" fmla="*/ 100938 h 3090711"/>
                <a:gd name="connsiteX6" fmla="*/ 2287371 w 9159987"/>
                <a:gd name="connsiteY6" fmla="*/ 199983 h 3090711"/>
                <a:gd name="connsiteX7" fmla="*/ 2818106 w 9159987"/>
                <a:gd name="connsiteY7" fmla="*/ 299097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20624 w 9159987"/>
                <a:gd name="connsiteY4" fmla="*/ 58951 h 3090711"/>
                <a:gd name="connsiteX5" fmla="*/ 1835846 w 9159987"/>
                <a:gd name="connsiteY5" fmla="*/ 100938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20624 w 9159987"/>
                <a:gd name="connsiteY4" fmla="*/ 58951 h 3090711"/>
                <a:gd name="connsiteX5" fmla="*/ 1835846 w 9159987"/>
                <a:gd name="connsiteY5" fmla="*/ 100938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20624 w 9159987"/>
                <a:gd name="connsiteY4" fmla="*/ 58951 h 3090711"/>
                <a:gd name="connsiteX5" fmla="*/ 1835846 w 9159987"/>
                <a:gd name="connsiteY5" fmla="*/ 100938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20624 w 9159987"/>
                <a:gd name="connsiteY4" fmla="*/ 58951 h 3090711"/>
                <a:gd name="connsiteX5" fmla="*/ 1825798 w 9159987"/>
                <a:gd name="connsiteY5" fmla="*/ 131083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8243 w 9159987"/>
                <a:gd name="connsiteY4" fmla="*/ 68476 h 3090711"/>
                <a:gd name="connsiteX5" fmla="*/ 1825798 w 9159987"/>
                <a:gd name="connsiteY5" fmla="*/ 131083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8243 w 9159987"/>
                <a:gd name="connsiteY4" fmla="*/ 68476 h 3090711"/>
                <a:gd name="connsiteX5" fmla="*/ 1825798 w 9159987"/>
                <a:gd name="connsiteY5" fmla="*/ 131083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8243 w 9159987"/>
                <a:gd name="connsiteY4" fmla="*/ 68476 h 3090711"/>
                <a:gd name="connsiteX5" fmla="*/ 1825798 w 9159987"/>
                <a:gd name="connsiteY5" fmla="*/ 131083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25798 w 9159987"/>
                <a:gd name="connsiteY5" fmla="*/ 131083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1029 w 9159987"/>
                <a:gd name="connsiteY8" fmla="*/ 448452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7371 w 9159987"/>
                <a:gd name="connsiteY6" fmla="*/ 199983 h 3090711"/>
                <a:gd name="connsiteX7" fmla="*/ 2818106 w 9159987"/>
                <a:gd name="connsiteY7" fmla="*/ 319193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7371 w 9159987"/>
                <a:gd name="connsiteY6" fmla="*/ 199983 h 3090711"/>
                <a:gd name="connsiteX7" fmla="*/ 2813343 w 9159987"/>
                <a:gd name="connsiteY7" fmla="*/ 326337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4989 w 9159987"/>
                <a:gd name="connsiteY6" fmla="*/ 207127 h 3090711"/>
                <a:gd name="connsiteX7" fmla="*/ 2813343 w 9159987"/>
                <a:gd name="connsiteY7" fmla="*/ 326337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4989 w 9159987"/>
                <a:gd name="connsiteY6" fmla="*/ 207127 h 3090711"/>
                <a:gd name="connsiteX7" fmla="*/ 2813343 w 9159987"/>
                <a:gd name="connsiteY7" fmla="*/ 326337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4989 w 9159987"/>
                <a:gd name="connsiteY6" fmla="*/ 207127 h 3090711"/>
                <a:gd name="connsiteX7" fmla="*/ 2813343 w 9159987"/>
                <a:gd name="connsiteY7" fmla="*/ 326337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4989 w 9159987"/>
                <a:gd name="connsiteY6" fmla="*/ 207127 h 3090711"/>
                <a:gd name="connsiteX7" fmla="*/ 2813343 w 9159987"/>
                <a:gd name="connsiteY7" fmla="*/ 326337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4989 w 9159987"/>
                <a:gd name="connsiteY6" fmla="*/ 207127 h 3090711"/>
                <a:gd name="connsiteX7" fmla="*/ 2813343 w 9159987"/>
                <a:gd name="connsiteY7" fmla="*/ 326337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4989 w 9159987"/>
                <a:gd name="connsiteY6" fmla="*/ 207127 h 3090711"/>
                <a:gd name="connsiteX7" fmla="*/ 2813343 w 9159987"/>
                <a:gd name="connsiteY7" fmla="*/ 326337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4989 w 9159987"/>
                <a:gd name="connsiteY6" fmla="*/ 207127 h 3090711"/>
                <a:gd name="connsiteX7" fmla="*/ 2813343 w 9159987"/>
                <a:gd name="connsiteY7" fmla="*/ 326337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59987"/>
                <a:gd name="connsiteY0" fmla="*/ 3127 h 3090711"/>
                <a:gd name="connsiteX1" fmla="*/ 302096 w 9159987"/>
                <a:gd name="connsiteY1" fmla="*/ 0 h 3090711"/>
                <a:gd name="connsiteX2" fmla="*/ 598418 w 9159987"/>
                <a:gd name="connsiteY2" fmla="*/ 10668 h 3090711"/>
                <a:gd name="connsiteX3" fmla="*/ 883129 w 9159987"/>
                <a:gd name="connsiteY3" fmla="*/ 27765 h 3090711"/>
                <a:gd name="connsiteX4" fmla="*/ 1413480 w 9159987"/>
                <a:gd name="connsiteY4" fmla="*/ 78001 h 3090711"/>
                <a:gd name="connsiteX5" fmla="*/ 1816273 w 9159987"/>
                <a:gd name="connsiteY5" fmla="*/ 123939 h 3090711"/>
                <a:gd name="connsiteX6" fmla="*/ 2284989 w 9159987"/>
                <a:gd name="connsiteY6" fmla="*/ 207127 h 3090711"/>
                <a:gd name="connsiteX7" fmla="*/ 2813343 w 9159987"/>
                <a:gd name="connsiteY7" fmla="*/ 326337 h 3090711"/>
                <a:gd name="connsiteX8" fmla="*/ 3338173 w 9159987"/>
                <a:gd name="connsiteY8" fmla="*/ 438927 h 3090711"/>
                <a:gd name="connsiteX9" fmla="*/ 3758541 w 9159987"/>
                <a:gd name="connsiteY9" fmla="*/ 525641 h 3090711"/>
                <a:gd name="connsiteX10" fmla="*/ 4093431 w 9159987"/>
                <a:gd name="connsiteY10" fmla="*/ 583811 h 3090711"/>
                <a:gd name="connsiteX11" fmla="*/ 4566063 w 9159987"/>
                <a:gd name="connsiteY11" fmla="*/ 662207 h 3090711"/>
                <a:gd name="connsiteX12" fmla="*/ 4839195 w 9159987"/>
                <a:gd name="connsiteY12" fmla="*/ 703771 h 3090711"/>
                <a:gd name="connsiteX13" fmla="*/ 5088577 w 9159987"/>
                <a:gd name="connsiteY13" fmla="*/ 733459 h 3090711"/>
                <a:gd name="connsiteX14" fmla="*/ 5343896 w 9159987"/>
                <a:gd name="connsiteY14" fmla="*/ 763148 h 3090711"/>
                <a:gd name="connsiteX15" fmla="*/ 5858165 w 9159987"/>
                <a:gd name="connsiteY15" fmla="*/ 823433 h 3090711"/>
                <a:gd name="connsiteX16" fmla="*/ 6459702 w 9159987"/>
                <a:gd name="connsiteY16" fmla="*/ 862000 h 3090711"/>
                <a:gd name="connsiteX17" fmla="*/ 9151767 w 9159987"/>
                <a:gd name="connsiteY17" fmla="*/ 860638 h 3090711"/>
                <a:gd name="connsiteX18" fmla="*/ 9159987 w 9159987"/>
                <a:gd name="connsiteY18" fmla="*/ 3090711 h 3090711"/>
                <a:gd name="connsiteX19" fmla="*/ 0 w 9159987"/>
                <a:gd name="connsiteY19" fmla="*/ 3090711 h 3090711"/>
                <a:gd name="connsiteX20" fmla="*/ 0 w 9159987"/>
                <a:gd name="connsiteY20" fmla="*/ 3127 h 3090711"/>
                <a:gd name="connsiteX0" fmla="*/ 5938 w 9160658"/>
                <a:gd name="connsiteY0" fmla="*/ 3127 h 3090711"/>
                <a:gd name="connsiteX1" fmla="*/ 302096 w 9160658"/>
                <a:gd name="connsiteY1" fmla="*/ 0 h 3090711"/>
                <a:gd name="connsiteX2" fmla="*/ 598418 w 9160658"/>
                <a:gd name="connsiteY2" fmla="*/ 10668 h 3090711"/>
                <a:gd name="connsiteX3" fmla="*/ 883129 w 9160658"/>
                <a:gd name="connsiteY3" fmla="*/ 27765 h 3090711"/>
                <a:gd name="connsiteX4" fmla="*/ 1413480 w 9160658"/>
                <a:gd name="connsiteY4" fmla="*/ 78001 h 3090711"/>
                <a:gd name="connsiteX5" fmla="*/ 1816273 w 9160658"/>
                <a:gd name="connsiteY5" fmla="*/ 123939 h 3090711"/>
                <a:gd name="connsiteX6" fmla="*/ 2284989 w 9160658"/>
                <a:gd name="connsiteY6" fmla="*/ 207127 h 3090711"/>
                <a:gd name="connsiteX7" fmla="*/ 2813343 w 9160658"/>
                <a:gd name="connsiteY7" fmla="*/ 326337 h 3090711"/>
                <a:gd name="connsiteX8" fmla="*/ 3338173 w 9160658"/>
                <a:gd name="connsiteY8" fmla="*/ 438927 h 3090711"/>
                <a:gd name="connsiteX9" fmla="*/ 3758541 w 9160658"/>
                <a:gd name="connsiteY9" fmla="*/ 525641 h 3090711"/>
                <a:gd name="connsiteX10" fmla="*/ 4093431 w 9160658"/>
                <a:gd name="connsiteY10" fmla="*/ 583811 h 3090711"/>
                <a:gd name="connsiteX11" fmla="*/ 4566063 w 9160658"/>
                <a:gd name="connsiteY11" fmla="*/ 662207 h 3090711"/>
                <a:gd name="connsiteX12" fmla="*/ 4839195 w 9160658"/>
                <a:gd name="connsiteY12" fmla="*/ 703771 h 3090711"/>
                <a:gd name="connsiteX13" fmla="*/ 5088577 w 9160658"/>
                <a:gd name="connsiteY13" fmla="*/ 733459 h 3090711"/>
                <a:gd name="connsiteX14" fmla="*/ 5343896 w 9160658"/>
                <a:gd name="connsiteY14" fmla="*/ 763148 h 3090711"/>
                <a:gd name="connsiteX15" fmla="*/ 5858165 w 9160658"/>
                <a:gd name="connsiteY15" fmla="*/ 823433 h 3090711"/>
                <a:gd name="connsiteX16" fmla="*/ 6459702 w 9160658"/>
                <a:gd name="connsiteY16" fmla="*/ 862000 h 3090711"/>
                <a:gd name="connsiteX17" fmla="*/ 9159451 w 9160658"/>
                <a:gd name="connsiteY17" fmla="*/ 891374 h 3090711"/>
                <a:gd name="connsiteX18" fmla="*/ 9159987 w 9160658"/>
                <a:gd name="connsiteY18" fmla="*/ 3090711 h 3090711"/>
                <a:gd name="connsiteX19" fmla="*/ 0 w 9160658"/>
                <a:gd name="connsiteY19" fmla="*/ 3090711 h 3090711"/>
                <a:gd name="connsiteX20" fmla="*/ 0 w 9160658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858165 w 9167804"/>
                <a:gd name="connsiteY15" fmla="*/ 823433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858165 w 9167804"/>
                <a:gd name="connsiteY15" fmla="*/ 823433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965741 w 9167804"/>
                <a:gd name="connsiteY15" fmla="*/ 854169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6034897 w 9167804"/>
                <a:gd name="connsiteY15" fmla="*/ 861853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6034897 w 9167804"/>
                <a:gd name="connsiteY15" fmla="*/ 861853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6034897 w 9167804"/>
                <a:gd name="connsiteY15" fmla="*/ 838801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6034897 w 9167804"/>
                <a:gd name="connsiteY15" fmla="*/ 838801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6215872 w 9167804"/>
                <a:gd name="connsiteY15" fmla="*/ 845945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691997 w 9167804"/>
                <a:gd name="connsiteY15" fmla="*/ 814989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691997 w 9167804"/>
                <a:gd name="connsiteY15" fmla="*/ 814989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691997 w 9167804"/>
                <a:gd name="connsiteY15" fmla="*/ 814989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691997 w 9167804"/>
                <a:gd name="connsiteY15" fmla="*/ 814989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822966 w 9167804"/>
                <a:gd name="connsiteY15" fmla="*/ 841183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822966 w 9167804"/>
                <a:gd name="connsiteY15" fmla="*/ 841183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837254 w 9167804"/>
                <a:gd name="connsiteY15" fmla="*/ 822133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5958698 w 9167804"/>
                <a:gd name="connsiteY15" fmla="*/ 834040 h 3090711"/>
                <a:gd name="connsiteX16" fmla="*/ 6459702 w 9167804"/>
                <a:gd name="connsiteY16" fmla="*/ 862000 h 3090711"/>
                <a:gd name="connsiteX17" fmla="*/ 9167135 w 9167804"/>
                <a:gd name="connsiteY17" fmla="*/ 868322 h 3090711"/>
                <a:gd name="connsiteX18" fmla="*/ 9159987 w 9167804"/>
                <a:gd name="connsiteY18" fmla="*/ 3090711 h 3090711"/>
                <a:gd name="connsiteX19" fmla="*/ 0 w 9167804"/>
                <a:gd name="connsiteY19" fmla="*/ 3090711 h 3090711"/>
                <a:gd name="connsiteX20" fmla="*/ 0 w 9167804"/>
                <a:gd name="connsiteY20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6459702 w 9167804"/>
                <a:gd name="connsiteY15" fmla="*/ 862000 h 3090711"/>
                <a:gd name="connsiteX16" fmla="*/ 9167135 w 9167804"/>
                <a:gd name="connsiteY16" fmla="*/ 868322 h 3090711"/>
                <a:gd name="connsiteX17" fmla="*/ 9159987 w 9167804"/>
                <a:gd name="connsiteY17" fmla="*/ 3090711 h 3090711"/>
                <a:gd name="connsiteX18" fmla="*/ 0 w 9167804"/>
                <a:gd name="connsiteY18" fmla="*/ 3090711 h 3090711"/>
                <a:gd name="connsiteX19" fmla="*/ 0 w 9167804"/>
                <a:gd name="connsiteY19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63148 h 3090711"/>
                <a:gd name="connsiteX15" fmla="*/ 6459702 w 9167804"/>
                <a:gd name="connsiteY15" fmla="*/ 862000 h 3090711"/>
                <a:gd name="connsiteX16" fmla="*/ 9167135 w 9167804"/>
                <a:gd name="connsiteY16" fmla="*/ 868322 h 3090711"/>
                <a:gd name="connsiteX17" fmla="*/ 9159987 w 9167804"/>
                <a:gd name="connsiteY17" fmla="*/ 3090711 h 3090711"/>
                <a:gd name="connsiteX18" fmla="*/ 0 w 9167804"/>
                <a:gd name="connsiteY18" fmla="*/ 3090711 h 3090711"/>
                <a:gd name="connsiteX19" fmla="*/ 0 w 9167804"/>
                <a:gd name="connsiteY19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70292 h 3090711"/>
                <a:gd name="connsiteX15" fmla="*/ 6459702 w 9167804"/>
                <a:gd name="connsiteY15" fmla="*/ 862000 h 3090711"/>
                <a:gd name="connsiteX16" fmla="*/ 9167135 w 9167804"/>
                <a:gd name="connsiteY16" fmla="*/ 868322 h 3090711"/>
                <a:gd name="connsiteX17" fmla="*/ 9159987 w 9167804"/>
                <a:gd name="connsiteY17" fmla="*/ 3090711 h 3090711"/>
                <a:gd name="connsiteX18" fmla="*/ 0 w 9167804"/>
                <a:gd name="connsiteY18" fmla="*/ 3090711 h 3090711"/>
                <a:gd name="connsiteX19" fmla="*/ 0 w 9167804"/>
                <a:gd name="connsiteY19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566063 w 9167804"/>
                <a:gd name="connsiteY11" fmla="*/ 662207 h 3090711"/>
                <a:gd name="connsiteX12" fmla="*/ 4839195 w 9167804"/>
                <a:gd name="connsiteY12" fmla="*/ 703771 h 3090711"/>
                <a:gd name="connsiteX13" fmla="*/ 5088577 w 9167804"/>
                <a:gd name="connsiteY13" fmla="*/ 733459 h 3090711"/>
                <a:gd name="connsiteX14" fmla="*/ 5343896 w 9167804"/>
                <a:gd name="connsiteY14" fmla="*/ 770292 h 3090711"/>
                <a:gd name="connsiteX15" fmla="*/ 6459702 w 9167804"/>
                <a:gd name="connsiteY15" fmla="*/ 862000 h 3090711"/>
                <a:gd name="connsiteX16" fmla="*/ 9167135 w 9167804"/>
                <a:gd name="connsiteY16" fmla="*/ 868322 h 3090711"/>
                <a:gd name="connsiteX17" fmla="*/ 9159987 w 9167804"/>
                <a:gd name="connsiteY17" fmla="*/ 3090711 h 3090711"/>
                <a:gd name="connsiteX18" fmla="*/ 0 w 9167804"/>
                <a:gd name="connsiteY18" fmla="*/ 3090711 h 3090711"/>
                <a:gd name="connsiteX19" fmla="*/ 0 w 9167804"/>
                <a:gd name="connsiteY19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093431 w 9167804"/>
                <a:gd name="connsiteY10" fmla="*/ 583811 h 3090711"/>
                <a:gd name="connsiteX11" fmla="*/ 4839195 w 9167804"/>
                <a:gd name="connsiteY11" fmla="*/ 703771 h 3090711"/>
                <a:gd name="connsiteX12" fmla="*/ 5088577 w 9167804"/>
                <a:gd name="connsiteY12" fmla="*/ 733459 h 3090711"/>
                <a:gd name="connsiteX13" fmla="*/ 5343896 w 9167804"/>
                <a:gd name="connsiteY13" fmla="*/ 770292 h 3090711"/>
                <a:gd name="connsiteX14" fmla="*/ 6459702 w 9167804"/>
                <a:gd name="connsiteY14" fmla="*/ 862000 h 3090711"/>
                <a:gd name="connsiteX15" fmla="*/ 9167135 w 9167804"/>
                <a:gd name="connsiteY15" fmla="*/ 868322 h 3090711"/>
                <a:gd name="connsiteX16" fmla="*/ 9159987 w 9167804"/>
                <a:gd name="connsiteY16" fmla="*/ 3090711 h 3090711"/>
                <a:gd name="connsiteX17" fmla="*/ 0 w 9167804"/>
                <a:gd name="connsiteY17" fmla="*/ 3090711 h 3090711"/>
                <a:gd name="connsiteX18" fmla="*/ 0 w 9167804"/>
                <a:gd name="connsiteY18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433588 w 9167804"/>
                <a:gd name="connsiteY10" fmla="*/ 638675 h 3090711"/>
                <a:gd name="connsiteX11" fmla="*/ 4839195 w 9167804"/>
                <a:gd name="connsiteY11" fmla="*/ 703771 h 3090711"/>
                <a:gd name="connsiteX12" fmla="*/ 5088577 w 9167804"/>
                <a:gd name="connsiteY12" fmla="*/ 733459 h 3090711"/>
                <a:gd name="connsiteX13" fmla="*/ 5343896 w 9167804"/>
                <a:gd name="connsiteY13" fmla="*/ 770292 h 3090711"/>
                <a:gd name="connsiteX14" fmla="*/ 6459702 w 9167804"/>
                <a:gd name="connsiteY14" fmla="*/ 862000 h 3090711"/>
                <a:gd name="connsiteX15" fmla="*/ 9167135 w 9167804"/>
                <a:gd name="connsiteY15" fmla="*/ 868322 h 3090711"/>
                <a:gd name="connsiteX16" fmla="*/ 9159987 w 9167804"/>
                <a:gd name="connsiteY16" fmla="*/ 3090711 h 3090711"/>
                <a:gd name="connsiteX17" fmla="*/ 0 w 9167804"/>
                <a:gd name="connsiteY17" fmla="*/ 3090711 h 3090711"/>
                <a:gd name="connsiteX18" fmla="*/ 0 w 9167804"/>
                <a:gd name="connsiteY18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2813343 w 9167804"/>
                <a:gd name="connsiteY7" fmla="*/ 326337 h 3090711"/>
                <a:gd name="connsiteX8" fmla="*/ 3338173 w 9167804"/>
                <a:gd name="connsiteY8" fmla="*/ 438927 h 3090711"/>
                <a:gd name="connsiteX9" fmla="*/ 3758541 w 9167804"/>
                <a:gd name="connsiteY9" fmla="*/ 525641 h 3090711"/>
                <a:gd name="connsiteX10" fmla="*/ 4433588 w 9167804"/>
                <a:gd name="connsiteY10" fmla="*/ 638675 h 3090711"/>
                <a:gd name="connsiteX11" fmla="*/ 5088577 w 9167804"/>
                <a:gd name="connsiteY11" fmla="*/ 733459 h 3090711"/>
                <a:gd name="connsiteX12" fmla="*/ 5343896 w 9167804"/>
                <a:gd name="connsiteY12" fmla="*/ 770292 h 3090711"/>
                <a:gd name="connsiteX13" fmla="*/ 6459702 w 9167804"/>
                <a:gd name="connsiteY13" fmla="*/ 862000 h 3090711"/>
                <a:gd name="connsiteX14" fmla="*/ 9167135 w 9167804"/>
                <a:gd name="connsiteY14" fmla="*/ 868322 h 3090711"/>
                <a:gd name="connsiteX15" fmla="*/ 9159987 w 9167804"/>
                <a:gd name="connsiteY15" fmla="*/ 3090711 h 3090711"/>
                <a:gd name="connsiteX16" fmla="*/ 0 w 9167804"/>
                <a:gd name="connsiteY16" fmla="*/ 3090711 h 3090711"/>
                <a:gd name="connsiteX17" fmla="*/ 0 w 9167804"/>
                <a:gd name="connsiteY17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3338173 w 9167804"/>
                <a:gd name="connsiteY7" fmla="*/ 438927 h 3090711"/>
                <a:gd name="connsiteX8" fmla="*/ 3758541 w 9167804"/>
                <a:gd name="connsiteY8" fmla="*/ 525641 h 3090711"/>
                <a:gd name="connsiteX9" fmla="*/ 4433588 w 9167804"/>
                <a:gd name="connsiteY9" fmla="*/ 638675 h 3090711"/>
                <a:gd name="connsiteX10" fmla="*/ 5088577 w 9167804"/>
                <a:gd name="connsiteY10" fmla="*/ 733459 h 3090711"/>
                <a:gd name="connsiteX11" fmla="*/ 5343896 w 9167804"/>
                <a:gd name="connsiteY11" fmla="*/ 770292 h 3090711"/>
                <a:gd name="connsiteX12" fmla="*/ 6459702 w 9167804"/>
                <a:gd name="connsiteY12" fmla="*/ 862000 h 3090711"/>
                <a:gd name="connsiteX13" fmla="*/ 9167135 w 9167804"/>
                <a:gd name="connsiteY13" fmla="*/ 868322 h 3090711"/>
                <a:gd name="connsiteX14" fmla="*/ 9159987 w 9167804"/>
                <a:gd name="connsiteY14" fmla="*/ 3090711 h 3090711"/>
                <a:gd name="connsiteX15" fmla="*/ 0 w 9167804"/>
                <a:gd name="connsiteY15" fmla="*/ 3090711 h 3090711"/>
                <a:gd name="connsiteX16" fmla="*/ 0 w 9167804"/>
                <a:gd name="connsiteY16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3338173 w 9167804"/>
                <a:gd name="connsiteY7" fmla="*/ 438927 h 3090711"/>
                <a:gd name="connsiteX8" fmla="*/ 4433588 w 9167804"/>
                <a:gd name="connsiteY8" fmla="*/ 638675 h 3090711"/>
                <a:gd name="connsiteX9" fmla="*/ 5088577 w 9167804"/>
                <a:gd name="connsiteY9" fmla="*/ 733459 h 3090711"/>
                <a:gd name="connsiteX10" fmla="*/ 5343896 w 9167804"/>
                <a:gd name="connsiteY10" fmla="*/ 770292 h 3090711"/>
                <a:gd name="connsiteX11" fmla="*/ 6459702 w 9167804"/>
                <a:gd name="connsiteY11" fmla="*/ 862000 h 3090711"/>
                <a:gd name="connsiteX12" fmla="*/ 9167135 w 9167804"/>
                <a:gd name="connsiteY12" fmla="*/ 868322 h 3090711"/>
                <a:gd name="connsiteX13" fmla="*/ 9159987 w 9167804"/>
                <a:gd name="connsiteY13" fmla="*/ 3090711 h 3090711"/>
                <a:gd name="connsiteX14" fmla="*/ 0 w 9167804"/>
                <a:gd name="connsiteY14" fmla="*/ 3090711 h 3090711"/>
                <a:gd name="connsiteX15" fmla="*/ 0 w 9167804"/>
                <a:gd name="connsiteY15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3338173 w 9167804"/>
                <a:gd name="connsiteY7" fmla="*/ 438927 h 3090711"/>
                <a:gd name="connsiteX8" fmla="*/ 4433588 w 9167804"/>
                <a:gd name="connsiteY8" fmla="*/ 638675 h 3090711"/>
                <a:gd name="connsiteX9" fmla="*/ 5088577 w 9167804"/>
                <a:gd name="connsiteY9" fmla="*/ 733459 h 3090711"/>
                <a:gd name="connsiteX10" fmla="*/ 5343896 w 9167804"/>
                <a:gd name="connsiteY10" fmla="*/ 770292 h 3090711"/>
                <a:gd name="connsiteX11" fmla="*/ 6459702 w 9167804"/>
                <a:gd name="connsiteY11" fmla="*/ 862000 h 3090711"/>
                <a:gd name="connsiteX12" fmla="*/ 9167135 w 9167804"/>
                <a:gd name="connsiteY12" fmla="*/ 868322 h 3090711"/>
                <a:gd name="connsiteX13" fmla="*/ 9159987 w 9167804"/>
                <a:gd name="connsiteY13" fmla="*/ 3090711 h 3090711"/>
                <a:gd name="connsiteX14" fmla="*/ 0 w 9167804"/>
                <a:gd name="connsiteY14" fmla="*/ 3090711 h 3090711"/>
                <a:gd name="connsiteX15" fmla="*/ 0 w 9167804"/>
                <a:gd name="connsiteY15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3338173 w 9167804"/>
                <a:gd name="connsiteY7" fmla="*/ 438927 h 3090711"/>
                <a:gd name="connsiteX8" fmla="*/ 4433588 w 9167804"/>
                <a:gd name="connsiteY8" fmla="*/ 638675 h 3090711"/>
                <a:gd name="connsiteX9" fmla="*/ 5088577 w 9167804"/>
                <a:gd name="connsiteY9" fmla="*/ 733459 h 3090711"/>
                <a:gd name="connsiteX10" fmla="*/ 6459702 w 9167804"/>
                <a:gd name="connsiteY10" fmla="*/ 862000 h 3090711"/>
                <a:gd name="connsiteX11" fmla="*/ 9167135 w 9167804"/>
                <a:gd name="connsiteY11" fmla="*/ 868322 h 3090711"/>
                <a:gd name="connsiteX12" fmla="*/ 9159987 w 9167804"/>
                <a:gd name="connsiteY12" fmla="*/ 3090711 h 3090711"/>
                <a:gd name="connsiteX13" fmla="*/ 0 w 9167804"/>
                <a:gd name="connsiteY13" fmla="*/ 3090711 h 3090711"/>
                <a:gd name="connsiteX14" fmla="*/ 0 w 9167804"/>
                <a:gd name="connsiteY14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3338173 w 9167804"/>
                <a:gd name="connsiteY7" fmla="*/ 438927 h 3090711"/>
                <a:gd name="connsiteX8" fmla="*/ 4433588 w 9167804"/>
                <a:gd name="connsiteY8" fmla="*/ 638675 h 3090711"/>
                <a:gd name="connsiteX9" fmla="*/ 5088577 w 9167804"/>
                <a:gd name="connsiteY9" fmla="*/ 733459 h 3090711"/>
                <a:gd name="connsiteX10" fmla="*/ 6459702 w 9167804"/>
                <a:gd name="connsiteY10" fmla="*/ 862000 h 3090711"/>
                <a:gd name="connsiteX11" fmla="*/ 9167135 w 9167804"/>
                <a:gd name="connsiteY11" fmla="*/ 868322 h 3090711"/>
                <a:gd name="connsiteX12" fmla="*/ 9159987 w 9167804"/>
                <a:gd name="connsiteY12" fmla="*/ 3090711 h 3090711"/>
                <a:gd name="connsiteX13" fmla="*/ 0 w 9167804"/>
                <a:gd name="connsiteY13" fmla="*/ 3090711 h 3090711"/>
                <a:gd name="connsiteX14" fmla="*/ 0 w 9167804"/>
                <a:gd name="connsiteY14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3338173 w 9167804"/>
                <a:gd name="connsiteY7" fmla="*/ 438927 h 3090711"/>
                <a:gd name="connsiteX8" fmla="*/ 4433588 w 9167804"/>
                <a:gd name="connsiteY8" fmla="*/ 638675 h 3090711"/>
                <a:gd name="connsiteX9" fmla="*/ 5088577 w 9167804"/>
                <a:gd name="connsiteY9" fmla="*/ 733459 h 3090711"/>
                <a:gd name="connsiteX10" fmla="*/ 6459702 w 9167804"/>
                <a:gd name="connsiteY10" fmla="*/ 862000 h 3090711"/>
                <a:gd name="connsiteX11" fmla="*/ 9167135 w 9167804"/>
                <a:gd name="connsiteY11" fmla="*/ 868322 h 3090711"/>
                <a:gd name="connsiteX12" fmla="*/ 9159987 w 9167804"/>
                <a:gd name="connsiteY12" fmla="*/ 3090711 h 3090711"/>
                <a:gd name="connsiteX13" fmla="*/ 0 w 9167804"/>
                <a:gd name="connsiteY13" fmla="*/ 3090711 h 3090711"/>
                <a:gd name="connsiteX14" fmla="*/ 0 w 9167804"/>
                <a:gd name="connsiteY14" fmla="*/ 3127 h 3090711"/>
                <a:gd name="connsiteX0" fmla="*/ 5938 w 9167804"/>
                <a:gd name="connsiteY0" fmla="*/ 3127 h 3090711"/>
                <a:gd name="connsiteX1" fmla="*/ 302096 w 9167804"/>
                <a:gd name="connsiteY1" fmla="*/ 0 h 3090711"/>
                <a:gd name="connsiteX2" fmla="*/ 598418 w 9167804"/>
                <a:gd name="connsiteY2" fmla="*/ 10668 h 3090711"/>
                <a:gd name="connsiteX3" fmla="*/ 883129 w 9167804"/>
                <a:gd name="connsiteY3" fmla="*/ 27765 h 3090711"/>
                <a:gd name="connsiteX4" fmla="*/ 1413480 w 9167804"/>
                <a:gd name="connsiteY4" fmla="*/ 78001 h 3090711"/>
                <a:gd name="connsiteX5" fmla="*/ 1816273 w 9167804"/>
                <a:gd name="connsiteY5" fmla="*/ 123939 h 3090711"/>
                <a:gd name="connsiteX6" fmla="*/ 2284989 w 9167804"/>
                <a:gd name="connsiteY6" fmla="*/ 207127 h 3090711"/>
                <a:gd name="connsiteX7" fmla="*/ 3338173 w 9167804"/>
                <a:gd name="connsiteY7" fmla="*/ 438927 h 3090711"/>
                <a:gd name="connsiteX8" fmla="*/ 4433588 w 9167804"/>
                <a:gd name="connsiteY8" fmla="*/ 638675 h 3090711"/>
                <a:gd name="connsiteX9" fmla="*/ 5088577 w 9167804"/>
                <a:gd name="connsiteY9" fmla="*/ 733459 h 3090711"/>
                <a:gd name="connsiteX10" fmla="*/ 6454092 w 9167804"/>
                <a:gd name="connsiteY10" fmla="*/ 867610 h 3090711"/>
                <a:gd name="connsiteX11" fmla="*/ 9167135 w 9167804"/>
                <a:gd name="connsiteY11" fmla="*/ 868322 h 3090711"/>
                <a:gd name="connsiteX12" fmla="*/ 9159987 w 9167804"/>
                <a:gd name="connsiteY12" fmla="*/ 3090711 h 3090711"/>
                <a:gd name="connsiteX13" fmla="*/ 0 w 9167804"/>
                <a:gd name="connsiteY13" fmla="*/ 3090711 h 3090711"/>
                <a:gd name="connsiteX14" fmla="*/ 0 w 9167804"/>
                <a:gd name="connsiteY14" fmla="*/ 3127 h 3090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167804" h="3090711">
                  <a:moveTo>
                    <a:pt x="5938" y="3127"/>
                  </a:moveTo>
                  <a:lnTo>
                    <a:pt x="302096" y="0"/>
                  </a:lnTo>
                  <a:lnTo>
                    <a:pt x="598418" y="10668"/>
                  </a:lnTo>
                  <a:lnTo>
                    <a:pt x="883129" y="27765"/>
                  </a:lnTo>
                  <a:lnTo>
                    <a:pt x="1413480" y="78001"/>
                  </a:lnTo>
                  <a:lnTo>
                    <a:pt x="1816273" y="123939"/>
                  </a:lnTo>
                  <a:cubicBezTo>
                    <a:pt x="2009024" y="154049"/>
                    <a:pt x="2104144" y="174635"/>
                    <a:pt x="2284989" y="207127"/>
                  </a:cubicBezTo>
                  <a:cubicBezTo>
                    <a:pt x="2538639" y="259625"/>
                    <a:pt x="3092581" y="385841"/>
                    <a:pt x="3338173" y="438927"/>
                  </a:cubicBezTo>
                  <a:lnTo>
                    <a:pt x="4433588" y="638675"/>
                  </a:lnTo>
                  <a:lnTo>
                    <a:pt x="5088577" y="733459"/>
                  </a:lnTo>
                  <a:cubicBezTo>
                    <a:pt x="5751775" y="836158"/>
                    <a:pt x="5997050" y="824763"/>
                    <a:pt x="6454092" y="867610"/>
                  </a:cubicBezTo>
                  <a:cubicBezTo>
                    <a:pt x="7091298" y="883948"/>
                    <a:pt x="8264657" y="866215"/>
                    <a:pt x="9167135" y="868322"/>
                  </a:cubicBezTo>
                  <a:cubicBezTo>
                    <a:pt x="9171093" y="1622405"/>
                    <a:pt x="9156029" y="2336628"/>
                    <a:pt x="9159987" y="3090711"/>
                  </a:cubicBezTo>
                  <a:lnTo>
                    <a:pt x="0" y="3090711"/>
                  </a:lnTo>
                  <a:lnTo>
                    <a:pt x="0" y="3127"/>
                  </a:lnTo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  <p:sp>
          <p:nvSpPr>
            <p:cNvPr id="15" name="Freeform 14"/>
            <p:cNvSpPr/>
            <p:nvPr userDrawn="1"/>
          </p:nvSpPr>
          <p:spPr>
            <a:xfrm>
              <a:off x="2578967" y="2109794"/>
              <a:ext cx="6573038" cy="747096"/>
            </a:xfrm>
            <a:custGeom>
              <a:avLst/>
              <a:gdLst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34607 w 5264290"/>
                <a:gd name="connsiteY9" fmla="*/ 259608 h 747096"/>
                <a:gd name="connsiteX10" fmla="*/ 349029 w 5264290"/>
                <a:gd name="connsiteY10" fmla="*/ 253839 h 747096"/>
                <a:gd name="connsiteX11" fmla="*/ 372106 w 5264290"/>
                <a:gd name="connsiteY11" fmla="*/ 242301 h 747096"/>
                <a:gd name="connsiteX12" fmla="*/ 409605 w 5264290"/>
                <a:gd name="connsiteY12" fmla="*/ 233648 h 747096"/>
                <a:gd name="connsiteX13" fmla="*/ 438450 w 5264290"/>
                <a:gd name="connsiteY13" fmla="*/ 222109 h 747096"/>
                <a:gd name="connsiteX14" fmla="*/ 478834 w 5264290"/>
                <a:gd name="connsiteY14" fmla="*/ 213456 h 747096"/>
                <a:gd name="connsiteX15" fmla="*/ 527871 w 5264290"/>
                <a:gd name="connsiteY15" fmla="*/ 196148 h 747096"/>
                <a:gd name="connsiteX16" fmla="*/ 576908 w 5264290"/>
                <a:gd name="connsiteY16" fmla="*/ 187495 h 747096"/>
                <a:gd name="connsiteX17" fmla="*/ 611523 w 5264290"/>
                <a:gd name="connsiteY17" fmla="*/ 178841 h 747096"/>
                <a:gd name="connsiteX18" fmla="*/ 651906 w 5264290"/>
                <a:gd name="connsiteY18" fmla="*/ 167303 h 747096"/>
                <a:gd name="connsiteX19" fmla="*/ 689405 w 5264290"/>
                <a:gd name="connsiteY19" fmla="*/ 161534 h 747096"/>
                <a:gd name="connsiteX20" fmla="*/ 729789 w 5264290"/>
                <a:gd name="connsiteY20" fmla="*/ 155765 h 747096"/>
                <a:gd name="connsiteX21" fmla="*/ 761519 w 5264290"/>
                <a:gd name="connsiteY21" fmla="*/ 147111 h 747096"/>
                <a:gd name="connsiteX22" fmla="*/ 799018 w 5264290"/>
                <a:gd name="connsiteY22" fmla="*/ 141342 h 747096"/>
                <a:gd name="connsiteX23" fmla="*/ 819210 w 5264290"/>
                <a:gd name="connsiteY23" fmla="*/ 138458 h 747096"/>
                <a:gd name="connsiteX24" fmla="*/ 856709 w 5264290"/>
                <a:gd name="connsiteY24" fmla="*/ 129804 h 747096"/>
                <a:gd name="connsiteX25" fmla="*/ 911515 w 5264290"/>
                <a:gd name="connsiteY25" fmla="*/ 124035 h 747096"/>
                <a:gd name="connsiteX26" fmla="*/ 954783 w 5264290"/>
                <a:gd name="connsiteY26" fmla="*/ 115381 h 747096"/>
                <a:gd name="connsiteX27" fmla="*/ 1003821 w 5264290"/>
                <a:gd name="connsiteY27" fmla="*/ 112497 h 747096"/>
                <a:gd name="connsiteX28" fmla="*/ 1038435 w 5264290"/>
                <a:gd name="connsiteY28" fmla="*/ 106728 h 747096"/>
                <a:gd name="connsiteX29" fmla="*/ 1078819 w 5264290"/>
                <a:gd name="connsiteY29" fmla="*/ 103843 h 747096"/>
                <a:gd name="connsiteX30" fmla="*/ 1145163 w 5264290"/>
                <a:gd name="connsiteY30" fmla="*/ 95189 h 747096"/>
                <a:gd name="connsiteX31" fmla="*/ 1243238 w 5264290"/>
                <a:gd name="connsiteY31" fmla="*/ 86536 h 747096"/>
                <a:gd name="connsiteX32" fmla="*/ 1375927 w 5264290"/>
                <a:gd name="connsiteY32" fmla="*/ 77882 h 747096"/>
                <a:gd name="connsiteX33" fmla="*/ 1574960 w 5264290"/>
                <a:gd name="connsiteY33" fmla="*/ 63460 h 747096"/>
                <a:gd name="connsiteX34" fmla="*/ 1794185 w 5264290"/>
                <a:gd name="connsiteY34" fmla="*/ 54806 h 747096"/>
                <a:gd name="connsiteX35" fmla="*/ 1996103 w 5264290"/>
                <a:gd name="connsiteY35" fmla="*/ 43268 h 747096"/>
                <a:gd name="connsiteX36" fmla="*/ 2172060 w 5264290"/>
                <a:gd name="connsiteY36" fmla="*/ 34614 h 747096"/>
                <a:gd name="connsiteX37" fmla="*/ 2399939 w 5264290"/>
                <a:gd name="connsiteY37" fmla="*/ 25960 h 747096"/>
                <a:gd name="connsiteX38" fmla="*/ 2723008 w 5264290"/>
                <a:gd name="connsiteY38" fmla="*/ 20191 h 747096"/>
                <a:gd name="connsiteX39" fmla="*/ 2858581 w 5264290"/>
                <a:gd name="connsiteY39" fmla="*/ 17307 h 747096"/>
                <a:gd name="connsiteX40" fmla="*/ 2985501 w 5264290"/>
                <a:gd name="connsiteY40" fmla="*/ 14422 h 747096"/>
                <a:gd name="connsiteX41" fmla="*/ 3115306 w 5264290"/>
                <a:gd name="connsiteY41" fmla="*/ 11538 h 747096"/>
                <a:gd name="connsiteX42" fmla="*/ 3294147 w 5264290"/>
                <a:gd name="connsiteY42" fmla="*/ 8653 h 747096"/>
                <a:gd name="connsiteX43" fmla="*/ 3464335 w 5264290"/>
                <a:gd name="connsiteY43" fmla="*/ 8653 h 747096"/>
                <a:gd name="connsiteX44" fmla="*/ 3669138 w 5264290"/>
                <a:gd name="connsiteY44" fmla="*/ 2884 h 747096"/>
                <a:gd name="connsiteX45" fmla="*/ 5264290 w 5264290"/>
                <a:gd name="connsiteY45" fmla="*/ 0 h 747096"/>
                <a:gd name="connsiteX46" fmla="*/ 5264290 w 5264290"/>
                <a:gd name="connsiteY46" fmla="*/ 744212 h 747096"/>
                <a:gd name="connsiteX47" fmla="*/ 3135498 w 5264290"/>
                <a:gd name="connsiteY47" fmla="*/ 747096 h 747096"/>
                <a:gd name="connsiteX48" fmla="*/ 3005693 w 5264290"/>
                <a:gd name="connsiteY48" fmla="*/ 744212 h 747096"/>
                <a:gd name="connsiteX49" fmla="*/ 2910503 w 5264290"/>
                <a:gd name="connsiteY49" fmla="*/ 747096 h 747096"/>
                <a:gd name="connsiteX50" fmla="*/ 2835505 w 5264290"/>
                <a:gd name="connsiteY50" fmla="*/ 747096 h 747096"/>
                <a:gd name="connsiteX51" fmla="*/ 2777814 w 5264290"/>
                <a:gd name="connsiteY51" fmla="*/ 744212 h 747096"/>
                <a:gd name="connsiteX52" fmla="*/ 2656664 w 5264290"/>
                <a:gd name="connsiteY52" fmla="*/ 741327 h 747096"/>
                <a:gd name="connsiteX53" fmla="*/ 2509552 w 5264290"/>
                <a:gd name="connsiteY53" fmla="*/ 741327 h 747096"/>
                <a:gd name="connsiteX54" fmla="*/ 2414362 w 5264290"/>
                <a:gd name="connsiteY54" fmla="*/ 735558 h 747096"/>
                <a:gd name="connsiteX55" fmla="*/ 2324941 w 5264290"/>
                <a:gd name="connsiteY55" fmla="*/ 729789 h 747096"/>
                <a:gd name="connsiteX56" fmla="*/ 2221098 w 5264290"/>
                <a:gd name="connsiteY56" fmla="*/ 724020 h 747096"/>
                <a:gd name="connsiteX57" fmla="*/ 2146099 w 5264290"/>
                <a:gd name="connsiteY57" fmla="*/ 718251 h 747096"/>
                <a:gd name="connsiteX58" fmla="*/ 2033602 w 5264290"/>
                <a:gd name="connsiteY58" fmla="*/ 706713 h 747096"/>
                <a:gd name="connsiteX59" fmla="*/ 1944181 w 5264290"/>
                <a:gd name="connsiteY59" fmla="*/ 695174 h 747096"/>
                <a:gd name="connsiteX60" fmla="*/ 1840338 w 5264290"/>
                <a:gd name="connsiteY60" fmla="*/ 686521 h 747096"/>
                <a:gd name="connsiteX61" fmla="*/ 1655727 w 5264290"/>
                <a:gd name="connsiteY61" fmla="*/ 669213 h 747096"/>
                <a:gd name="connsiteX62" fmla="*/ 1471116 w 5264290"/>
                <a:gd name="connsiteY62" fmla="*/ 649022 h 747096"/>
                <a:gd name="connsiteX63" fmla="*/ 1277852 w 5264290"/>
                <a:gd name="connsiteY63" fmla="*/ 631714 h 747096"/>
                <a:gd name="connsiteX64" fmla="*/ 1021128 w 5264290"/>
                <a:gd name="connsiteY64" fmla="*/ 602869 h 747096"/>
                <a:gd name="connsiteX65" fmla="*/ 775942 w 5264290"/>
                <a:gd name="connsiteY65" fmla="*/ 571139 h 747096"/>
                <a:gd name="connsiteX66" fmla="*/ 631715 w 5264290"/>
                <a:gd name="connsiteY66" fmla="*/ 548063 h 747096"/>
                <a:gd name="connsiteX67" fmla="*/ 496141 w 5264290"/>
                <a:gd name="connsiteY67" fmla="*/ 522102 h 747096"/>
                <a:gd name="connsiteX68" fmla="*/ 331722 w 5264290"/>
                <a:gd name="connsiteY68" fmla="*/ 496141 h 747096"/>
                <a:gd name="connsiteX69" fmla="*/ 126920 w 5264290"/>
                <a:gd name="connsiteY69" fmla="*/ 461526 h 747096"/>
                <a:gd name="connsiteX70" fmla="*/ 0 w 5264290"/>
                <a:gd name="connsiteY70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34607 w 5264290"/>
                <a:gd name="connsiteY9" fmla="*/ 259608 h 747096"/>
                <a:gd name="connsiteX10" fmla="*/ 349029 w 5264290"/>
                <a:gd name="connsiteY10" fmla="*/ 253839 h 747096"/>
                <a:gd name="connsiteX11" fmla="*/ 372106 w 5264290"/>
                <a:gd name="connsiteY11" fmla="*/ 242301 h 747096"/>
                <a:gd name="connsiteX12" fmla="*/ 409605 w 5264290"/>
                <a:gd name="connsiteY12" fmla="*/ 233648 h 747096"/>
                <a:gd name="connsiteX13" fmla="*/ 438450 w 5264290"/>
                <a:gd name="connsiteY13" fmla="*/ 222109 h 747096"/>
                <a:gd name="connsiteX14" fmla="*/ 478834 w 5264290"/>
                <a:gd name="connsiteY14" fmla="*/ 213456 h 747096"/>
                <a:gd name="connsiteX15" fmla="*/ 527871 w 5264290"/>
                <a:gd name="connsiteY15" fmla="*/ 196148 h 747096"/>
                <a:gd name="connsiteX16" fmla="*/ 576908 w 5264290"/>
                <a:gd name="connsiteY16" fmla="*/ 187495 h 747096"/>
                <a:gd name="connsiteX17" fmla="*/ 611523 w 5264290"/>
                <a:gd name="connsiteY17" fmla="*/ 178841 h 747096"/>
                <a:gd name="connsiteX18" fmla="*/ 651906 w 5264290"/>
                <a:gd name="connsiteY18" fmla="*/ 167303 h 747096"/>
                <a:gd name="connsiteX19" fmla="*/ 689405 w 5264290"/>
                <a:gd name="connsiteY19" fmla="*/ 161534 h 747096"/>
                <a:gd name="connsiteX20" fmla="*/ 729789 w 5264290"/>
                <a:gd name="connsiteY20" fmla="*/ 155765 h 747096"/>
                <a:gd name="connsiteX21" fmla="*/ 761519 w 5264290"/>
                <a:gd name="connsiteY21" fmla="*/ 147111 h 747096"/>
                <a:gd name="connsiteX22" fmla="*/ 799018 w 5264290"/>
                <a:gd name="connsiteY22" fmla="*/ 141342 h 747096"/>
                <a:gd name="connsiteX23" fmla="*/ 819210 w 5264290"/>
                <a:gd name="connsiteY23" fmla="*/ 138458 h 747096"/>
                <a:gd name="connsiteX24" fmla="*/ 856709 w 5264290"/>
                <a:gd name="connsiteY24" fmla="*/ 129804 h 747096"/>
                <a:gd name="connsiteX25" fmla="*/ 911515 w 5264290"/>
                <a:gd name="connsiteY25" fmla="*/ 124035 h 747096"/>
                <a:gd name="connsiteX26" fmla="*/ 1003821 w 5264290"/>
                <a:gd name="connsiteY26" fmla="*/ 112497 h 747096"/>
                <a:gd name="connsiteX27" fmla="*/ 1038435 w 5264290"/>
                <a:gd name="connsiteY27" fmla="*/ 106728 h 747096"/>
                <a:gd name="connsiteX28" fmla="*/ 1078819 w 5264290"/>
                <a:gd name="connsiteY28" fmla="*/ 103843 h 747096"/>
                <a:gd name="connsiteX29" fmla="*/ 1145163 w 5264290"/>
                <a:gd name="connsiteY29" fmla="*/ 95189 h 747096"/>
                <a:gd name="connsiteX30" fmla="*/ 1243238 w 5264290"/>
                <a:gd name="connsiteY30" fmla="*/ 86536 h 747096"/>
                <a:gd name="connsiteX31" fmla="*/ 1375927 w 5264290"/>
                <a:gd name="connsiteY31" fmla="*/ 77882 h 747096"/>
                <a:gd name="connsiteX32" fmla="*/ 1574960 w 5264290"/>
                <a:gd name="connsiteY32" fmla="*/ 63460 h 747096"/>
                <a:gd name="connsiteX33" fmla="*/ 1794185 w 5264290"/>
                <a:gd name="connsiteY33" fmla="*/ 54806 h 747096"/>
                <a:gd name="connsiteX34" fmla="*/ 1996103 w 5264290"/>
                <a:gd name="connsiteY34" fmla="*/ 43268 h 747096"/>
                <a:gd name="connsiteX35" fmla="*/ 2172060 w 5264290"/>
                <a:gd name="connsiteY35" fmla="*/ 34614 h 747096"/>
                <a:gd name="connsiteX36" fmla="*/ 2399939 w 5264290"/>
                <a:gd name="connsiteY36" fmla="*/ 25960 h 747096"/>
                <a:gd name="connsiteX37" fmla="*/ 2723008 w 5264290"/>
                <a:gd name="connsiteY37" fmla="*/ 20191 h 747096"/>
                <a:gd name="connsiteX38" fmla="*/ 2858581 w 5264290"/>
                <a:gd name="connsiteY38" fmla="*/ 17307 h 747096"/>
                <a:gd name="connsiteX39" fmla="*/ 2985501 w 5264290"/>
                <a:gd name="connsiteY39" fmla="*/ 14422 h 747096"/>
                <a:gd name="connsiteX40" fmla="*/ 3115306 w 5264290"/>
                <a:gd name="connsiteY40" fmla="*/ 11538 h 747096"/>
                <a:gd name="connsiteX41" fmla="*/ 3294147 w 5264290"/>
                <a:gd name="connsiteY41" fmla="*/ 8653 h 747096"/>
                <a:gd name="connsiteX42" fmla="*/ 3464335 w 5264290"/>
                <a:gd name="connsiteY42" fmla="*/ 8653 h 747096"/>
                <a:gd name="connsiteX43" fmla="*/ 3669138 w 5264290"/>
                <a:gd name="connsiteY43" fmla="*/ 2884 h 747096"/>
                <a:gd name="connsiteX44" fmla="*/ 5264290 w 5264290"/>
                <a:gd name="connsiteY44" fmla="*/ 0 h 747096"/>
                <a:gd name="connsiteX45" fmla="*/ 5264290 w 5264290"/>
                <a:gd name="connsiteY45" fmla="*/ 744212 h 747096"/>
                <a:gd name="connsiteX46" fmla="*/ 3135498 w 5264290"/>
                <a:gd name="connsiteY46" fmla="*/ 747096 h 747096"/>
                <a:gd name="connsiteX47" fmla="*/ 3005693 w 5264290"/>
                <a:gd name="connsiteY47" fmla="*/ 744212 h 747096"/>
                <a:gd name="connsiteX48" fmla="*/ 2910503 w 5264290"/>
                <a:gd name="connsiteY48" fmla="*/ 747096 h 747096"/>
                <a:gd name="connsiteX49" fmla="*/ 2835505 w 5264290"/>
                <a:gd name="connsiteY49" fmla="*/ 747096 h 747096"/>
                <a:gd name="connsiteX50" fmla="*/ 2777814 w 5264290"/>
                <a:gd name="connsiteY50" fmla="*/ 744212 h 747096"/>
                <a:gd name="connsiteX51" fmla="*/ 2656664 w 5264290"/>
                <a:gd name="connsiteY51" fmla="*/ 741327 h 747096"/>
                <a:gd name="connsiteX52" fmla="*/ 2509552 w 5264290"/>
                <a:gd name="connsiteY52" fmla="*/ 741327 h 747096"/>
                <a:gd name="connsiteX53" fmla="*/ 2414362 w 5264290"/>
                <a:gd name="connsiteY53" fmla="*/ 735558 h 747096"/>
                <a:gd name="connsiteX54" fmla="*/ 2324941 w 5264290"/>
                <a:gd name="connsiteY54" fmla="*/ 729789 h 747096"/>
                <a:gd name="connsiteX55" fmla="*/ 2221098 w 5264290"/>
                <a:gd name="connsiteY55" fmla="*/ 724020 h 747096"/>
                <a:gd name="connsiteX56" fmla="*/ 2146099 w 5264290"/>
                <a:gd name="connsiteY56" fmla="*/ 718251 h 747096"/>
                <a:gd name="connsiteX57" fmla="*/ 2033602 w 5264290"/>
                <a:gd name="connsiteY57" fmla="*/ 706713 h 747096"/>
                <a:gd name="connsiteX58" fmla="*/ 1944181 w 5264290"/>
                <a:gd name="connsiteY58" fmla="*/ 695174 h 747096"/>
                <a:gd name="connsiteX59" fmla="*/ 1840338 w 5264290"/>
                <a:gd name="connsiteY59" fmla="*/ 686521 h 747096"/>
                <a:gd name="connsiteX60" fmla="*/ 1655727 w 5264290"/>
                <a:gd name="connsiteY60" fmla="*/ 669213 h 747096"/>
                <a:gd name="connsiteX61" fmla="*/ 1471116 w 5264290"/>
                <a:gd name="connsiteY61" fmla="*/ 649022 h 747096"/>
                <a:gd name="connsiteX62" fmla="*/ 1277852 w 5264290"/>
                <a:gd name="connsiteY62" fmla="*/ 631714 h 747096"/>
                <a:gd name="connsiteX63" fmla="*/ 1021128 w 5264290"/>
                <a:gd name="connsiteY63" fmla="*/ 602869 h 747096"/>
                <a:gd name="connsiteX64" fmla="*/ 775942 w 5264290"/>
                <a:gd name="connsiteY64" fmla="*/ 571139 h 747096"/>
                <a:gd name="connsiteX65" fmla="*/ 631715 w 5264290"/>
                <a:gd name="connsiteY65" fmla="*/ 548063 h 747096"/>
                <a:gd name="connsiteX66" fmla="*/ 496141 w 5264290"/>
                <a:gd name="connsiteY66" fmla="*/ 522102 h 747096"/>
                <a:gd name="connsiteX67" fmla="*/ 331722 w 5264290"/>
                <a:gd name="connsiteY67" fmla="*/ 496141 h 747096"/>
                <a:gd name="connsiteX68" fmla="*/ 126920 w 5264290"/>
                <a:gd name="connsiteY68" fmla="*/ 461526 h 747096"/>
                <a:gd name="connsiteX69" fmla="*/ 0 w 5264290"/>
                <a:gd name="connsiteY69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34607 w 5264290"/>
                <a:gd name="connsiteY9" fmla="*/ 259608 h 747096"/>
                <a:gd name="connsiteX10" fmla="*/ 349029 w 5264290"/>
                <a:gd name="connsiteY10" fmla="*/ 253839 h 747096"/>
                <a:gd name="connsiteX11" fmla="*/ 372106 w 5264290"/>
                <a:gd name="connsiteY11" fmla="*/ 242301 h 747096"/>
                <a:gd name="connsiteX12" fmla="*/ 409605 w 5264290"/>
                <a:gd name="connsiteY12" fmla="*/ 233648 h 747096"/>
                <a:gd name="connsiteX13" fmla="*/ 438450 w 5264290"/>
                <a:gd name="connsiteY13" fmla="*/ 222109 h 747096"/>
                <a:gd name="connsiteX14" fmla="*/ 478834 w 5264290"/>
                <a:gd name="connsiteY14" fmla="*/ 213456 h 747096"/>
                <a:gd name="connsiteX15" fmla="*/ 527871 w 5264290"/>
                <a:gd name="connsiteY15" fmla="*/ 196148 h 747096"/>
                <a:gd name="connsiteX16" fmla="*/ 576908 w 5264290"/>
                <a:gd name="connsiteY16" fmla="*/ 187495 h 747096"/>
                <a:gd name="connsiteX17" fmla="*/ 611523 w 5264290"/>
                <a:gd name="connsiteY17" fmla="*/ 178841 h 747096"/>
                <a:gd name="connsiteX18" fmla="*/ 651906 w 5264290"/>
                <a:gd name="connsiteY18" fmla="*/ 167303 h 747096"/>
                <a:gd name="connsiteX19" fmla="*/ 689405 w 5264290"/>
                <a:gd name="connsiteY19" fmla="*/ 161534 h 747096"/>
                <a:gd name="connsiteX20" fmla="*/ 729789 w 5264290"/>
                <a:gd name="connsiteY20" fmla="*/ 155765 h 747096"/>
                <a:gd name="connsiteX21" fmla="*/ 761519 w 5264290"/>
                <a:gd name="connsiteY21" fmla="*/ 147111 h 747096"/>
                <a:gd name="connsiteX22" fmla="*/ 799018 w 5264290"/>
                <a:gd name="connsiteY22" fmla="*/ 141342 h 747096"/>
                <a:gd name="connsiteX23" fmla="*/ 819210 w 5264290"/>
                <a:gd name="connsiteY23" fmla="*/ 138458 h 747096"/>
                <a:gd name="connsiteX24" fmla="*/ 856709 w 5264290"/>
                <a:gd name="connsiteY24" fmla="*/ 129804 h 747096"/>
                <a:gd name="connsiteX25" fmla="*/ 911515 w 5264290"/>
                <a:gd name="connsiteY25" fmla="*/ 124035 h 747096"/>
                <a:gd name="connsiteX26" fmla="*/ 1003821 w 5264290"/>
                <a:gd name="connsiteY26" fmla="*/ 112497 h 747096"/>
                <a:gd name="connsiteX27" fmla="*/ 1078819 w 5264290"/>
                <a:gd name="connsiteY27" fmla="*/ 103843 h 747096"/>
                <a:gd name="connsiteX28" fmla="*/ 1145163 w 5264290"/>
                <a:gd name="connsiteY28" fmla="*/ 95189 h 747096"/>
                <a:gd name="connsiteX29" fmla="*/ 1243238 w 5264290"/>
                <a:gd name="connsiteY29" fmla="*/ 86536 h 747096"/>
                <a:gd name="connsiteX30" fmla="*/ 1375927 w 5264290"/>
                <a:gd name="connsiteY30" fmla="*/ 77882 h 747096"/>
                <a:gd name="connsiteX31" fmla="*/ 1574960 w 5264290"/>
                <a:gd name="connsiteY31" fmla="*/ 63460 h 747096"/>
                <a:gd name="connsiteX32" fmla="*/ 1794185 w 5264290"/>
                <a:gd name="connsiteY32" fmla="*/ 54806 h 747096"/>
                <a:gd name="connsiteX33" fmla="*/ 1996103 w 5264290"/>
                <a:gd name="connsiteY33" fmla="*/ 43268 h 747096"/>
                <a:gd name="connsiteX34" fmla="*/ 2172060 w 5264290"/>
                <a:gd name="connsiteY34" fmla="*/ 34614 h 747096"/>
                <a:gd name="connsiteX35" fmla="*/ 2399939 w 5264290"/>
                <a:gd name="connsiteY35" fmla="*/ 25960 h 747096"/>
                <a:gd name="connsiteX36" fmla="*/ 2723008 w 5264290"/>
                <a:gd name="connsiteY36" fmla="*/ 20191 h 747096"/>
                <a:gd name="connsiteX37" fmla="*/ 2858581 w 5264290"/>
                <a:gd name="connsiteY37" fmla="*/ 17307 h 747096"/>
                <a:gd name="connsiteX38" fmla="*/ 2985501 w 5264290"/>
                <a:gd name="connsiteY38" fmla="*/ 14422 h 747096"/>
                <a:gd name="connsiteX39" fmla="*/ 3115306 w 5264290"/>
                <a:gd name="connsiteY39" fmla="*/ 11538 h 747096"/>
                <a:gd name="connsiteX40" fmla="*/ 3294147 w 5264290"/>
                <a:gd name="connsiteY40" fmla="*/ 8653 h 747096"/>
                <a:gd name="connsiteX41" fmla="*/ 3464335 w 5264290"/>
                <a:gd name="connsiteY41" fmla="*/ 8653 h 747096"/>
                <a:gd name="connsiteX42" fmla="*/ 3669138 w 5264290"/>
                <a:gd name="connsiteY42" fmla="*/ 2884 h 747096"/>
                <a:gd name="connsiteX43" fmla="*/ 5264290 w 5264290"/>
                <a:gd name="connsiteY43" fmla="*/ 0 h 747096"/>
                <a:gd name="connsiteX44" fmla="*/ 5264290 w 5264290"/>
                <a:gd name="connsiteY44" fmla="*/ 744212 h 747096"/>
                <a:gd name="connsiteX45" fmla="*/ 3135498 w 5264290"/>
                <a:gd name="connsiteY45" fmla="*/ 747096 h 747096"/>
                <a:gd name="connsiteX46" fmla="*/ 3005693 w 5264290"/>
                <a:gd name="connsiteY46" fmla="*/ 744212 h 747096"/>
                <a:gd name="connsiteX47" fmla="*/ 2910503 w 5264290"/>
                <a:gd name="connsiteY47" fmla="*/ 747096 h 747096"/>
                <a:gd name="connsiteX48" fmla="*/ 2835505 w 5264290"/>
                <a:gd name="connsiteY48" fmla="*/ 747096 h 747096"/>
                <a:gd name="connsiteX49" fmla="*/ 2777814 w 5264290"/>
                <a:gd name="connsiteY49" fmla="*/ 744212 h 747096"/>
                <a:gd name="connsiteX50" fmla="*/ 2656664 w 5264290"/>
                <a:gd name="connsiteY50" fmla="*/ 741327 h 747096"/>
                <a:gd name="connsiteX51" fmla="*/ 2509552 w 5264290"/>
                <a:gd name="connsiteY51" fmla="*/ 741327 h 747096"/>
                <a:gd name="connsiteX52" fmla="*/ 2414362 w 5264290"/>
                <a:gd name="connsiteY52" fmla="*/ 735558 h 747096"/>
                <a:gd name="connsiteX53" fmla="*/ 2324941 w 5264290"/>
                <a:gd name="connsiteY53" fmla="*/ 729789 h 747096"/>
                <a:gd name="connsiteX54" fmla="*/ 2221098 w 5264290"/>
                <a:gd name="connsiteY54" fmla="*/ 724020 h 747096"/>
                <a:gd name="connsiteX55" fmla="*/ 2146099 w 5264290"/>
                <a:gd name="connsiteY55" fmla="*/ 718251 h 747096"/>
                <a:gd name="connsiteX56" fmla="*/ 2033602 w 5264290"/>
                <a:gd name="connsiteY56" fmla="*/ 706713 h 747096"/>
                <a:gd name="connsiteX57" fmla="*/ 1944181 w 5264290"/>
                <a:gd name="connsiteY57" fmla="*/ 695174 h 747096"/>
                <a:gd name="connsiteX58" fmla="*/ 1840338 w 5264290"/>
                <a:gd name="connsiteY58" fmla="*/ 686521 h 747096"/>
                <a:gd name="connsiteX59" fmla="*/ 1655727 w 5264290"/>
                <a:gd name="connsiteY59" fmla="*/ 669213 h 747096"/>
                <a:gd name="connsiteX60" fmla="*/ 1471116 w 5264290"/>
                <a:gd name="connsiteY60" fmla="*/ 649022 h 747096"/>
                <a:gd name="connsiteX61" fmla="*/ 1277852 w 5264290"/>
                <a:gd name="connsiteY61" fmla="*/ 631714 h 747096"/>
                <a:gd name="connsiteX62" fmla="*/ 1021128 w 5264290"/>
                <a:gd name="connsiteY62" fmla="*/ 602869 h 747096"/>
                <a:gd name="connsiteX63" fmla="*/ 775942 w 5264290"/>
                <a:gd name="connsiteY63" fmla="*/ 571139 h 747096"/>
                <a:gd name="connsiteX64" fmla="*/ 631715 w 5264290"/>
                <a:gd name="connsiteY64" fmla="*/ 548063 h 747096"/>
                <a:gd name="connsiteX65" fmla="*/ 496141 w 5264290"/>
                <a:gd name="connsiteY65" fmla="*/ 522102 h 747096"/>
                <a:gd name="connsiteX66" fmla="*/ 331722 w 5264290"/>
                <a:gd name="connsiteY66" fmla="*/ 496141 h 747096"/>
                <a:gd name="connsiteX67" fmla="*/ 126920 w 5264290"/>
                <a:gd name="connsiteY67" fmla="*/ 461526 h 747096"/>
                <a:gd name="connsiteX68" fmla="*/ 0 w 5264290"/>
                <a:gd name="connsiteY68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34607 w 5264290"/>
                <a:gd name="connsiteY9" fmla="*/ 259608 h 747096"/>
                <a:gd name="connsiteX10" fmla="*/ 349029 w 5264290"/>
                <a:gd name="connsiteY10" fmla="*/ 253839 h 747096"/>
                <a:gd name="connsiteX11" fmla="*/ 372106 w 5264290"/>
                <a:gd name="connsiteY11" fmla="*/ 242301 h 747096"/>
                <a:gd name="connsiteX12" fmla="*/ 409605 w 5264290"/>
                <a:gd name="connsiteY12" fmla="*/ 233648 h 747096"/>
                <a:gd name="connsiteX13" fmla="*/ 438450 w 5264290"/>
                <a:gd name="connsiteY13" fmla="*/ 222109 h 747096"/>
                <a:gd name="connsiteX14" fmla="*/ 478834 w 5264290"/>
                <a:gd name="connsiteY14" fmla="*/ 213456 h 747096"/>
                <a:gd name="connsiteX15" fmla="*/ 527871 w 5264290"/>
                <a:gd name="connsiteY15" fmla="*/ 196148 h 747096"/>
                <a:gd name="connsiteX16" fmla="*/ 576908 w 5264290"/>
                <a:gd name="connsiteY16" fmla="*/ 187495 h 747096"/>
                <a:gd name="connsiteX17" fmla="*/ 611523 w 5264290"/>
                <a:gd name="connsiteY17" fmla="*/ 178841 h 747096"/>
                <a:gd name="connsiteX18" fmla="*/ 651906 w 5264290"/>
                <a:gd name="connsiteY18" fmla="*/ 167303 h 747096"/>
                <a:gd name="connsiteX19" fmla="*/ 689405 w 5264290"/>
                <a:gd name="connsiteY19" fmla="*/ 161534 h 747096"/>
                <a:gd name="connsiteX20" fmla="*/ 729789 w 5264290"/>
                <a:gd name="connsiteY20" fmla="*/ 155765 h 747096"/>
                <a:gd name="connsiteX21" fmla="*/ 761519 w 5264290"/>
                <a:gd name="connsiteY21" fmla="*/ 147111 h 747096"/>
                <a:gd name="connsiteX22" fmla="*/ 819210 w 5264290"/>
                <a:gd name="connsiteY22" fmla="*/ 138458 h 747096"/>
                <a:gd name="connsiteX23" fmla="*/ 856709 w 5264290"/>
                <a:gd name="connsiteY23" fmla="*/ 129804 h 747096"/>
                <a:gd name="connsiteX24" fmla="*/ 911515 w 5264290"/>
                <a:gd name="connsiteY24" fmla="*/ 124035 h 747096"/>
                <a:gd name="connsiteX25" fmla="*/ 1003821 w 5264290"/>
                <a:gd name="connsiteY25" fmla="*/ 112497 h 747096"/>
                <a:gd name="connsiteX26" fmla="*/ 1078819 w 5264290"/>
                <a:gd name="connsiteY26" fmla="*/ 103843 h 747096"/>
                <a:gd name="connsiteX27" fmla="*/ 1145163 w 5264290"/>
                <a:gd name="connsiteY27" fmla="*/ 95189 h 747096"/>
                <a:gd name="connsiteX28" fmla="*/ 1243238 w 5264290"/>
                <a:gd name="connsiteY28" fmla="*/ 86536 h 747096"/>
                <a:gd name="connsiteX29" fmla="*/ 1375927 w 5264290"/>
                <a:gd name="connsiteY29" fmla="*/ 77882 h 747096"/>
                <a:gd name="connsiteX30" fmla="*/ 1574960 w 5264290"/>
                <a:gd name="connsiteY30" fmla="*/ 63460 h 747096"/>
                <a:gd name="connsiteX31" fmla="*/ 1794185 w 5264290"/>
                <a:gd name="connsiteY31" fmla="*/ 54806 h 747096"/>
                <a:gd name="connsiteX32" fmla="*/ 1996103 w 5264290"/>
                <a:gd name="connsiteY32" fmla="*/ 43268 h 747096"/>
                <a:gd name="connsiteX33" fmla="*/ 2172060 w 5264290"/>
                <a:gd name="connsiteY33" fmla="*/ 34614 h 747096"/>
                <a:gd name="connsiteX34" fmla="*/ 2399939 w 5264290"/>
                <a:gd name="connsiteY34" fmla="*/ 25960 h 747096"/>
                <a:gd name="connsiteX35" fmla="*/ 2723008 w 5264290"/>
                <a:gd name="connsiteY35" fmla="*/ 20191 h 747096"/>
                <a:gd name="connsiteX36" fmla="*/ 2858581 w 5264290"/>
                <a:gd name="connsiteY36" fmla="*/ 17307 h 747096"/>
                <a:gd name="connsiteX37" fmla="*/ 2985501 w 5264290"/>
                <a:gd name="connsiteY37" fmla="*/ 14422 h 747096"/>
                <a:gd name="connsiteX38" fmla="*/ 3115306 w 5264290"/>
                <a:gd name="connsiteY38" fmla="*/ 11538 h 747096"/>
                <a:gd name="connsiteX39" fmla="*/ 3294147 w 5264290"/>
                <a:gd name="connsiteY39" fmla="*/ 8653 h 747096"/>
                <a:gd name="connsiteX40" fmla="*/ 3464335 w 5264290"/>
                <a:gd name="connsiteY40" fmla="*/ 8653 h 747096"/>
                <a:gd name="connsiteX41" fmla="*/ 3669138 w 5264290"/>
                <a:gd name="connsiteY41" fmla="*/ 2884 h 747096"/>
                <a:gd name="connsiteX42" fmla="*/ 5264290 w 5264290"/>
                <a:gd name="connsiteY42" fmla="*/ 0 h 747096"/>
                <a:gd name="connsiteX43" fmla="*/ 5264290 w 5264290"/>
                <a:gd name="connsiteY43" fmla="*/ 744212 h 747096"/>
                <a:gd name="connsiteX44" fmla="*/ 3135498 w 5264290"/>
                <a:gd name="connsiteY44" fmla="*/ 747096 h 747096"/>
                <a:gd name="connsiteX45" fmla="*/ 3005693 w 5264290"/>
                <a:gd name="connsiteY45" fmla="*/ 744212 h 747096"/>
                <a:gd name="connsiteX46" fmla="*/ 2910503 w 5264290"/>
                <a:gd name="connsiteY46" fmla="*/ 747096 h 747096"/>
                <a:gd name="connsiteX47" fmla="*/ 2835505 w 5264290"/>
                <a:gd name="connsiteY47" fmla="*/ 747096 h 747096"/>
                <a:gd name="connsiteX48" fmla="*/ 2777814 w 5264290"/>
                <a:gd name="connsiteY48" fmla="*/ 744212 h 747096"/>
                <a:gd name="connsiteX49" fmla="*/ 2656664 w 5264290"/>
                <a:gd name="connsiteY49" fmla="*/ 741327 h 747096"/>
                <a:gd name="connsiteX50" fmla="*/ 2509552 w 5264290"/>
                <a:gd name="connsiteY50" fmla="*/ 741327 h 747096"/>
                <a:gd name="connsiteX51" fmla="*/ 2414362 w 5264290"/>
                <a:gd name="connsiteY51" fmla="*/ 735558 h 747096"/>
                <a:gd name="connsiteX52" fmla="*/ 2324941 w 5264290"/>
                <a:gd name="connsiteY52" fmla="*/ 729789 h 747096"/>
                <a:gd name="connsiteX53" fmla="*/ 2221098 w 5264290"/>
                <a:gd name="connsiteY53" fmla="*/ 724020 h 747096"/>
                <a:gd name="connsiteX54" fmla="*/ 2146099 w 5264290"/>
                <a:gd name="connsiteY54" fmla="*/ 718251 h 747096"/>
                <a:gd name="connsiteX55" fmla="*/ 2033602 w 5264290"/>
                <a:gd name="connsiteY55" fmla="*/ 706713 h 747096"/>
                <a:gd name="connsiteX56" fmla="*/ 1944181 w 5264290"/>
                <a:gd name="connsiteY56" fmla="*/ 695174 h 747096"/>
                <a:gd name="connsiteX57" fmla="*/ 1840338 w 5264290"/>
                <a:gd name="connsiteY57" fmla="*/ 686521 h 747096"/>
                <a:gd name="connsiteX58" fmla="*/ 1655727 w 5264290"/>
                <a:gd name="connsiteY58" fmla="*/ 669213 h 747096"/>
                <a:gd name="connsiteX59" fmla="*/ 1471116 w 5264290"/>
                <a:gd name="connsiteY59" fmla="*/ 649022 h 747096"/>
                <a:gd name="connsiteX60" fmla="*/ 1277852 w 5264290"/>
                <a:gd name="connsiteY60" fmla="*/ 631714 h 747096"/>
                <a:gd name="connsiteX61" fmla="*/ 1021128 w 5264290"/>
                <a:gd name="connsiteY61" fmla="*/ 602869 h 747096"/>
                <a:gd name="connsiteX62" fmla="*/ 775942 w 5264290"/>
                <a:gd name="connsiteY62" fmla="*/ 571139 h 747096"/>
                <a:gd name="connsiteX63" fmla="*/ 631715 w 5264290"/>
                <a:gd name="connsiteY63" fmla="*/ 548063 h 747096"/>
                <a:gd name="connsiteX64" fmla="*/ 496141 w 5264290"/>
                <a:gd name="connsiteY64" fmla="*/ 522102 h 747096"/>
                <a:gd name="connsiteX65" fmla="*/ 331722 w 5264290"/>
                <a:gd name="connsiteY65" fmla="*/ 496141 h 747096"/>
                <a:gd name="connsiteX66" fmla="*/ 126920 w 5264290"/>
                <a:gd name="connsiteY66" fmla="*/ 461526 h 747096"/>
                <a:gd name="connsiteX67" fmla="*/ 0 w 5264290"/>
                <a:gd name="connsiteY67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372106 w 5264290"/>
                <a:gd name="connsiteY10" fmla="*/ 242301 h 747096"/>
                <a:gd name="connsiteX11" fmla="*/ 409605 w 5264290"/>
                <a:gd name="connsiteY11" fmla="*/ 233648 h 747096"/>
                <a:gd name="connsiteX12" fmla="*/ 438450 w 5264290"/>
                <a:gd name="connsiteY12" fmla="*/ 222109 h 747096"/>
                <a:gd name="connsiteX13" fmla="*/ 478834 w 5264290"/>
                <a:gd name="connsiteY13" fmla="*/ 213456 h 747096"/>
                <a:gd name="connsiteX14" fmla="*/ 527871 w 5264290"/>
                <a:gd name="connsiteY14" fmla="*/ 196148 h 747096"/>
                <a:gd name="connsiteX15" fmla="*/ 576908 w 5264290"/>
                <a:gd name="connsiteY15" fmla="*/ 187495 h 747096"/>
                <a:gd name="connsiteX16" fmla="*/ 611523 w 5264290"/>
                <a:gd name="connsiteY16" fmla="*/ 178841 h 747096"/>
                <a:gd name="connsiteX17" fmla="*/ 651906 w 5264290"/>
                <a:gd name="connsiteY17" fmla="*/ 167303 h 747096"/>
                <a:gd name="connsiteX18" fmla="*/ 689405 w 5264290"/>
                <a:gd name="connsiteY18" fmla="*/ 161534 h 747096"/>
                <a:gd name="connsiteX19" fmla="*/ 729789 w 5264290"/>
                <a:gd name="connsiteY19" fmla="*/ 155765 h 747096"/>
                <a:gd name="connsiteX20" fmla="*/ 761519 w 5264290"/>
                <a:gd name="connsiteY20" fmla="*/ 147111 h 747096"/>
                <a:gd name="connsiteX21" fmla="*/ 819210 w 5264290"/>
                <a:gd name="connsiteY21" fmla="*/ 138458 h 747096"/>
                <a:gd name="connsiteX22" fmla="*/ 856709 w 5264290"/>
                <a:gd name="connsiteY22" fmla="*/ 129804 h 747096"/>
                <a:gd name="connsiteX23" fmla="*/ 911515 w 5264290"/>
                <a:gd name="connsiteY23" fmla="*/ 124035 h 747096"/>
                <a:gd name="connsiteX24" fmla="*/ 1003821 w 5264290"/>
                <a:gd name="connsiteY24" fmla="*/ 112497 h 747096"/>
                <a:gd name="connsiteX25" fmla="*/ 1078819 w 5264290"/>
                <a:gd name="connsiteY25" fmla="*/ 103843 h 747096"/>
                <a:gd name="connsiteX26" fmla="*/ 1145163 w 5264290"/>
                <a:gd name="connsiteY26" fmla="*/ 95189 h 747096"/>
                <a:gd name="connsiteX27" fmla="*/ 1243238 w 5264290"/>
                <a:gd name="connsiteY27" fmla="*/ 86536 h 747096"/>
                <a:gd name="connsiteX28" fmla="*/ 1375927 w 5264290"/>
                <a:gd name="connsiteY28" fmla="*/ 77882 h 747096"/>
                <a:gd name="connsiteX29" fmla="*/ 1574960 w 5264290"/>
                <a:gd name="connsiteY29" fmla="*/ 63460 h 747096"/>
                <a:gd name="connsiteX30" fmla="*/ 1794185 w 5264290"/>
                <a:gd name="connsiteY30" fmla="*/ 54806 h 747096"/>
                <a:gd name="connsiteX31" fmla="*/ 1996103 w 5264290"/>
                <a:gd name="connsiteY31" fmla="*/ 43268 h 747096"/>
                <a:gd name="connsiteX32" fmla="*/ 2172060 w 5264290"/>
                <a:gd name="connsiteY32" fmla="*/ 34614 h 747096"/>
                <a:gd name="connsiteX33" fmla="*/ 2399939 w 5264290"/>
                <a:gd name="connsiteY33" fmla="*/ 25960 h 747096"/>
                <a:gd name="connsiteX34" fmla="*/ 2723008 w 5264290"/>
                <a:gd name="connsiteY34" fmla="*/ 20191 h 747096"/>
                <a:gd name="connsiteX35" fmla="*/ 2858581 w 5264290"/>
                <a:gd name="connsiteY35" fmla="*/ 17307 h 747096"/>
                <a:gd name="connsiteX36" fmla="*/ 2985501 w 5264290"/>
                <a:gd name="connsiteY36" fmla="*/ 14422 h 747096"/>
                <a:gd name="connsiteX37" fmla="*/ 3115306 w 5264290"/>
                <a:gd name="connsiteY37" fmla="*/ 11538 h 747096"/>
                <a:gd name="connsiteX38" fmla="*/ 3294147 w 5264290"/>
                <a:gd name="connsiteY38" fmla="*/ 8653 h 747096"/>
                <a:gd name="connsiteX39" fmla="*/ 3464335 w 5264290"/>
                <a:gd name="connsiteY39" fmla="*/ 8653 h 747096"/>
                <a:gd name="connsiteX40" fmla="*/ 3669138 w 5264290"/>
                <a:gd name="connsiteY40" fmla="*/ 2884 h 747096"/>
                <a:gd name="connsiteX41" fmla="*/ 5264290 w 5264290"/>
                <a:gd name="connsiteY41" fmla="*/ 0 h 747096"/>
                <a:gd name="connsiteX42" fmla="*/ 5264290 w 5264290"/>
                <a:gd name="connsiteY42" fmla="*/ 744212 h 747096"/>
                <a:gd name="connsiteX43" fmla="*/ 3135498 w 5264290"/>
                <a:gd name="connsiteY43" fmla="*/ 747096 h 747096"/>
                <a:gd name="connsiteX44" fmla="*/ 3005693 w 5264290"/>
                <a:gd name="connsiteY44" fmla="*/ 744212 h 747096"/>
                <a:gd name="connsiteX45" fmla="*/ 2910503 w 5264290"/>
                <a:gd name="connsiteY45" fmla="*/ 747096 h 747096"/>
                <a:gd name="connsiteX46" fmla="*/ 2835505 w 5264290"/>
                <a:gd name="connsiteY46" fmla="*/ 747096 h 747096"/>
                <a:gd name="connsiteX47" fmla="*/ 2777814 w 5264290"/>
                <a:gd name="connsiteY47" fmla="*/ 744212 h 747096"/>
                <a:gd name="connsiteX48" fmla="*/ 2656664 w 5264290"/>
                <a:gd name="connsiteY48" fmla="*/ 741327 h 747096"/>
                <a:gd name="connsiteX49" fmla="*/ 2509552 w 5264290"/>
                <a:gd name="connsiteY49" fmla="*/ 741327 h 747096"/>
                <a:gd name="connsiteX50" fmla="*/ 2414362 w 5264290"/>
                <a:gd name="connsiteY50" fmla="*/ 735558 h 747096"/>
                <a:gd name="connsiteX51" fmla="*/ 2324941 w 5264290"/>
                <a:gd name="connsiteY51" fmla="*/ 729789 h 747096"/>
                <a:gd name="connsiteX52" fmla="*/ 2221098 w 5264290"/>
                <a:gd name="connsiteY52" fmla="*/ 724020 h 747096"/>
                <a:gd name="connsiteX53" fmla="*/ 2146099 w 5264290"/>
                <a:gd name="connsiteY53" fmla="*/ 718251 h 747096"/>
                <a:gd name="connsiteX54" fmla="*/ 2033602 w 5264290"/>
                <a:gd name="connsiteY54" fmla="*/ 706713 h 747096"/>
                <a:gd name="connsiteX55" fmla="*/ 1944181 w 5264290"/>
                <a:gd name="connsiteY55" fmla="*/ 695174 h 747096"/>
                <a:gd name="connsiteX56" fmla="*/ 1840338 w 5264290"/>
                <a:gd name="connsiteY56" fmla="*/ 686521 h 747096"/>
                <a:gd name="connsiteX57" fmla="*/ 1655727 w 5264290"/>
                <a:gd name="connsiteY57" fmla="*/ 669213 h 747096"/>
                <a:gd name="connsiteX58" fmla="*/ 1471116 w 5264290"/>
                <a:gd name="connsiteY58" fmla="*/ 649022 h 747096"/>
                <a:gd name="connsiteX59" fmla="*/ 1277852 w 5264290"/>
                <a:gd name="connsiteY59" fmla="*/ 631714 h 747096"/>
                <a:gd name="connsiteX60" fmla="*/ 1021128 w 5264290"/>
                <a:gd name="connsiteY60" fmla="*/ 602869 h 747096"/>
                <a:gd name="connsiteX61" fmla="*/ 775942 w 5264290"/>
                <a:gd name="connsiteY61" fmla="*/ 571139 h 747096"/>
                <a:gd name="connsiteX62" fmla="*/ 631715 w 5264290"/>
                <a:gd name="connsiteY62" fmla="*/ 548063 h 747096"/>
                <a:gd name="connsiteX63" fmla="*/ 496141 w 5264290"/>
                <a:gd name="connsiteY63" fmla="*/ 522102 h 747096"/>
                <a:gd name="connsiteX64" fmla="*/ 331722 w 5264290"/>
                <a:gd name="connsiteY64" fmla="*/ 496141 h 747096"/>
                <a:gd name="connsiteX65" fmla="*/ 126920 w 5264290"/>
                <a:gd name="connsiteY65" fmla="*/ 461526 h 747096"/>
                <a:gd name="connsiteX66" fmla="*/ 0 w 5264290"/>
                <a:gd name="connsiteY66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09605 w 5264290"/>
                <a:gd name="connsiteY10" fmla="*/ 233648 h 747096"/>
                <a:gd name="connsiteX11" fmla="*/ 438450 w 5264290"/>
                <a:gd name="connsiteY11" fmla="*/ 222109 h 747096"/>
                <a:gd name="connsiteX12" fmla="*/ 478834 w 5264290"/>
                <a:gd name="connsiteY12" fmla="*/ 213456 h 747096"/>
                <a:gd name="connsiteX13" fmla="*/ 527871 w 5264290"/>
                <a:gd name="connsiteY13" fmla="*/ 196148 h 747096"/>
                <a:gd name="connsiteX14" fmla="*/ 576908 w 5264290"/>
                <a:gd name="connsiteY14" fmla="*/ 187495 h 747096"/>
                <a:gd name="connsiteX15" fmla="*/ 611523 w 5264290"/>
                <a:gd name="connsiteY15" fmla="*/ 178841 h 747096"/>
                <a:gd name="connsiteX16" fmla="*/ 651906 w 5264290"/>
                <a:gd name="connsiteY16" fmla="*/ 167303 h 747096"/>
                <a:gd name="connsiteX17" fmla="*/ 689405 w 5264290"/>
                <a:gd name="connsiteY17" fmla="*/ 161534 h 747096"/>
                <a:gd name="connsiteX18" fmla="*/ 729789 w 5264290"/>
                <a:gd name="connsiteY18" fmla="*/ 155765 h 747096"/>
                <a:gd name="connsiteX19" fmla="*/ 761519 w 5264290"/>
                <a:gd name="connsiteY19" fmla="*/ 147111 h 747096"/>
                <a:gd name="connsiteX20" fmla="*/ 819210 w 5264290"/>
                <a:gd name="connsiteY20" fmla="*/ 138458 h 747096"/>
                <a:gd name="connsiteX21" fmla="*/ 856709 w 5264290"/>
                <a:gd name="connsiteY21" fmla="*/ 129804 h 747096"/>
                <a:gd name="connsiteX22" fmla="*/ 911515 w 5264290"/>
                <a:gd name="connsiteY22" fmla="*/ 124035 h 747096"/>
                <a:gd name="connsiteX23" fmla="*/ 1003821 w 5264290"/>
                <a:gd name="connsiteY23" fmla="*/ 112497 h 747096"/>
                <a:gd name="connsiteX24" fmla="*/ 1078819 w 5264290"/>
                <a:gd name="connsiteY24" fmla="*/ 103843 h 747096"/>
                <a:gd name="connsiteX25" fmla="*/ 1145163 w 5264290"/>
                <a:gd name="connsiteY25" fmla="*/ 95189 h 747096"/>
                <a:gd name="connsiteX26" fmla="*/ 1243238 w 5264290"/>
                <a:gd name="connsiteY26" fmla="*/ 86536 h 747096"/>
                <a:gd name="connsiteX27" fmla="*/ 1375927 w 5264290"/>
                <a:gd name="connsiteY27" fmla="*/ 77882 h 747096"/>
                <a:gd name="connsiteX28" fmla="*/ 1574960 w 5264290"/>
                <a:gd name="connsiteY28" fmla="*/ 63460 h 747096"/>
                <a:gd name="connsiteX29" fmla="*/ 1794185 w 5264290"/>
                <a:gd name="connsiteY29" fmla="*/ 54806 h 747096"/>
                <a:gd name="connsiteX30" fmla="*/ 1996103 w 5264290"/>
                <a:gd name="connsiteY30" fmla="*/ 43268 h 747096"/>
                <a:gd name="connsiteX31" fmla="*/ 2172060 w 5264290"/>
                <a:gd name="connsiteY31" fmla="*/ 34614 h 747096"/>
                <a:gd name="connsiteX32" fmla="*/ 2399939 w 5264290"/>
                <a:gd name="connsiteY32" fmla="*/ 25960 h 747096"/>
                <a:gd name="connsiteX33" fmla="*/ 2723008 w 5264290"/>
                <a:gd name="connsiteY33" fmla="*/ 20191 h 747096"/>
                <a:gd name="connsiteX34" fmla="*/ 2858581 w 5264290"/>
                <a:gd name="connsiteY34" fmla="*/ 17307 h 747096"/>
                <a:gd name="connsiteX35" fmla="*/ 2985501 w 5264290"/>
                <a:gd name="connsiteY35" fmla="*/ 14422 h 747096"/>
                <a:gd name="connsiteX36" fmla="*/ 3115306 w 5264290"/>
                <a:gd name="connsiteY36" fmla="*/ 11538 h 747096"/>
                <a:gd name="connsiteX37" fmla="*/ 3294147 w 5264290"/>
                <a:gd name="connsiteY37" fmla="*/ 8653 h 747096"/>
                <a:gd name="connsiteX38" fmla="*/ 3464335 w 5264290"/>
                <a:gd name="connsiteY38" fmla="*/ 8653 h 747096"/>
                <a:gd name="connsiteX39" fmla="*/ 3669138 w 5264290"/>
                <a:gd name="connsiteY39" fmla="*/ 2884 h 747096"/>
                <a:gd name="connsiteX40" fmla="*/ 5264290 w 5264290"/>
                <a:gd name="connsiteY40" fmla="*/ 0 h 747096"/>
                <a:gd name="connsiteX41" fmla="*/ 5264290 w 5264290"/>
                <a:gd name="connsiteY41" fmla="*/ 744212 h 747096"/>
                <a:gd name="connsiteX42" fmla="*/ 3135498 w 5264290"/>
                <a:gd name="connsiteY42" fmla="*/ 747096 h 747096"/>
                <a:gd name="connsiteX43" fmla="*/ 3005693 w 5264290"/>
                <a:gd name="connsiteY43" fmla="*/ 744212 h 747096"/>
                <a:gd name="connsiteX44" fmla="*/ 2910503 w 5264290"/>
                <a:gd name="connsiteY44" fmla="*/ 747096 h 747096"/>
                <a:gd name="connsiteX45" fmla="*/ 2835505 w 5264290"/>
                <a:gd name="connsiteY45" fmla="*/ 747096 h 747096"/>
                <a:gd name="connsiteX46" fmla="*/ 2777814 w 5264290"/>
                <a:gd name="connsiteY46" fmla="*/ 744212 h 747096"/>
                <a:gd name="connsiteX47" fmla="*/ 2656664 w 5264290"/>
                <a:gd name="connsiteY47" fmla="*/ 741327 h 747096"/>
                <a:gd name="connsiteX48" fmla="*/ 2509552 w 5264290"/>
                <a:gd name="connsiteY48" fmla="*/ 741327 h 747096"/>
                <a:gd name="connsiteX49" fmla="*/ 2414362 w 5264290"/>
                <a:gd name="connsiteY49" fmla="*/ 735558 h 747096"/>
                <a:gd name="connsiteX50" fmla="*/ 2324941 w 5264290"/>
                <a:gd name="connsiteY50" fmla="*/ 729789 h 747096"/>
                <a:gd name="connsiteX51" fmla="*/ 2221098 w 5264290"/>
                <a:gd name="connsiteY51" fmla="*/ 724020 h 747096"/>
                <a:gd name="connsiteX52" fmla="*/ 2146099 w 5264290"/>
                <a:gd name="connsiteY52" fmla="*/ 718251 h 747096"/>
                <a:gd name="connsiteX53" fmla="*/ 2033602 w 5264290"/>
                <a:gd name="connsiteY53" fmla="*/ 706713 h 747096"/>
                <a:gd name="connsiteX54" fmla="*/ 1944181 w 5264290"/>
                <a:gd name="connsiteY54" fmla="*/ 695174 h 747096"/>
                <a:gd name="connsiteX55" fmla="*/ 1840338 w 5264290"/>
                <a:gd name="connsiteY55" fmla="*/ 686521 h 747096"/>
                <a:gd name="connsiteX56" fmla="*/ 1655727 w 5264290"/>
                <a:gd name="connsiteY56" fmla="*/ 669213 h 747096"/>
                <a:gd name="connsiteX57" fmla="*/ 1471116 w 5264290"/>
                <a:gd name="connsiteY57" fmla="*/ 649022 h 747096"/>
                <a:gd name="connsiteX58" fmla="*/ 1277852 w 5264290"/>
                <a:gd name="connsiteY58" fmla="*/ 631714 h 747096"/>
                <a:gd name="connsiteX59" fmla="*/ 1021128 w 5264290"/>
                <a:gd name="connsiteY59" fmla="*/ 602869 h 747096"/>
                <a:gd name="connsiteX60" fmla="*/ 775942 w 5264290"/>
                <a:gd name="connsiteY60" fmla="*/ 571139 h 747096"/>
                <a:gd name="connsiteX61" fmla="*/ 631715 w 5264290"/>
                <a:gd name="connsiteY61" fmla="*/ 548063 h 747096"/>
                <a:gd name="connsiteX62" fmla="*/ 496141 w 5264290"/>
                <a:gd name="connsiteY62" fmla="*/ 522102 h 747096"/>
                <a:gd name="connsiteX63" fmla="*/ 331722 w 5264290"/>
                <a:gd name="connsiteY63" fmla="*/ 496141 h 747096"/>
                <a:gd name="connsiteX64" fmla="*/ 126920 w 5264290"/>
                <a:gd name="connsiteY64" fmla="*/ 461526 h 747096"/>
                <a:gd name="connsiteX65" fmla="*/ 0 w 5264290"/>
                <a:gd name="connsiteY65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09605 w 5264290"/>
                <a:gd name="connsiteY10" fmla="*/ 233648 h 747096"/>
                <a:gd name="connsiteX11" fmla="*/ 438450 w 5264290"/>
                <a:gd name="connsiteY11" fmla="*/ 222109 h 747096"/>
                <a:gd name="connsiteX12" fmla="*/ 527871 w 5264290"/>
                <a:gd name="connsiteY12" fmla="*/ 196148 h 747096"/>
                <a:gd name="connsiteX13" fmla="*/ 576908 w 5264290"/>
                <a:gd name="connsiteY13" fmla="*/ 187495 h 747096"/>
                <a:gd name="connsiteX14" fmla="*/ 611523 w 5264290"/>
                <a:gd name="connsiteY14" fmla="*/ 178841 h 747096"/>
                <a:gd name="connsiteX15" fmla="*/ 651906 w 5264290"/>
                <a:gd name="connsiteY15" fmla="*/ 167303 h 747096"/>
                <a:gd name="connsiteX16" fmla="*/ 689405 w 5264290"/>
                <a:gd name="connsiteY16" fmla="*/ 161534 h 747096"/>
                <a:gd name="connsiteX17" fmla="*/ 729789 w 5264290"/>
                <a:gd name="connsiteY17" fmla="*/ 155765 h 747096"/>
                <a:gd name="connsiteX18" fmla="*/ 761519 w 5264290"/>
                <a:gd name="connsiteY18" fmla="*/ 147111 h 747096"/>
                <a:gd name="connsiteX19" fmla="*/ 819210 w 5264290"/>
                <a:gd name="connsiteY19" fmla="*/ 138458 h 747096"/>
                <a:gd name="connsiteX20" fmla="*/ 856709 w 5264290"/>
                <a:gd name="connsiteY20" fmla="*/ 129804 h 747096"/>
                <a:gd name="connsiteX21" fmla="*/ 911515 w 5264290"/>
                <a:gd name="connsiteY21" fmla="*/ 124035 h 747096"/>
                <a:gd name="connsiteX22" fmla="*/ 1003821 w 5264290"/>
                <a:gd name="connsiteY22" fmla="*/ 112497 h 747096"/>
                <a:gd name="connsiteX23" fmla="*/ 1078819 w 5264290"/>
                <a:gd name="connsiteY23" fmla="*/ 103843 h 747096"/>
                <a:gd name="connsiteX24" fmla="*/ 1145163 w 5264290"/>
                <a:gd name="connsiteY24" fmla="*/ 95189 h 747096"/>
                <a:gd name="connsiteX25" fmla="*/ 1243238 w 5264290"/>
                <a:gd name="connsiteY25" fmla="*/ 86536 h 747096"/>
                <a:gd name="connsiteX26" fmla="*/ 1375927 w 5264290"/>
                <a:gd name="connsiteY26" fmla="*/ 77882 h 747096"/>
                <a:gd name="connsiteX27" fmla="*/ 1574960 w 5264290"/>
                <a:gd name="connsiteY27" fmla="*/ 63460 h 747096"/>
                <a:gd name="connsiteX28" fmla="*/ 1794185 w 5264290"/>
                <a:gd name="connsiteY28" fmla="*/ 54806 h 747096"/>
                <a:gd name="connsiteX29" fmla="*/ 1996103 w 5264290"/>
                <a:gd name="connsiteY29" fmla="*/ 43268 h 747096"/>
                <a:gd name="connsiteX30" fmla="*/ 2172060 w 5264290"/>
                <a:gd name="connsiteY30" fmla="*/ 34614 h 747096"/>
                <a:gd name="connsiteX31" fmla="*/ 2399939 w 5264290"/>
                <a:gd name="connsiteY31" fmla="*/ 25960 h 747096"/>
                <a:gd name="connsiteX32" fmla="*/ 2723008 w 5264290"/>
                <a:gd name="connsiteY32" fmla="*/ 20191 h 747096"/>
                <a:gd name="connsiteX33" fmla="*/ 2858581 w 5264290"/>
                <a:gd name="connsiteY33" fmla="*/ 17307 h 747096"/>
                <a:gd name="connsiteX34" fmla="*/ 2985501 w 5264290"/>
                <a:gd name="connsiteY34" fmla="*/ 14422 h 747096"/>
                <a:gd name="connsiteX35" fmla="*/ 3115306 w 5264290"/>
                <a:gd name="connsiteY35" fmla="*/ 11538 h 747096"/>
                <a:gd name="connsiteX36" fmla="*/ 3294147 w 5264290"/>
                <a:gd name="connsiteY36" fmla="*/ 8653 h 747096"/>
                <a:gd name="connsiteX37" fmla="*/ 3464335 w 5264290"/>
                <a:gd name="connsiteY37" fmla="*/ 8653 h 747096"/>
                <a:gd name="connsiteX38" fmla="*/ 3669138 w 5264290"/>
                <a:gd name="connsiteY38" fmla="*/ 2884 h 747096"/>
                <a:gd name="connsiteX39" fmla="*/ 5264290 w 5264290"/>
                <a:gd name="connsiteY39" fmla="*/ 0 h 747096"/>
                <a:gd name="connsiteX40" fmla="*/ 5264290 w 5264290"/>
                <a:gd name="connsiteY40" fmla="*/ 744212 h 747096"/>
                <a:gd name="connsiteX41" fmla="*/ 3135498 w 5264290"/>
                <a:gd name="connsiteY41" fmla="*/ 747096 h 747096"/>
                <a:gd name="connsiteX42" fmla="*/ 3005693 w 5264290"/>
                <a:gd name="connsiteY42" fmla="*/ 744212 h 747096"/>
                <a:gd name="connsiteX43" fmla="*/ 2910503 w 5264290"/>
                <a:gd name="connsiteY43" fmla="*/ 747096 h 747096"/>
                <a:gd name="connsiteX44" fmla="*/ 2835505 w 5264290"/>
                <a:gd name="connsiteY44" fmla="*/ 747096 h 747096"/>
                <a:gd name="connsiteX45" fmla="*/ 2777814 w 5264290"/>
                <a:gd name="connsiteY45" fmla="*/ 744212 h 747096"/>
                <a:gd name="connsiteX46" fmla="*/ 2656664 w 5264290"/>
                <a:gd name="connsiteY46" fmla="*/ 741327 h 747096"/>
                <a:gd name="connsiteX47" fmla="*/ 2509552 w 5264290"/>
                <a:gd name="connsiteY47" fmla="*/ 741327 h 747096"/>
                <a:gd name="connsiteX48" fmla="*/ 2414362 w 5264290"/>
                <a:gd name="connsiteY48" fmla="*/ 735558 h 747096"/>
                <a:gd name="connsiteX49" fmla="*/ 2324941 w 5264290"/>
                <a:gd name="connsiteY49" fmla="*/ 729789 h 747096"/>
                <a:gd name="connsiteX50" fmla="*/ 2221098 w 5264290"/>
                <a:gd name="connsiteY50" fmla="*/ 724020 h 747096"/>
                <a:gd name="connsiteX51" fmla="*/ 2146099 w 5264290"/>
                <a:gd name="connsiteY51" fmla="*/ 718251 h 747096"/>
                <a:gd name="connsiteX52" fmla="*/ 2033602 w 5264290"/>
                <a:gd name="connsiteY52" fmla="*/ 706713 h 747096"/>
                <a:gd name="connsiteX53" fmla="*/ 1944181 w 5264290"/>
                <a:gd name="connsiteY53" fmla="*/ 695174 h 747096"/>
                <a:gd name="connsiteX54" fmla="*/ 1840338 w 5264290"/>
                <a:gd name="connsiteY54" fmla="*/ 686521 h 747096"/>
                <a:gd name="connsiteX55" fmla="*/ 1655727 w 5264290"/>
                <a:gd name="connsiteY55" fmla="*/ 669213 h 747096"/>
                <a:gd name="connsiteX56" fmla="*/ 1471116 w 5264290"/>
                <a:gd name="connsiteY56" fmla="*/ 649022 h 747096"/>
                <a:gd name="connsiteX57" fmla="*/ 1277852 w 5264290"/>
                <a:gd name="connsiteY57" fmla="*/ 631714 h 747096"/>
                <a:gd name="connsiteX58" fmla="*/ 1021128 w 5264290"/>
                <a:gd name="connsiteY58" fmla="*/ 602869 h 747096"/>
                <a:gd name="connsiteX59" fmla="*/ 775942 w 5264290"/>
                <a:gd name="connsiteY59" fmla="*/ 571139 h 747096"/>
                <a:gd name="connsiteX60" fmla="*/ 631715 w 5264290"/>
                <a:gd name="connsiteY60" fmla="*/ 548063 h 747096"/>
                <a:gd name="connsiteX61" fmla="*/ 496141 w 5264290"/>
                <a:gd name="connsiteY61" fmla="*/ 522102 h 747096"/>
                <a:gd name="connsiteX62" fmla="*/ 331722 w 5264290"/>
                <a:gd name="connsiteY62" fmla="*/ 496141 h 747096"/>
                <a:gd name="connsiteX63" fmla="*/ 126920 w 5264290"/>
                <a:gd name="connsiteY63" fmla="*/ 461526 h 747096"/>
                <a:gd name="connsiteX64" fmla="*/ 0 w 5264290"/>
                <a:gd name="connsiteY64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09605 w 5264290"/>
                <a:gd name="connsiteY10" fmla="*/ 233648 h 747096"/>
                <a:gd name="connsiteX11" fmla="*/ 438450 w 5264290"/>
                <a:gd name="connsiteY11" fmla="*/ 222109 h 747096"/>
                <a:gd name="connsiteX12" fmla="*/ 527871 w 5264290"/>
                <a:gd name="connsiteY12" fmla="*/ 196148 h 747096"/>
                <a:gd name="connsiteX13" fmla="*/ 576908 w 5264290"/>
                <a:gd name="connsiteY13" fmla="*/ 187495 h 747096"/>
                <a:gd name="connsiteX14" fmla="*/ 611523 w 5264290"/>
                <a:gd name="connsiteY14" fmla="*/ 178841 h 747096"/>
                <a:gd name="connsiteX15" fmla="*/ 689405 w 5264290"/>
                <a:gd name="connsiteY15" fmla="*/ 161534 h 747096"/>
                <a:gd name="connsiteX16" fmla="*/ 729789 w 5264290"/>
                <a:gd name="connsiteY16" fmla="*/ 155765 h 747096"/>
                <a:gd name="connsiteX17" fmla="*/ 761519 w 5264290"/>
                <a:gd name="connsiteY17" fmla="*/ 147111 h 747096"/>
                <a:gd name="connsiteX18" fmla="*/ 819210 w 5264290"/>
                <a:gd name="connsiteY18" fmla="*/ 138458 h 747096"/>
                <a:gd name="connsiteX19" fmla="*/ 856709 w 5264290"/>
                <a:gd name="connsiteY19" fmla="*/ 129804 h 747096"/>
                <a:gd name="connsiteX20" fmla="*/ 911515 w 5264290"/>
                <a:gd name="connsiteY20" fmla="*/ 124035 h 747096"/>
                <a:gd name="connsiteX21" fmla="*/ 1003821 w 5264290"/>
                <a:gd name="connsiteY21" fmla="*/ 112497 h 747096"/>
                <a:gd name="connsiteX22" fmla="*/ 1078819 w 5264290"/>
                <a:gd name="connsiteY22" fmla="*/ 103843 h 747096"/>
                <a:gd name="connsiteX23" fmla="*/ 1145163 w 5264290"/>
                <a:gd name="connsiteY23" fmla="*/ 95189 h 747096"/>
                <a:gd name="connsiteX24" fmla="*/ 1243238 w 5264290"/>
                <a:gd name="connsiteY24" fmla="*/ 86536 h 747096"/>
                <a:gd name="connsiteX25" fmla="*/ 1375927 w 5264290"/>
                <a:gd name="connsiteY25" fmla="*/ 77882 h 747096"/>
                <a:gd name="connsiteX26" fmla="*/ 1574960 w 5264290"/>
                <a:gd name="connsiteY26" fmla="*/ 63460 h 747096"/>
                <a:gd name="connsiteX27" fmla="*/ 1794185 w 5264290"/>
                <a:gd name="connsiteY27" fmla="*/ 54806 h 747096"/>
                <a:gd name="connsiteX28" fmla="*/ 1996103 w 5264290"/>
                <a:gd name="connsiteY28" fmla="*/ 43268 h 747096"/>
                <a:gd name="connsiteX29" fmla="*/ 2172060 w 5264290"/>
                <a:gd name="connsiteY29" fmla="*/ 34614 h 747096"/>
                <a:gd name="connsiteX30" fmla="*/ 2399939 w 5264290"/>
                <a:gd name="connsiteY30" fmla="*/ 25960 h 747096"/>
                <a:gd name="connsiteX31" fmla="*/ 2723008 w 5264290"/>
                <a:gd name="connsiteY31" fmla="*/ 20191 h 747096"/>
                <a:gd name="connsiteX32" fmla="*/ 2858581 w 5264290"/>
                <a:gd name="connsiteY32" fmla="*/ 17307 h 747096"/>
                <a:gd name="connsiteX33" fmla="*/ 2985501 w 5264290"/>
                <a:gd name="connsiteY33" fmla="*/ 14422 h 747096"/>
                <a:gd name="connsiteX34" fmla="*/ 3115306 w 5264290"/>
                <a:gd name="connsiteY34" fmla="*/ 11538 h 747096"/>
                <a:gd name="connsiteX35" fmla="*/ 3294147 w 5264290"/>
                <a:gd name="connsiteY35" fmla="*/ 8653 h 747096"/>
                <a:gd name="connsiteX36" fmla="*/ 3464335 w 5264290"/>
                <a:gd name="connsiteY36" fmla="*/ 8653 h 747096"/>
                <a:gd name="connsiteX37" fmla="*/ 3669138 w 5264290"/>
                <a:gd name="connsiteY37" fmla="*/ 2884 h 747096"/>
                <a:gd name="connsiteX38" fmla="*/ 5264290 w 5264290"/>
                <a:gd name="connsiteY38" fmla="*/ 0 h 747096"/>
                <a:gd name="connsiteX39" fmla="*/ 5264290 w 5264290"/>
                <a:gd name="connsiteY39" fmla="*/ 744212 h 747096"/>
                <a:gd name="connsiteX40" fmla="*/ 3135498 w 5264290"/>
                <a:gd name="connsiteY40" fmla="*/ 747096 h 747096"/>
                <a:gd name="connsiteX41" fmla="*/ 3005693 w 5264290"/>
                <a:gd name="connsiteY41" fmla="*/ 744212 h 747096"/>
                <a:gd name="connsiteX42" fmla="*/ 2910503 w 5264290"/>
                <a:gd name="connsiteY42" fmla="*/ 747096 h 747096"/>
                <a:gd name="connsiteX43" fmla="*/ 2835505 w 5264290"/>
                <a:gd name="connsiteY43" fmla="*/ 747096 h 747096"/>
                <a:gd name="connsiteX44" fmla="*/ 2777814 w 5264290"/>
                <a:gd name="connsiteY44" fmla="*/ 744212 h 747096"/>
                <a:gd name="connsiteX45" fmla="*/ 2656664 w 5264290"/>
                <a:gd name="connsiteY45" fmla="*/ 741327 h 747096"/>
                <a:gd name="connsiteX46" fmla="*/ 2509552 w 5264290"/>
                <a:gd name="connsiteY46" fmla="*/ 741327 h 747096"/>
                <a:gd name="connsiteX47" fmla="*/ 2414362 w 5264290"/>
                <a:gd name="connsiteY47" fmla="*/ 735558 h 747096"/>
                <a:gd name="connsiteX48" fmla="*/ 2324941 w 5264290"/>
                <a:gd name="connsiteY48" fmla="*/ 729789 h 747096"/>
                <a:gd name="connsiteX49" fmla="*/ 2221098 w 5264290"/>
                <a:gd name="connsiteY49" fmla="*/ 724020 h 747096"/>
                <a:gd name="connsiteX50" fmla="*/ 2146099 w 5264290"/>
                <a:gd name="connsiteY50" fmla="*/ 718251 h 747096"/>
                <a:gd name="connsiteX51" fmla="*/ 2033602 w 5264290"/>
                <a:gd name="connsiteY51" fmla="*/ 706713 h 747096"/>
                <a:gd name="connsiteX52" fmla="*/ 1944181 w 5264290"/>
                <a:gd name="connsiteY52" fmla="*/ 695174 h 747096"/>
                <a:gd name="connsiteX53" fmla="*/ 1840338 w 5264290"/>
                <a:gd name="connsiteY53" fmla="*/ 686521 h 747096"/>
                <a:gd name="connsiteX54" fmla="*/ 1655727 w 5264290"/>
                <a:gd name="connsiteY54" fmla="*/ 669213 h 747096"/>
                <a:gd name="connsiteX55" fmla="*/ 1471116 w 5264290"/>
                <a:gd name="connsiteY55" fmla="*/ 649022 h 747096"/>
                <a:gd name="connsiteX56" fmla="*/ 1277852 w 5264290"/>
                <a:gd name="connsiteY56" fmla="*/ 631714 h 747096"/>
                <a:gd name="connsiteX57" fmla="*/ 1021128 w 5264290"/>
                <a:gd name="connsiteY57" fmla="*/ 602869 h 747096"/>
                <a:gd name="connsiteX58" fmla="*/ 775942 w 5264290"/>
                <a:gd name="connsiteY58" fmla="*/ 571139 h 747096"/>
                <a:gd name="connsiteX59" fmla="*/ 631715 w 5264290"/>
                <a:gd name="connsiteY59" fmla="*/ 548063 h 747096"/>
                <a:gd name="connsiteX60" fmla="*/ 496141 w 5264290"/>
                <a:gd name="connsiteY60" fmla="*/ 522102 h 747096"/>
                <a:gd name="connsiteX61" fmla="*/ 331722 w 5264290"/>
                <a:gd name="connsiteY61" fmla="*/ 496141 h 747096"/>
                <a:gd name="connsiteX62" fmla="*/ 126920 w 5264290"/>
                <a:gd name="connsiteY62" fmla="*/ 461526 h 747096"/>
                <a:gd name="connsiteX63" fmla="*/ 0 w 5264290"/>
                <a:gd name="connsiteY63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09605 w 5264290"/>
                <a:gd name="connsiteY10" fmla="*/ 233648 h 747096"/>
                <a:gd name="connsiteX11" fmla="*/ 438450 w 5264290"/>
                <a:gd name="connsiteY11" fmla="*/ 222109 h 747096"/>
                <a:gd name="connsiteX12" fmla="*/ 527871 w 5264290"/>
                <a:gd name="connsiteY12" fmla="*/ 196148 h 747096"/>
                <a:gd name="connsiteX13" fmla="*/ 576908 w 5264290"/>
                <a:gd name="connsiteY13" fmla="*/ 187495 h 747096"/>
                <a:gd name="connsiteX14" fmla="*/ 611523 w 5264290"/>
                <a:gd name="connsiteY14" fmla="*/ 178841 h 747096"/>
                <a:gd name="connsiteX15" fmla="*/ 689405 w 5264290"/>
                <a:gd name="connsiteY15" fmla="*/ 161534 h 747096"/>
                <a:gd name="connsiteX16" fmla="*/ 761519 w 5264290"/>
                <a:gd name="connsiteY16" fmla="*/ 147111 h 747096"/>
                <a:gd name="connsiteX17" fmla="*/ 819210 w 5264290"/>
                <a:gd name="connsiteY17" fmla="*/ 138458 h 747096"/>
                <a:gd name="connsiteX18" fmla="*/ 856709 w 5264290"/>
                <a:gd name="connsiteY18" fmla="*/ 129804 h 747096"/>
                <a:gd name="connsiteX19" fmla="*/ 911515 w 5264290"/>
                <a:gd name="connsiteY19" fmla="*/ 124035 h 747096"/>
                <a:gd name="connsiteX20" fmla="*/ 1003821 w 5264290"/>
                <a:gd name="connsiteY20" fmla="*/ 112497 h 747096"/>
                <a:gd name="connsiteX21" fmla="*/ 1078819 w 5264290"/>
                <a:gd name="connsiteY21" fmla="*/ 103843 h 747096"/>
                <a:gd name="connsiteX22" fmla="*/ 1145163 w 5264290"/>
                <a:gd name="connsiteY22" fmla="*/ 95189 h 747096"/>
                <a:gd name="connsiteX23" fmla="*/ 1243238 w 5264290"/>
                <a:gd name="connsiteY23" fmla="*/ 86536 h 747096"/>
                <a:gd name="connsiteX24" fmla="*/ 1375927 w 5264290"/>
                <a:gd name="connsiteY24" fmla="*/ 77882 h 747096"/>
                <a:gd name="connsiteX25" fmla="*/ 1574960 w 5264290"/>
                <a:gd name="connsiteY25" fmla="*/ 63460 h 747096"/>
                <a:gd name="connsiteX26" fmla="*/ 1794185 w 5264290"/>
                <a:gd name="connsiteY26" fmla="*/ 54806 h 747096"/>
                <a:gd name="connsiteX27" fmla="*/ 1996103 w 5264290"/>
                <a:gd name="connsiteY27" fmla="*/ 43268 h 747096"/>
                <a:gd name="connsiteX28" fmla="*/ 2172060 w 5264290"/>
                <a:gd name="connsiteY28" fmla="*/ 34614 h 747096"/>
                <a:gd name="connsiteX29" fmla="*/ 2399939 w 5264290"/>
                <a:gd name="connsiteY29" fmla="*/ 25960 h 747096"/>
                <a:gd name="connsiteX30" fmla="*/ 2723008 w 5264290"/>
                <a:gd name="connsiteY30" fmla="*/ 20191 h 747096"/>
                <a:gd name="connsiteX31" fmla="*/ 2858581 w 5264290"/>
                <a:gd name="connsiteY31" fmla="*/ 17307 h 747096"/>
                <a:gd name="connsiteX32" fmla="*/ 2985501 w 5264290"/>
                <a:gd name="connsiteY32" fmla="*/ 14422 h 747096"/>
                <a:gd name="connsiteX33" fmla="*/ 3115306 w 5264290"/>
                <a:gd name="connsiteY33" fmla="*/ 11538 h 747096"/>
                <a:gd name="connsiteX34" fmla="*/ 3294147 w 5264290"/>
                <a:gd name="connsiteY34" fmla="*/ 8653 h 747096"/>
                <a:gd name="connsiteX35" fmla="*/ 3464335 w 5264290"/>
                <a:gd name="connsiteY35" fmla="*/ 8653 h 747096"/>
                <a:gd name="connsiteX36" fmla="*/ 3669138 w 5264290"/>
                <a:gd name="connsiteY36" fmla="*/ 2884 h 747096"/>
                <a:gd name="connsiteX37" fmla="*/ 5264290 w 5264290"/>
                <a:gd name="connsiteY37" fmla="*/ 0 h 747096"/>
                <a:gd name="connsiteX38" fmla="*/ 5264290 w 5264290"/>
                <a:gd name="connsiteY38" fmla="*/ 744212 h 747096"/>
                <a:gd name="connsiteX39" fmla="*/ 3135498 w 5264290"/>
                <a:gd name="connsiteY39" fmla="*/ 747096 h 747096"/>
                <a:gd name="connsiteX40" fmla="*/ 3005693 w 5264290"/>
                <a:gd name="connsiteY40" fmla="*/ 744212 h 747096"/>
                <a:gd name="connsiteX41" fmla="*/ 2910503 w 5264290"/>
                <a:gd name="connsiteY41" fmla="*/ 747096 h 747096"/>
                <a:gd name="connsiteX42" fmla="*/ 2835505 w 5264290"/>
                <a:gd name="connsiteY42" fmla="*/ 747096 h 747096"/>
                <a:gd name="connsiteX43" fmla="*/ 2777814 w 5264290"/>
                <a:gd name="connsiteY43" fmla="*/ 744212 h 747096"/>
                <a:gd name="connsiteX44" fmla="*/ 2656664 w 5264290"/>
                <a:gd name="connsiteY44" fmla="*/ 741327 h 747096"/>
                <a:gd name="connsiteX45" fmla="*/ 2509552 w 5264290"/>
                <a:gd name="connsiteY45" fmla="*/ 741327 h 747096"/>
                <a:gd name="connsiteX46" fmla="*/ 2414362 w 5264290"/>
                <a:gd name="connsiteY46" fmla="*/ 735558 h 747096"/>
                <a:gd name="connsiteX47" fmla="*/ 2324941 w 5264290"/>
                <a:gd name="connsiteY47" fmla="*/ 729789 h 747096"/>
                <a:gd name="connsiteX48" fmla="*/ 2221098 w 5264290"/>
                <a:gd name="connsiteY48" fmla="*/ 724020 h 747096"/>
                <a:gd name="connsiteX49" fmla="*/ 2146099 w 5264290"/>
                <a:gd name="connsiteY49" fmla="*/ 718251 h 747096"/>
                <a:gd name="connsiteX50" fmla="*/ 2033602 w 5264290"/>
                <a:gd name="connsiteY50" fmla="*/ 706713 h 747096"/>
                <a:gd name="connsiteX51" fmla="*/ 1944181 w 5264290"/>
                <a:gd name="connsiteY51" fmla="*/ 695174 h 747096"/>
                <a:gd name="connsiteX52" fmla="*/ 1840338 w 5264290"/>
                <a:gd name="connsiteY52" fmla="*/ 686521 h 747096"/>
                <a:gd name="connsiteX53" fmla="*/ 1655727 w 5264290"/>
                <a:gd name="connsiteY53" fmla="*/ 669213 h 747096"/>
                <a:gd name="connsiteX54" fmla="*/ 1471116 w 5264290"/>
                <a:gd name="connsiteY54" fmla="*/ 649022 h 747096"/>
                <a:gd name="connsiteX55" fmla="*/ 1277852 w 5264290"/>
                <a:gd name="connsiteY55" fmla="*/ 631714 h 747096"/>
                <a:gd name="connsiteX56" fmla="*/ 1021128 w 5264290"/>
                <a:gd name="connsiteY56" fmla="*/ 602869 h 747096"/>
                <a:gd name="connsiteX57" fmla="*/ 775942 w 5264290"/>
                <a:gd name="connsiteY57" fmla="*/ 571139 h 747096"/>
                <a:gd name="connsiteX58" fmla="*/ 631715 w 5264290"/>
                <a:gd name="connsiteY58" fmla="*/ 548063 h 747096"/>
                <a:gd name="connsiteX59" fmla="*/ 496141 w 5264290"/>
                <a:gd name="connsiteY59" fmla="*/ 522102 h 747096"/>
                <a:gd name="connsiteX60" fmla="*/ 331722 w 5264290"/>
                <a:gd name="connsiteY60" fmla="*/ 496141 h 747096"/>
                <a:gd name="connsiteX61" fmla="*/ 126920 w 5264290"/>
                <a:gd name="connsiteY61" fmla="*/ 461526 h 747096"/>
                <a:gd name="connsiteX62" fmla="*/ 0 w 5264290"/>
                <a:gd name="connsiteY62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09605 w 5264290"/>
                <a:gd name="connsiteY10" fmla="*/ 233648 h 747096"/>
                <a:gd name="connsiteX11" fmla="*/ 438450 w 5264290"/>
                <a:gd name="connsiteY11" fmla="*/ 222109 h 747096"/>
                <a:gd name="connsiteX12" fmla="*/ 527871 w 5264290"/>
                <a:gd name="connsiteY12" fmla="*/ 196148 h 747096"/>
                <a:gd name="connsiteX13" fmla="*/ 611523 w 5264290"/>
                <a:gd name="connsiteY13" fmla="*/ 178841 h 747096"/>
                <a:gd name="connsiteX14" fmla="*/ 689405 w 5264290"/>
                <a:gd name="connsiteY14" fmla="*/ 161534 h 747096"/>
                <a:gd name="connsiteX15" fmla="*/ 761519 w 5264290"/>
                <a:gd name="connsiteY15" fmla="*/ 147111 h 747096"/>
                <a:gd name="connsiteX16" fmla="*/ 819210 w 5264290"/>
                <a:gd name="connsiteY16" fmla="*/ 138458 h 747096"/>
                <a:gd name="connsiteX17" fmla="*/ 856709 w 5264290"/>
                <a:gd name="connsiteY17" fmla="*/ 129804 h 747096"/>
                <a:gd name="connsiteX18" fmla="*/ 911515 w 5264290"/>
                <a:gd name="connsiteY18" fmla="*/ 124035 h 747096"/>
                <a:gd name="connsiteX19" fmla="*/ 1003821 w 5264290"/>
                <a:gd name="connsiteY19" fmla="*/ 112497 h 747096"/>
                <a:gd name="connsiteX20" fmla="*/ 1078819 w 5264290"/>
                <a:gd name="connsiteY20" fmla="*/ 103843 h 747096"/>
                <a:gd name="connsiteX21" fmla="*/ 1145163 w 5264290"/>
                <a:gd name="connsiteY21" fmla="*/ 95189 h 747096"/>
                <a:gd name="connsiteX22" fmla="*/ 1243238 w 5264290"/>
                <a:gd name="connsiteY22" fmla="*/ 86536 h 747096"/>
                <a:gd name="connsiteX23" fmla="*/ 1375927 w 5264290"/>
                <a:gd name="connsiteY23" fmla="*/ 77882 h 747096"/>
                <a:gd name="connsiteX24" fmla="*/ 1574960 w 5264290"/>
                <a:gd name="connsiteY24" fmla="*/ 63460 h 747096"/>
                <a:gd name="connsiteX25" fmla="*/ 1794185 w 5264290"/>
                <a:gd name="connsiteY25" fmla="*/ 54806 h 747096"/>
                <a:gd name="connsiteX26" fmla="*/ 1996103 w 5264290"/>
                <a:gd name="connsiteY26" fmla="*/ 43268 h 747096"/>
                <a:gd name="connsiteX27" fmla="*/ 2172060 w 5264290"/>
                <a:gd name="connsiteY27" fmla="*/ 34614 h 747096"/>
                <a:gd name="connsiteX28" fmla="*/ 2399939 w 5264290"/>
                <a:gd name="connsiteY28" fmla="*/ 25960 h 747096"/>
                <a:gd name="connsiteX29" fmla="*/ 2723008 w 5264290"/>
                <a:gd name="connsiteY29" fmla="*/ 20191 h 747096"/>
                <a:gd name="connsiteX30" fmla="*/ 2858581 w 5264290"/>
                <a:gd name="connsiteY30" fmla="*/ 17307 h 747096"/>
                <a:gd name="connsiteX31" fmla="*/ 2985501 w 5264290"/>
                <a:gd name="connsiteY31" fmla="*/ 14422 h 747096"/>
                <a:gd name="connsiteX32" fmla="*/ 3115306 w 5264290"/>
                <a:gd name="connsiteY32" fmla="*/ 11538 h 747096"/>
                <a:gd name="connsiteX33" fmla="*/ 3294147 w 5264290"/>
                <a:gd name="connsiteY33" fmla="*/ 8653 h 747096"/>
                <a:gd name="connsiteX34" fmla="*/ 3464335 w 5264290"/>
                <a:gd name="connsiteY34" fmla="*/ 8653 h 747096"/>
                <a:gd name="connsiteX35" fmla="*/ 3669138 w 5264290"/>
                <a:gd name="connsiteY35" fmla="*/ 2884 h 747096"/>
                <a:gd name="connsiteX36" fmla="*/ 5264290 w 5264290"/>
                <a:gd name="connsiteY36" fmla="*/ 0 h 747096"/>
                <a:gd name="connsiteX37" fmla="*/ 5264290 w 5264290"/>
                <a:gd name="connsiteY37" fmla="*/ 744212 h 747096"/>
                <a:gd name="connsiteX38" fmla="*/ 3135498 w 5264290"/>
                <a:gd name="connsiteY38" fmla="*/ 747096 h 747096"/>
                <a:gd name="connsiteX39" fmla="*/ 3005693 w 5264290"/>
                <a:gd name="connsiteY39" fmla="*/ 744212 h 747096"/>
                <a:gd name="connsiteX40" fmla="*/ 2910503 w 5264290"/>
                <a:gd name="connsiteY40" fmla="*/ 747096 h 747096"/>
                <a:gd name="connsiteX41" fmla="*/ 2835505 w 5264290"/>
                <a:gd name="connsiteY41" fmla="*/ 747096 h 747096"/>
                <a:gd name="connsiteX42" fmla="*/ 2777814 w 5264290"/>
                <a:gd name="connsiteY42" fmla="*/ 744212 h 747096"/>
                <a:gd name="connsiteX43" fmla="*/ 2656664 w 5264290"/>
                <a:gd name="connsiteY43" fmla="*/ 741327 h 747096"/>
                <a:gd name="connsiteX44" fmla="*/ 2509552 w 5264290"/>
                <a:gd name="connsiteY44" fmla="*/ 741327 h 747096"/>
                <a:gd name="connsiteX45" fmla="*/ 2414362 w 5264290"/>
                <a:gd name="connsiteY45" fmla="*/ 735558 h 747096"/>
                <a:gd name="connsiteX46" fmla="*/ 2324941 w 5264290"/>
                <a:gd name="connsiteY46" fmla="*/ 729789 h 747096"/>
                <a:gd name="connsiteX47" fmla="*/ 2221098 w 5264290"/>
                <a:gd name="connsiteY47" fmla="*/ 724020 h 747096"/>
                <a:gd name="connsiteX48" fmla="*/ 2146099 w 5264290"/>
                <a:gd name="connsiteY48" fmla="*/ 718251 h 747096"/>
                <a:gd name="connsiteX49" fmla="*/ 2033602 w 5264290"/>
                <a:gd name="connsiteY49" fmla="*/ 706713 h 747096"/>
                <a:gd name="connsiteX50" fmla="*/ 1944181 w 5264290"/>
                <a:gd name="connsiteY50" fmla="*/ 695174 h 747096"/>
                <a:gd name="connsiteX51" fmla="*/ 1840338 w 5264290"/>
                <a:gd name="connsiteY51" fmla="*/ 686521 h 747096"/>
                <a:gd name="connsiteX52" fmla="*/ 1655727 w 5264290"/>
                <a:gd name="connsiteY52" fmla="*/ 669213 h 747096"/>
                <a:gd name="connsiteX53" fmla="*/ 1471116 w 5264290"/>
                <a:gd name="connsiteY53" fmla="*/ 649022 h 747096"/>
                <a:gd name="connsiteX54" fmla="*/ 1277852 w 5264290"/>
                <a:gd name="connsiteY54" fmla="*/ 631714 h 747096"/>
                <a:gd name="connsiteX55" fmla="*/ 1021128 w 5264290"/>
                <a:gd name="connsiteY55" fmla="*/ 602869 h 747096"/>
                <a:gd name="connsiteX56" fmla="*/ 775942 w 5264290"/>
                <a:gd name="connsiteY56" fmla="*/ 571139 h 747096"/>
                <a:gd name="connsiteX57" fmla="*/ 631715 w 5264290"/>
                <a:gd name="connsiteY57" fmla="*/ 548063 h 747096"/>
                <a:gd name="connsiteX58" fmla="*/ 496141 w 5264290"/>
                <a:gd name="connsiteY58" fmla="*/ 522102 h 747096"/>
                <a:gd name="connsiteX59" fmla="*/ 331722 w 5264290"/>
                <a:gd name="connsiteY59" fmla="*/ 496141 h 747096"/>
                <a:gd name="connsiteX60" fmla="*/ 126920 w 5264290"/>
                <a:gd name="connsiteY60" fmla="*/ 461526 h 747096"/>
                <a:gd name="connsiteX61" fmla="*/ 0 w 5264290"/>
                <a:gd name="connsiteY61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38450 w 5264290"/>
                <a:gd name="connsiteY10" fmla="*/ 222109 h 747096"/>
                <a:gd name="connsiteX11" fmla="*/ 527871 w 5264290"/>
                <a:gd name="connsiteY11" fmla="*/ 196148 h 747096"/>
                <a:gd name="connsiteX12" fmla="*/ 611523 w 5264290"/>
                <a:gd name="connsiteY12" fmla="*/ 178841 h 747096"/>
                <a:gd name="connsiteX13" fmla="*/ 689405 w 5264290"/>
                <a:gd name="connsiteY13" fmla="*/ 161534 h 747096"/>
                <a:gd name="connsiteX14" fmla="*/ 761519 w 5264290"/>
                <a:gd name="connsiteY14" fmla="*/ 147111 h 747096"/>
                <a:gd name="connsiteX15" fmla="*/ 819210 w 5264290"/>
                <a:gd name="connsiteY15" fmla="*/ 138458 h 747096"/>
                <a:gd name="connsiteX16" fmla="*/ 856709 w 5264290"/>
                <a:gd name="connsiteY16" fmla="*/ 129804 h 747096"/>
                <a:gd name="connsiteX17" fmla="*/ 911515 w 5264290"/>
                <a:gd name="connsiteY17" fmla="*/ 124035 h 747096"/>
                <a:gd name="connsiteX18" fmla="*/ 1003821 w 5264290"/>
                <a:gd name="connsiteY18" fmla="*/ 112497 h 747096"/>
                <a:gd name="connsiteX19" fmla="*/ 1078819 w 5264290"/>
                <a:gd name="connsiteY19" fmla="*/ 103843 h 747096"/>
                <a:gd name="connsiteX20" fmla="*/ 1145163 w 5264290"/>
                <a:gd name="connsiteY20" fmla="*/ 95189 h 747096"/>
                <a:gd name="connsiteX21" fmla="*/ 1243238 w 5264290"/>
                <a:gd name="connsiteY21" fmla="*/ 86536 h 747096"/>
                <a:gd name="connsiteX22" fmla="*/ 1375927 w 5264290"/>
                <a:gd name="connsiteY22" fmla="*/ 77882 h 747096"/>
                <a:gd name="connsiteX23" fmla="*/ 1574960 w 5264290"/>
                <a:gd name="connsiteY23" fmla="*/ 63460 h 747096"/>
                <a:gd name="connsiteX24" fmla="*/ 1794185 w 5264290"/>
                <a:gd name="connsiteY24" fmla="*/ 54806 h 747096"/>
                <a:gd name="connsiteX25" fmla="*/ 1996103 w 5264290"/>
                <a:gd name="connsiteY25" fmla="*/ 43268 h 747096"/>
                <a:gd name="connsiteX26" fmla="*/ 2172060 w 5264290"/>
                <a:gd name="connsiteY26" fmla="*/ 34614 h 747096"/>
                <a:gd name="connsiteX27" fmla="*/ 2399939 w 5264290"/>
                <a:gd name="connsiteY27" fmla="*/ 25960 h 747096"/>
                <a:gd name="connsiteX28" fmla="*/ 2723008 w 5264290"/>
                <a:gd name="connsiteY28" fmla="*/ 20191 h 747096"/>
                <a:gd name="connsiteX29" fmla="*/ 2858581 w 5264290"/>
                <a:gd name="connsiteY29" fmla="*/ 17307 h 747096"/>
                <a:gd name="connsiteX30" fmla="*/ 2985501 w 5264290"/>
                <a:gd name="connsiteY30" fmla="*/ 14422 h 747096"/>
                <a:gd name="connsiteX31" fmla="*/ 3115306 w 5264290"/>
                <a:gd name="connsiteY31" fmla="*/ 11538 h 747096"/>
                <a:gd name="connsiteX32" fmla="*/ 3294147 w 5264290"/>
                <a:gd name="connsiteY32" fmla="*/ 8653 h 747096"/>
                <a:gd name="connsiteX33" fmla="*/ 3464335 w 5264290"/>
                <a:gd name="connsiteY33" fmla="*/ 8653 h 747096"/>
                <a:gd name="connsiteX34" fmla="*/ 3669138 w 5264290"/>
                <a:gd name="connsiteY34" fmla="*/ 2884 h 747096"/>
                <a:gd name="connsiteX35" fmla="*/ 5264290 w 5264290"/>
                <a:gd name="connsiteY35" fmla="*/ 0 h 747096"/>
                <a:gd name="connsiteX36" fmla="*/ 5264290 w 5264290"/>
                <a:gd name="connsiteY36" fmla="*/ 744212 h 747096"/>
                <a:gd name="connsiteX37" fmla="*/ 3135498 w 5264290"/>
                <a:gd name="connsiteY37" fmla="*/ 747096 h 747096"/>
                <a:gd name="connsiteX38" fmla="*/ 3005693 w 5264290"/>
                <a:gd name="connsiteY38" fmla="*/ 744212 h 747096"/>
                <a:gd name="connsiteX39" fmla="*/ 2910503 w 5264290"/>
                <a:gd name="connsiteY39" fmla="*/ 747096 h 747096"/>
                <a:gd name="connsiteX40" fmla="*/ 2835505 w 5264290"/>
                <a:gd name="connsiteY40" fmla="*/ 747096 h 747096"/>
                <a:gd name="connsiteX41" fmla="*/ 2777814 w 5264290"/>
                <a:gd name="connsiteY41" fmla="*/ 744212 h 747096"/>
                <a:gd name="connsiteX42" fmla="*/ 2656664 w 5264290"/>
                <a:gd name="connsiteY42" fmla="*/ 741327 h 747096"/>
                <a:gd name="connsiteX43" fmla="*/ 2509552 w 5264290"/>
                <a:gd name="connsiteY43" fmla="*/ 741327 h 747096"/>
                <a:gd name="connsiteX44" fmla="*/ 2414362 w 5264290"/>
                <a:gd name="connsiteY44" fmla="*/ 735558 h 747096"/>
                <a:gd name="connsiteX45" fmla="*/ 2324941 w 5264290"/>
                <a:gd name="connsiteY45" fmla="*/ 729789 h 747096"/>
                <a:gd name="connsiteX46" fmla="*/ 2221098 w 5264290"/>
                <a:gd name="connsiteY46" fmla="*/ 724020 h 747096"/>
                <a:gd name="connsiteX47" fmla="*/ 2146099 w 5264290"/>
                <a:gd name="connsiteY47" fmla="*/ 718251 h 747096"/>
                <a:gd name="connsiteX48" fmla="*/ 2033602 w 5264290"/>
                <a:gd name="connsiteY48" fmla="*/ 706713 h 747096"/>
                <a:gd name="connsiteX49" fmla="*/ 1944181 w 5264290"/>
                <a:gd name="connsiteY49" fmla="*/ 695174 h 747096"/>
                <a:gd name="connsiteX50" fmla="*/ 1840338 w 5264290"/>
                <a:gd name="connsiteY50" fmla="*/ 686521 h 747096"/>
                <a:gd name="connsiteX51" fmla="*/ 1655727 w 5264290"/>
                <a:gd name="connsiteY51" fmla="*/ 669213 h 747096"/>
                <a:gd name="connsiteX52" fmla="*/ 1471116 w 5264290"/>
                <a:gd name="connsiteY52" fmla="*/ 649022 h 747096"/>
                <a:gd name="connsiteX53" fmla="*/ 1277852 w 5264290"/>
                <a:gd name="connsiteY53" fmla="*/ 631714 h 747096"/>
                <a:gd name="connsiteX54" fmla="*/ 1021128 w 5264290"/>
                <a:gd name="connsiteY54" fmla="*/ 602869 h 747096"/>
                <a:gd name="connsiteX55" fmla="*/ 775942 w 5264290"/>
                <a:gd name="connsiteY55" fmla="*/ 571139 h 747096"/>
                <a:gd name="connsiteX56" fmla="*/ 631715 w 5264290"/>
                <a:gd name="connsiteY56" fmla="*/ 548063 h 747096"/>
                <a:gd name="connsiteX57" fmla="*/ 496141 w 5264290"/>
                <a:gd name="connsiteY57" fmla="*/ 522102 h 747096"/>
                <a:gd name="connsiteX58" fmla="*/ 331722 w 5264290"/>
                <a:gd name="connsiteY58" fmla="*/ 496141 h 747096"/>
                <a:gd name="connsiteX59" fmla="*/ 126920 w 5264290"/>
                <a:gd name="connsiteY59" fmla="*/ 461526 h 747096"/>
                <a:gd name="connsiteX60" fmla="*/ 0 w 5264290"/>
                <a:gd name="connsiteY60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38450 w 5264290"/>
                <a:gd name="connsiteY10" fmla="*/ 222109 h 747096"/>
                <a:gd name="connsiteX11" fmla="*/ 527871 w 5264290"/>
                <a:gd name="connsiteY11" fmla="*/ 196148 h 747096"/>
                <a:gd name="connsiteX12" fmla="*/ 611523 w 5264290"/>
                <a:gd name="connsiteY12" fmla="*/ 178841 h 747096"/>
                <a:gd name="connsiteX13" fmla="*/ 689405 w 5264290"/>
                <a:gd name="connsiteY13" fmla="*/ 161534 h 747096"/>
                <a:gd name="connsiteX14" fmla="*/ 761519 w 5264290"/>
                <a:gd name="connsiteY14" fmla="*/ 147111 h 747096"/>
                <a:gd name="connsiteX15" fmla="*/ 819210 w 5264290"/>
                <a:gd name="connsiteY15" fmla="*/ 138458 h 747096"/>
                <a:gd name="connsiteX16" fmla="*/ 856709 w 5264290"/>
                <a:gd name="connsiteY16" fmla="*/ 129804 h 747096"/>
                <a:gd name="connsiteX17" fmla="*/ 911515 w 5264290"/>
                <a:gd name="connsiteY17" fmla="*/ 124035 h 747096"/>
                <a:gd name="connsiteX18" fmla="*/ 1003821 w 5264290"/>
                <a:gd name="connsiteY18" fmla="*/ 112497 h 747096"/>
                <a:gd name="connsiteX19" fmla="*/ 1078819 w 5264290"/>
                <a:gd name="connsiteY19" fmla="*/ 103843 h 747096"/>
                <a:gd name="connsiteX20" fmla="*/ 1145163 w 5264290"/>
                <a:gd name="connsiteY20" fmla="*/ 95189 h 747096"/>
                <a:gd name="connsiteX21" fmla="*/ 1243238 w 5264290"/>
                <a:gd name="connsiteY21" fmla="*/ 86536 h 747096"/>
                <a:gd name="connsiteX22" fmla="*/ 1375927 w 5264290"/>
                <a:gd name="connsiteY22" fmla="*/ 77882 h 747096"/>
                <a:gd name="connsiteX23" fmla="*/ 1574960 w 5264290"/>
                <a:gd name="connsiteY23" fmla="*/ 63460 h 747096"/>
                <a:gd name="connsiteX24" fmla="*/ 1794185 w 5264290"/>
                <a:gd name="connsiteY24" fmla="*/ 54806 h 747096"/>
                <a:gd name="connsiteX25" fmla="*/ 1996103 w 5264290"/>
                <a:gd name="connsiteY25" fmla="*/ 43268 h 747096"/>
                <a:gd name="connsiteX26" fmla="*/ 2172060 w 5264290"/>
                <a:gd name="connsiteY26" fmla="*/ 34614 h 747096"/>
                <a:gd name="connsiteX27" fmla="*/ 2399939 w 5264290"/>
                <a:gd name="connsiteY27" fmla="*/ 25960 h 747096"/>
                <a:gd name="connsiteX28" fmla="*/ 2723008 w 5264290"/>
                <a:gd name="connsiteY28" fmla="*/ 20191 h 747096"/>
                <a:gd name="connsiteX29" fmla="*/ 2858581 w 5264290"/>
                <a:gd name="connsiteY29" fmla="*/ 17307 h 747096"/>
                <a:gd name="connsiteX30" fmla="*/ 2985501 w 5264290"/>
                <a:gd name="connsiteY30" fmla="*/ 14422 h 747096"/>
                <a:gd name="connsiteX31" fmla="*/ 3115306 w 5264290"/>
                <a:gd name="connsiteY31" fmla="*/ 11538 h 747096"/>
                <a:gd name="connsiteX32" fmla="*/ 3294147 w 5264290"/>
                <a:gd name="connsiteY32" fmla="*/ 8653 h 747096"/>
                <a:gd name="connsiteX33" fmla="*/ 3464335 w 5264290"/>
                <a:gd name="connsiteY33" fmla="*/ 8653 h 747096"/>
                <a:gd name="connsiteX34" fmla="*/ 3669138 w 5264290"/>
                <a:gd name="connsiteY34" fmla="*/ 2884 h 747096"/>
                <a:gd name="connsiteX35" fmla="*/ 5264290 w 5264290"/>
                <a:gd name="connsiteY35" fmla="*/ 0 h 747096"/>
                <a:gd name="connsiteX36" fmla="*/ 5264290 w 5264290"/>
                <a:gd name="connsiteY36" fmla="*/ 744212 h 747096"/>
                <a:gd name="connsiteX37" fmla="*/ 3135498 w 5264290"/>
                <a:gd name="connsiteY37" fmla="*/ 747096 h 747096"/>
                <a:gd name="connsiteX38" fmla="*/ 3005693 w 5264290"/>
                <a:gd name="connsiteY38" fmla="*/ 744212 h 747096"/>
                <a:gd name="connsiteX39" fmla="*/ 2910503 w 5264290"/>
                <a:gd name="connsiteY39" fmla="*/ 747096 h 747096"/>
                <a:gd name="connsiteX40" fmla="*/ 2835505 w 5264290"/>
                <a:gd name="connsiteY40" fmla="*/ 747096 h 747096"/>
                <a:gd name="connsiteX41" fmla="*/ 2777814 w 5264290"/>
                <a:gd name="connsiteY41" fmla="*/ 744212 h 747096"/>
                <a:gd name="connsiteX42" fmla="*/ 2509552 w 5264290"/>
                <a:gd name="connsiteY42" fmla="*/ 741327 h 747096"/>
                <a:gd name="connsiteX43" fmla="*/ 2414362 w 5264290"/>
                <a:gd name="connsiteY43" fmla="*/ 735558 h 747096"/>
                <a:gd name="connsiteX44" fmla="*/ 2324941 w 5264290"/>
                <a:gd name="connsiteY44" fmla="*/ 729789 h 747096"/>
                <a:gd name="connsiteX45" fmla="*/ 2221098 w 5264290"/>
                <a:gd name="connsiteY45" fmla="*/ 724020 h 747096"/>
                <a:gd name="connsiteX46" fmla="*/ 2146099 w 5264290"/>
                <a:gd name="connsiteY46" fmla="*/ 718251 h 747096"/>
                <a:gd name="connsiteX47" fmla="*/ 2033602 w 5264290"/>
                <a:gd name="connsiteY47" fmla="*/ 706713 h 747096"/>
                <a:gd name="connsiteX48" fmla="*/ 1944181 w 5264290"/>
                <a:gd name="connsiteY48" fmla="*/ 695174 h 747096"/>
                <a:gd name="connsiteX49" fmla="*/ 1840338 w 5264290"/>
                <a:gd name="connsiteY49" fmla="*/ 686521 h 747096"/>
                <a:gd name="connsiteX50" fmla="*/ 1655727 w 5264290"/>
                <a:gd name="connsiteY50" fmla="*/ 669213 h 747096"/>
                <a:gd name="connsiteX51" fmla="*/ 1471116 w 5264290"/>
                <a:gd name="connsiteY51" fmla="*/ 649022 h 747096"/>
                <a:gd name="connsiteX52" fmla="*/ 1277852 w 5264290"/>
                <a:gd name="connsiteY52" fmla="*/ 631714 h 747096"/>
                <a:gd name="connsiteX53" fmla="*/ 1021128 w 5264290"/>
                <a:gd name="connsiteY53" fmla="*/ 602869 h 747096"/>
                <a:gd name="connsiteX54" fmla="*/ 775942 w 5264290"/>
                <a:gd name="connsiteY54" fmla="*/ 571139 h 747096"/>
                <a:gd name="connsiteX55" fmla="*/ 631715 w 5264290"/>
                <a:gd name="connsiteY55" fmla="*/ 548063 h 747096"/>
                <a:gd name="connsiteX56" fmla="*/ 496141 w 5264290"/>
                <a:gd name="connsiteY56" fmla="*/ 522102 h 747096"/>
                <a:gd name="connsiteX57" fmla="*/ 331722 w 5264290"/>
                <a:gd name="connsiteY57" fmla="*/ 496141 h 747096"/>
                <a:gd name="connsiteX58" fmla="*/ 126920 w 5264290"/>
                <a:gd name="connsiteY58" fmla="*/ 461526 h 747096"/>
                <a:gd name="connsiteX59" fmla="*/ 0 w 5264290"/>
                <a:gd name="connsiteY59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38450 w 5264290"/>
                <a:gd name="connsiteY10" fmla="*/ 222109 h 747096"/>
                <a:gd name="connsiteX11" fmla="*/ 527871 w 5264290"/>
                <a:gd name="connsiteY11" fmla="*/ 196148 h 747096"/>
                <a:gd name="connsiteX12" fmla="*/ 611523 w 5264290"/>
                <a:gd name="connsiteY12" fmla="*/ 178841 h 747096"/>
                <a:gd name="connsiteX13" fmla="*/ 689405 w 5264290"/>
                <a:gd name="connsiteY13" fmla="*/ 161534 h 747096"/>
                <a:gd name="connsiteX14" fmla="*/ 761519 w 5264290"/>
                <a:gd name="connsiteY14" fmla="*/ 147111 h 747096"/>
                <a:gd name="connsiteX15" fmla="*/ 819210 w 5264290"/>
                <a:gd name="connsiteY15" fmla="*/ 138458 h 747096"/>
                <a:gd name="connsiteX16" fmla="*/ 856709 w 5264290"/>
                <a:gd name="connsiteY16" fmla="*/ 129804 h 747096"/>
                <a:gd name="connsiteX17" fmla="*/ 911515 w 5264290"/>
                <a:gd name="connsiteY17" fmla="*/ 124035 h 747096"/>
                <a:gd name="connsiteX18" fmla="*/ 1003821 w 5264290"/>
                <a:gd name="connsiteY18" fmla="*/ 112497 h 747096"/>
                <a:gd name="connsiteX19" fmla="*/ 1078819 w 5264290"/>
                <a:gd name="connsiteY19" fmla="*/ 103843 h 747096"/>
                <a:gd name="connsiteX20" fmla="*/ 1145163 w 5264290"/>
                <a:gd name="connsiteY20" fmla="*/ 95189 h 747096"/>
                <a:gd name="connsiteX21" fmla="*/ 1243238 w 5264290"/>
                <a:gd name="connsiteY21" fmla="*/ 86536 h 747096"/>
                <a:gd name="connsiteX22" fmla="*/ 1375927 w 5264290"/>
                <a:gd name="connsiteY22" fmla="*/ 77882 h 747096"/>
                <a:gd name="connsiteX23" fmla="*/ 1574960 w 5264290"/>
                <a:gd name="connsiteY23" fmla="*/ 63460 h 747096"/>
                <a:gd name="connsiteX24" fmla="*/ 1794185 w 5264290"/>
                <a:gd name="connsiteY24" fmla="*/ 54806 h 747096"/>
                <a:gd name="connsiteX25" fmla="*/ 1996103 w 5264290"/>
                <a:gd name="connsiteY25" fmla="*/ 43268 h 747096"/>
                <a:gd name="connsiteX26" fmla="*/ 2172060 w 5264290"/>
                <a:gd name="connsiteY26" fmla="*/ 34614 h 747096"/>
                <a:gd name="connsiteX27" fmla="*/ 2399939 w 5264290"/>
                <a:gd name="connsiteY27" fmla="*/ 25960 h 747096"/>
                <a:gd name="connsiteX28" fmla="*/ 2723008 w 5264290"/>
                <a:gd name="connsiteY28" fmla="*/ 20191 h 747096"/>
                <a:gd name="connsiteX29" fmla="*/ 2858581 w 5264290"/>
                <a:gd name="connsiteY29" fmla="*/ 17307 h 747096"/>
                <a:gd name="connsiteX30" fmla="*/ 2985501 w 5264290"/>
                <a:gd name="connsiteY30" fmla="*/ 14422 h 747096"/>
                <a:gd name="connsiteX31" fmla="*/ 3115306 w 5264290"/>
                <a:gd name="connsiteY31" fmla="*/ 11538 h 747096"/>
                <a:gd name="connsiteX32" fmla="*/ 3294147 w 5264290"/>
                <a:gd name="connsiteY32" fmla="*/ 8653 h 747096"/>
                <a:gd name="connsiteX33" fmla="*/ 3464335 w 5264290"/>
                <a:gd name="connsiteY33" fmla="*/ 8653 h 747096"/>
                <a:gd name="connsiteX34" fmla="*/ 3669138 w 5264290"/>
                <a:gd name="connsiteY34" fmla="*/ 2884 h 747096"/>
                <a:gd name="connsiteX35" fmla="*/ 5264290 w 5264290"/>
                <a:gd name="connsiteY35" fmla="*/ 0 h 747096"/>
                <a:gd name="connsiteX36" fmla="*/ 5264290 w 5264290"/>
                <a:gd name="connsiteY36" fmla="*/ 744212 h 747096"/>
                <a:gd name="connsiteX37" fmla="*/ 3135498 w 5264290"/>
                <a:gd name="connsiteY37" fmla="*/ 747096 h 747096"/>
                <a:gd name="connsiteX38" fmla="*/ 2910503 w 5264290"/>
                <a:gd name="connsiteY38" fmla="*/ 747096 h 747096"/>
                <a:gd name="connsiteX39" fmla="*/ 2835505 w 5264290"/>
                <a:gd name="connsiteY39" fmla="*/ 747096 h 747096"/>
                <a:gd name="connsiteX40" fmla="*/ 2777814 w 5264290"/>
                <a:gd name="connsiteY40" fmla="*/ 744212 h 747096"/>
                <a:gd name="connsiteX41" fmla="*/ 2509552 w 5264290"/>
                <a:gd name="connsiteY41" fmla="*/ 741327 h 747096"/>
                <a:gd name="connsiteX42" fmla="*/ 2414362 w 5264290"/>
                <a:gd name="connsiteY42" fmla="*/ 735558 h 747096"/>
                <a:gd name="connsiteX43" fmla="*/ 2324941 w 5264290"/>
                <a:gd name="connsiteY43" fmla="*/ 729789 h 747096"/>
                <a:gd name="connsiteX44" fmla="*/ 2221098 w 5264290"/>
                <a:gd name="connsiteY44" fmla="*/ 724020 h 747096"/>
                <a:gd name="connsiteX45" fmla="*/ 2146099 w 5264290"/>
                <a:gd name="connsiteY45" fmla="*/ 718251 h 747096"/>
                <a:gd name="connsiteX46" fmla="*/ 2033602 w 5264290"/>
                <a:gd name="connsiteY46" fmla="*/ 706713 h 747096"/>
                <a:gd name="connsiteX47" fmla="*/ 1944181 w 5264290"/>
                <a:gd name="connsiteY47" fmla="*/ 695174 h 747096"/>
                <a:gd name="connsiteX48" fmla="*/ 1840338 w 5264290"/>
                <a:gd name="connsiteY48" fmla="*/ 686521 h 747096"/>
                <a:gd name="connsiteX49" fmla="*/ 1655727 w 5264290"/>
                <a:gd name="connsiteY49" fmla="*/ 669213 h 747096"/>
                <a:gd name="connsiteX50" fmla="*/ 1471116 w 5264290"/>
                <a:gd name="connsiteY50" fmla="*/ 649022 h 747096"/>
                <a:gd name="connsiteX51" fmla="*/ 1277852 w 5264290"/>
                <a:gd name="connsiteY51" fmla="*/ 631714 h 747096"/>
                <a:gd name="connsiteX52" fmla="*/ 1021128 w 5264290"/>
                <a:gd name="connsiteY52" fmla="*/ 602869 h 747096"/>
                <a:gd name="connsiteX53" fmla="*/ 775942 w 5264290"/>
                <a:gd name="connsiteY53" fmla="*/ 571139 h 747096"/>
                <a:gd name="connsiteX54" fmla="*/ 631715 w 5264290"/>
                <a:gd name="connsiteY54" fmla="*/ 548063 h 747096"/>
                <a:gd name="connsiteX55" fmla="*/ 496141 w 5264290"/>
                <a:gd name="connsiteY55" fmla="*/ 522102 h 747096"/>
                <a:gd name="connsiteX56" fmla="*/ 331722 w 5264290"/>
                <a:gd name="connsiteY56" fmla="*/ 496141 h 747096"/>
                <a:gd name="connsiteX57" fmla="*/ 126920 w 5264290"/>
                <a:gd name="connsiteY57" fmla="*/ 461526 h 747096"/>
                <a:gd name="connsiteX58" fmla="*/ 0 w 5264290"/>
                <a:gd name="connsiteY58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38450 w 5264290"/>
                <a:gd name="connsiteY10" fmla="*/ 222109 h 747096"/>
                <a:gd name="connsiteX11" fmla="*/ 527871 w 5264290"/>
                <a:gd name="connsiteY11" fmla="*/ 196148 h 747096"/>
                <a:gd name="connsiteX12" fmla="*/ 611523 w 5264290"/>
                <a:gd name="connsiteY12" fmla="*/ 178841 h 747096"/>
                <a:gd name="connsiteX13" fmla="*/ 689405 w 5264290"/>
                <a:gd name="connsiteY13" fmla="*/ 161534 h 747096"/>
                <a:gd name="connsiteX14" fmla="*/ 761519 w 5264290"/>
                <a:gd name="connsiteY14" fmla="*/ 147111 h 747096"/>
                <a:gd name="connsiteX15" fmla="*/ 819210 w 5264290"/>
                <a:gd name="connsiteY15" fmla="*/ 138458 h 747096"/>
                <a:gd name="connsiteX16" fmla="*/ 856709 w 5264290"/>
                <a:gd name="connsiteY16" fmla="*/ 129804 h 747096"/>
                <a:gd name="connsiteX17" fmla="*/ 911515 w 5264290"/>
                <a:gd name="connsiteY17" fmla="*/ 124035 h 747096"/>
                <a:gd name="connsiteX18" fmla="*/ 1003821 w 5264290"/>
                <a:gd name="connsiteY18" fmla="*/ 112497 h 747096"/>
                <a:gd name="connsiteX19" fmla="*/ 1078819 w 5264290"/>
                <a:gd name="connsiteY19" fmla="*/ 103843 h 747096"/>
                <a:gd name="connsiteX20" fmla="*/ 1145163 w 5264290"/>
                <a:gd name="connsiteY20" fmla="*/ 95189 h 747096"/>
                <a:gd name="connsiteX21" fmla="*/ 1243238 w 5264290"/>
                <a:gd name="connsiteY21" fmla="*/ 86536 h 747096"/>
                <a:gd name="connsiteX22" fmla="*/ 1375927 w 5264290"/>
                <a:gd name="connsiteY22" fmla="*/ 77882 h 747096"/>
                <a:gd name="connsiteX23" fmla="*/ 1574960 w 5264290"/>
                <a:gd name="connsiteY23" fmla="*/ 63460 h 747096"/>
                <a:gd name="connsiteX24" fmla="*/ 1794185 w 5264290"/>
                <a:gd name="connsiteY24" fmla="*/ 54806 h 747096"/>
                <a:gd name="connsiteX25" fmla="*/ 1996103 w 5264290"/>
                <a:gd name="connsiteY25" fmla="*/ 43268 h 747096"/>
                <a:gd name="connsiteX26" fmla="*/ 2172060 w 5264290"/>
                <a:gd name="connsiteY26" fmla="*/ 34614 h 747096"/>
                <a:gd name="connsiteX27" fmla="*/ 2399939 w 5264290"/>
                <a:gd name="connsiteY27" fmla="*/ 25960 h 747096"/>
                <a:gd name="connsiteX28" fmla="*/ 2723008 w 5264290"/>
                <a:gd name="connsiteY28" fmla="*/ 20191 h 747096"/>
                <a:gd name="connsiteX29" fmla="*/ 2858581 w 5264290"/>
                <a:gd name="connsiteY29" fmla="*/ 17307 h 747096"/>
                <a:gd name="connsiteX30" fmla="*/ 2985501 w 5264290"/>
                <a:gd name="connsiteY30" fmla="*/ 14422 h 747096"/>
                <a:gd name="connsiteX31" fmla="*/ 3115306 w 5264290"/>
                <a:gd name="connsiteY31" fmla="*/ 11538 h 747096"/>
                <a:gd name="connsiteX32" fmla="*/ 3294147 w 5264290"/>
                <a:gd name="connsiteY32" fmla="*/ 8653 h 747096"/>
                <a:gd name="connsiteX33" fmla="*/ 3464335 w 5264290"/>
                <a:gd name="connsiteY33" fmla="*/ 8653 h 747096"/>
                <a:gd name="connsiteX34" fmla="*/ 3669138 w 5264290"/>
                <a:gd name="connsiteY34" fmla="*/ 2884 h 747096"/>
                <a:gd name="connsiteX35" fmla="*/ 5264290 w 5264290"/>
                <a:gd name="connsiteY35" fmla="*/ 0 h 747096"/>
                <a:gd name="connsiteX36" fmla="*/ 5264290 w 5264290"/>
                <a:gd name="connsiteY36" fmla="*/ 744212 h 747096"/>
                <a:gd name="connsiteX37" fmla="*/ 3135498 w 5264290"/>
                <a:gd name="connsiteY37" fmla="*/ 747096 h 747096"/>
                <a:gd name="connsiteX38" fmla="*/ 2910503 w 5264290"/>
                <a:gd name="connsiteY38" fmla="*/ 747096 h 747096"/>
                <a:gd name="connsiteX39" fmla="*/ 2835505 w 5264290"/>
                <a:gd name="connsiteY39" fmla="*/ 747096 h 747096"/>
                <a:gd name="connsiteX40" fmla="*/ 2509552 w 5264290"/>
                <a:gd name="connsiteY40" fmla="*/ 741327 h 747096"/>
                <a:gd name="connsiteX41" fmla="*/ 2414362 w 5264290"/>
                <a:gd name="connsiteY41" fmla="*/ 735558 h 747096"/>
                <a:gd name="connsiteX42" fmla="*/ 2324941 w 5264290"/>
                <a:gd name="connsiteY42" fmla="*/ 729789 h 747096"/>
                <a:gd name="connsiteX43" fmla="*/ 2221098 w 5264290"/>
                <a:gd name="connsiteY43" fmla="*/ 724020 h 747096"/>
                <a:gd name="connsiteX44" fmla="*/ 2146099 w 5264290"/>
                <a:gd name="connsiteY44" fmla="*/ 718251 h 747096"/>
                <a:gd name="connsiteX45" fmla="*/ 2033602 w 5264290"/>
                <a:gd name="connsiteY45" fmla="*/ 706713 h 747096"/>
                <a:gd name="connsiteX46" fmla="*/ 1944181 w 5264290"/>
                <a:gd name="connsiteY46" fmla="*/ 695174 h 747096"/>
                <a:gd name="connsiteX47" fmla="*/ 1840338 w 5264290"/>
                <a:gd name="connsiteY47" fmla="*/ 686521 h 747096"/>
                <a:gd name="connsiteX48" fmla="*/ 1655727 w 5264290"/>
                <a:gd name="connsiteY48" fmla="*/ 669213 h 747096"/>
                <a:gd name="connsiteX49" fmla="*/ 1471116 w 5264290"/>
                <a:gd name="connsiteY49" fmla="*/ 649022 h 747096"/>
                <a:gd name="connsiteX50" fmla="*/ 1277852 w 5264290"/>
                <a:gd name="connsiteY50" fmla="*/ 631714 h 747096"/>
                <a:gd name="connsiteX51" fmla="*/ 1021128 w 5264290"/>
                <a:gd name="connsiteY51" fmla="*/ 602869 h 747096"/>
                <a:gd name="connsiteX52" fmla="*/ 775942 w 5264290"/>
                <a:gd name="connsiteY52" fmla="*/ 571139 h 747096"/>
                <a:gd name="connsiteX53" fmla="*/ 631715 w 5264290"/>
                <a:gd name="connsiteY53" fmla="*/ 548063 h 747096"/>
                <a:gd name="connsiteX54" fmla="*/ 496141 w 5264290"/>
                <a:gd name="connsiteY54" fmla="*/ 522102 h 747096"/>
                <a:gd name="connsiteX55" fmla="*/ 331722 w 5264290"/>
                <a:gd name="connsiteY55" fmla="*/ 496141 h 747096"/>
                <a:gd name="connsiteX56" fmla="*/ 126920 w 5264290"/>
                <a:gd name="connsiteY56" fmla="*/ 461526 h 747096"/>
                <a:gd name="connsiteX57" fmla="*/ 0 w 5264290"/>
                <a:gd name="connsiteY57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38450 w 5264290"/>
                <a:gd name="connsiteY10" fmla="*/ 222109 h 747096"/>
                <a:gd name="connsiteX11" fmla="*/ 527871 w 5264290"/>
                <a:gd name="connsiteY11" fmla="*/ 196148 h 747096"/>
                <a:gd name="connsiteX12" fmla="*/ 611523 w 5264290"/>
                <a:gd name="connsiteY12" fmla="*/ 178841 h 747096"/>
                <a:gd name="connsiteX13" fmla="*/ 689405 w 5264290"/>
                <a:gd name="connsiteY13" fmla="*/ 161534 h 747096"/>
                <a:gd name="connsiteX14" fmla="*/ 761519 w 5264290"/>
                <a:gd name="connsiteY14" fmla="*/ 147111 h 747096"/>
                <a:gd name="connsiteX15" fmla="*/ 819210 w 5264290"/>
                <a:gd name="connsiteY15" fmla="*/ 138458 h 747096"/>
                <a:gd name="connsiteX16" fmla="*/ 856709 w 5264290"/>
                <a:gd name="connsiteY16" fmla="*/ 129804 h 747096"/>
                <a:gd name="connsiteX17" fmla="*/ 911515 w 5264290"/>
                <a:gd name="connsiteY17" fmla="*/ 124035 h 747096"/>
                <a:gd name="connsiteX18" fmla="*/ 1003821 w 5264290"/>
                <a:gd name="connsiteY18" fmla="*/ 112497 h 747096"/>
                <a:gd name="connsiteX19" fmla="*/ 1078819 w 5264290"/>
                <a:gd name="connsiteY19" fmla="*/ 103843 h 747096"/>
                <a:gd name="connsiteX20" fmla="*/ 1145163 w 5264290"/>
                <a:gd name="connsiteY20" fmla="*/ 95189 h 747096"/>
                <a:gd name="connsiteX21" fmla="*/ 1243238 w 5264290"/>
                <a:gd name="connsiteY21" fmla="*/ 86536 h 747096"/>
                <a:gd name="connsiteX22" fmla="*/ 1375927 w 5264290"/>
                <a:gd name="connsiteY22" fmla="*/ 77882 h 747096"/>
                <a:gd name="connsiteX23" fmla="*/ 1574960 w 5264290"/>
                <a:gd name="connsiteY23" fmla="*/ 63460 h 747096"/>
                <a:gd name="connsiteX24" fmla="*/ 1794185 w 5264290"/>
                <a:gd name="connsiteY24" fmla="*/ 54806 h 747096"/>
                <a:gd name="connsiteX25" fmla="*/ 1996103 w 5264290"/>
                <a:gd name="connsiteY25" fmla="*/ 43268 h 747096"/>
                <a:gd name="connsiteX26" fmla="*/ 2172060 w 5264290"/>
                <a:gd name="connsiteY26" fmla="*/ 34614 h 747096"/>
                <a:gd name="connsiteX27" fmla="*/ 2399939 w 5264290"/>
                <a:gd name="connsiteY27" fmla="*/ 25960 h 747096"/>
                <a:gd name="connsiteX28" fmla="*/ 2723008 w 5264290"/>
                <a:gd name="connsiteY28" fmla="*/ 20191 h 747096"/>
                <a:gd name="connsiteX29" fmla="*/ 2858581 w 5264290"/>
                <a:gd name="connsiteY29" fmla="*/ 17307 h 747096"/>
                <a:gd name="connsiteX30" fmla="*/ 2985501 w 5264290"/>
                <a:gd name="connsiteY30" fmla="*/ 14422 h 747096"/>
                <a:gd name="connsiteX31" fmla="*/ 3115306 w 5264290"/>
                <a:gd name="connsiteY31" fmla="*/ 11538 h 747096"/>
                <a:gd name="connsiteX32" fmla="*/ 3294147 w 5264290"/>
                <a:gd name="connsiteY32" fmla="*/ 8653 h 747096"/>
                <a:gd name="connsiteX33" fmla="*/ 3464335 w 5264290"/>
                <a:gd name="connsiteY33" fmla="*/ 8653 h 747096"/>
                <a:gd name="connsiteX34" fmla="*/ 3669138 w 5264290"/>
                <a:gd name="connsiteY34" fmla="*/ 2884 h 747096"/>
                <a:gd name="connsiteX35" fmla="*/ 5264290 w 5264290"/>
                <a:gd name="connsiteY35" fmla="*/ 0 h 747096"/>
                <a:gd name="connsiteX36" fmla="*/ 5264290 w 5264290"/>
                <a:gd name="connsiteY36" fmla="*/ 744212 h 747096"/>
                <a:gd name="connsiteX37" fmla="*/ 3135498 w 5264290"/>
                <a:gd name="connsiteY37" fmla="*/ 747096 h 747096"/>
                <a:gd name="connsiteX38" fmla="*/ 2910503 w 5264290"/>
                <a:gd name="connsiteY38" fmla="*/ 747096 h 747096"/>
                <a:gd name="connsiteX39" fmla="*/ 2835505 w 5264290"/>
                <a:gd name="connsiteY39" fmla="*/ 747096 h 747096"/>
                <a:gd name="connsiteX40" fmla="*/ 2509552 w 5264290"/>
                <a:gd name="connsiteY40" fmla="*/ 741327 h 747096"/>
                <a:gd name="connsiteX41" fmla="*/ 2414362 w 5264290"/>
                <a:gd name="connsiteY41" fmla="*/ 735558 h 747096"/>
                <a:gd name="connsiteX42" fmla="*/ 2324941 w 5264290"/>
                <a:gd name="connsiteY42" fmla="*/ 729789 h 747096"/>
                <a:gd name="connsiteX43" fmla="*/ 2221098 w 5264290"/>
                <a:gd name="connsiteY43" fmla="*/ 724020 h 747096"/>
                <a:gd name="connsiteX44" fmla="*/ 2033602 w 5264290"/>
                <a:gd name="connsiteY44" fmla="*/ 706713 h 747096"/>
                <a:gd name="connsiteX45" fmla="*/ 1944181 w 5264290"/>
                <a:gd name="connsiteY45" fmla="*/ 695174 h 747096"/>
                <a:gd name="connsiteX46" fmla="*/ 1840338 w 5264290"/>
                <a:gd name="connsiteY46" fmla="*/ 686521 h 747096"/>
                <a:gd name="connsiteX47" fmla="*/ 1655727 w 5264290"/>
                <a:gd name="connsiteY47" fmla="*/ 669213 h 747096"/>
                <a:gd name="connsiteX48" fmla="*/ 1471116 w 5264290"/>
                <a:gd name="connsiteY48" fmla="*/ 649022 h 747096"/>
                <a:gd name="connsiteX49" fmla="*/ 1277852 w 5264290"/>
                <a:gd name="connsiteY49" fmla="*/ 631714 h 747096"/>
                <a:gd name="connsiteX50" fmla="*/ 1021128 w 5264290"/>
                <a:gd name="connsiteY50" fmla="*/ 602869 h 747096"/>
                <a:gd name="connsiteX51" fmla="*/ 775942 w 5264290"/>
                <a:gd name="connsiteY51" fmla="*/ 571139 h 747096"/>
                <a:gd name="connsiteX52" fmla="*/ 631715 w 5264290"/>
                <a:gd name="connsiteY52" fmla="*/ 548063 h 747096"/>
                <a:gd name="connsiteX53" fmla="*/ 496141 w 5264290"/>
                <a:gd name="connsiteY53" fmla="*/ 522102 h 747096"/>
                <a:gd name="connsiteX54" fmla="*/ 331722 w 5264290"/>
                <a:gd name="connsiteY54" fmla="*/ 496141 h 747096"/>
                <a:gd name="connsiteX55" fmla="*/ 126920 w 5264290"/>
                <a:gd name="connsiteY55" fmla="*/ 461526 h 747096"/>
                <a:gd name="connsiteX56" fmla="*/ 0 w 5264290"/>
                <a:gd name="connsiteY56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38450 w 5264290"/>
                <a:gd name="connsiteY10" fmla="*/ 222109 h 747096"/>
                <a:gd name="connsiteX11" fmla="*/ 527871 w 5264290"/>
                <a:gd name="connsiteY11" fmla="*/ 196148 h 747096"/>
                <a:gd name="connsiteX12" fmla="*/ 611523 w 5264290"/>
                <a:gd name="connsiteY12" fmla="*/ 178841 h 747096"/>
                <a:gd name="connsiteX13" fmla="*/ 689405 w 5264290"/>
                <a:gd name="connsiteY13" fmla="*/ 161534 h 747096"/>
                <a:gd name="connsiteX14" fmla="*/ 761519 w 5264290"/>
                <a:gd name="connsiteY14" fmla="*/ 147111 h 747096"/>
                <a:gd name="connsiteX15" fmla="*/ 819210 w 5264290"/>
                <a:gd name="connsiteY15" fmla="*/ 138458 h 747096"/>
                <a:gd name="connsiteX16" fmla="*/ 856709 w 5264290"/>
                <a:gd name="connsiteY16" fmla="*/ 129804 h 747096"/>
                <a:gd name="connsiteX17" fmla="*/ 911515 w 5264290"/>
                <a:gd name="connsiteY17" fmla="*/ 124035 h 747096"/>
                <a:gd name="connsiteX18" fmla="*/ 1003821 w 5264290"/>
                <a:gd name="connsiteY18" fmla="*/ 112497 h 747096"/>
                <a:gd name="connsiteX19" fmla="*/ 1078819 w 5264290"/>
                <a:gd name="connsiteY19" fmla="*/ 103843 h 747096"/>
                <a:gd name="connsiteX20" fmla="*/ 1145163 w 5264290"/>
                <a:gd name="connsiteY20" fmla="*/ 95189 h 747096"/>
                <a:gd name="connsiteX21" fmla="*/ 1243238 w 5264290"/>
                <a:gd name="connsiteY21" fmla="*/ 86536 h 747096"/>
                <a:gd name="connsiteX22" fmla="*/ 1375927 w 5264290"/>
                <a:gd name="connsiteY22" fmla="*/ 77882 h 747096"/>
                <a:gd name="connsiteX23" fmla="*/ 1574960 w 5264290"/>
                <a:gd name="connsiteY23" fmla="*/ 63460 h 747096"/>
                <a:gd name="connsiteX24" fmla="*/ 1794185 w 5264290"/>
                <a:gd name="connsiteY24" fmla="*/ 54806 h 747096"/>
                <a:gd name="connsiteX25" fmla="*/ 1996103 w 5264290"/>
                <a:gd name="connsiteY25" fmla="*/ 43268 h 747096"/>
                <a:gd name="connsiteX26" fmla="*/ 2172060 w 5264290"/>
                <a:gd name="connsiteY26" fmla="*/ 34614 h 747096"/>
                <a:gd name="connsiteX27" fmla="*/ 2399939 w 5264290"/>
                <a:gd name="connsiteY27" fmla="*/ 25960 h 747096"/>
                <a:gd name="connsiteX28" fmla="*/ 2723008 w 5264290"/>
                <a:gd name="connsiteY28" fmla="*/ 20191 h 747096"/>
                <a:gd name="connsiteX29" fmla="*/ 2858581 w 5264290"/>
                <a:gd name="connsiteY29" fmla="*/ 17307 h 747096"/>
                <a:gd name="connsiteX30" fmla="*/ 2985501 w 5264290"/>
                <a:gd name="connsiteY30" fmla="*/ 14422 h 747096"/>
                <a:gd name="connsiteX31" fmla="*/ 3115306 w 5264290"/>
                <a:gd name="connsiteY31" fmla="*/ 11538 h 747096"/>
                <a:gd name="connsiteX32" fmla="*/ 3294147 w 5264290"/>
                <a:gd name="connsiteY32" fmla="*/ 8653 h 747096"/>
                <a:gd name="connsiteX33" fmla="*/ 3464335 w 5264290"/>
                <a:gd name="connsiteY33" fmla="*/ 8653 h 747096"/>
                <a:gd name="connsiteX34" fmla="*/ 3669138 w 5264290"/>
                <a:gd name="connsiteY34" fmla="*/ 2884 h 747096"/>
                <a:gd name="connsiteX35" fmla="*/ 5264290 w 5264290"/>
                <a:gd name="connsiteY35" fmla="*/ 0 h 747096"/>
                <a:gd name="connsiteX36" fmla="*/ 5264290 w 5264290"/>
                <a:gd name="connsiteY36" fmla="*/ 744212 h 747096"/>
                <a:gd name="connsiteX37" fmla="*/ 3135498 w 5264290"/>
                <a:gd name="connsiteY37" fmla="*/ 747096 h 747096"/>
                <a:gd name="connsiteX38" fmla="*/ 2910503 w 5264290"/>
                <a:gd name="connsiteY38" fmla="*/ 747096 h 747096"/>
                <a:gd name="connsiteX39" fmla="*/ 2835505 w 5264290"/>
                <a:gd name="connsiteY39" fmla="*/ 747096 h 747096"/>
                <a:gd name="connsiteX40" fmla="*/ 2509552 w 5264290"/>
                <a:gd name="connsiteY40" fmla="*/ 741327 h 747096"/>
                <a:gd name="connsiteX41" fmla="*/ 2414362 w 5264290"/>
                <a:gd name="connsiteY41" fmla="*/ 735558 h 747096"/>
                <a:gd name="connsiteX42" fmla="*/ 2324941 w 5264290"/>
                <a:gd name="connsiteY42" fmla="*/ 729789 h 747096"/>
                <a:gd name="connsiteX43" fmla="*/ 2221098 w 5264290"/>
                <a:gd name="connsiteY43" fmla="*/ 724020 h 747096"/>
                <a:gd name="connsiteX44" fmla="*/ 2033602 w 5264290"/>
                <a:gd name="connsiteY44" fmla="*/ 706713 h 747096"/>
                <a:gd name="connsiteX45" fmla="*/ 1944181 w 5264290"/>
                <a:gd name="connsiteY45" fmla="*/ 695174 h 747096"/>
                <a:gd name="connsiteX46" fmla="*/ 1840338 w 5264290"/>
                <a:gd name="connsiteY46" fmla="*/ 686521 h 747096"/>
                <a:gd name="connsiteX47" fmla="*/ 1655727 w 5264290"/>
                <a:gd name="connsiteY47" fmla="*/ 669213 h 747096"/>
                <a:gd name="connsiteX48" fmla="*/ 1471116 w 5264290"/>
                <a:gd name="connsiteY48" fmla="*/ 649022 h 747096"/>
                <a:gd name="connsiteX49" fmla="*/ 1277852 w 5264290"/>
                <a:gd name="connsiteY49" fmla="*/ 631714 h 747096"/>
                <a:gd name="connsiteX50" fmla="*/ 1021128 w 5264290"/>
                <a:gd name="connsiteY50" fmla="*/ 602869 h 747096"/>
                <a:gd name="connsiteX51" fmla="*/ 775942 w 5264290"/>
                <a:gd name="connsiteY51" fmla="*/ 571139 h 747096"/>
                <a:gd name="connsiteX52" fmla="*/ 496141 w 5264290"/>
                <a:gd name="connsiteY52" fmla="*/ 522102 h 747096"/>
                <a:gd name="connsiteX53" fmla="*/ 331722 w 5264290"/>
                <a:gd name="connsiteY53" fmla="*/ 496141 h 747096"/>
                <a:gd name="connsiteX54" fmla="*/ 126920 w 5264290"/>
                <a:gd name="connsiteY54" fmla="*/ 461526 h 747096"/>
                <a:gd name="connsiteX55" fmla="*/ 0 w 5264290"/>
                <a:gd name="connsiteY55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268262 w 5264290"/>
                <a:gd name="connsiteY7" fmla="*/ 282685 h 747096"/>
                <a:gd name="connsiteX8" fmla="*/ 302877 w 5264290"/>
                <a:gd name="connsiteY8" fmla="*/ 268262 h 747096"/>
                <a:gd name="connsiteX9" fmla="*/ 349029 w 5264290"/>
                <a:gd name="connsiteY9" fmla="*/ 253839 h 747096"/>
                <a:gd name="connsiteX10" fmla="*/ 438450 w 5264290"/>
                <a:gd name="connsiteY10" fmla="*/ 222109 h 747096"/>
                <a:gd name="connsiteX11" fmla="*/ 527871 w 5264290"/>
                <a:gd name="connsiteY11" fmla="*/ 196148 h 747096"/>
                <a:gd name="connsiteX12" fmla="*/ 611523 w 5264290"/>
                <a:gd name="connsiteY12" fmla="*/ 178841 h 747096"/>
                <a:gd name="connsiteX13" fmla="*/ 689405 w 5264290"/>
                <a:gd name="connsiteY13" fmla="*/ 161534 h 747096"/>
                <a:gd name="connsiteX14" fmla="*/ 761519 w 5264290"/>
                <a:gd name="connsiteY14" fmla="*/ 147111 h 747096"/>
                <a:gd name="connsiteX15" fmla="*/ 819210 w 5264290"/>
                <a:gd name="connsiteY15" fmla="*/ 138458 h 747096"/>
                <a:gd name="connsiteX16" fmla="*/ 856709 w 5264290"/>
                <a:gd name="connsiteY16" fmla="*/ 129804 h 747096"/>
                <a:gd name="connsiteX17" fmla="*/ 911515 w 5264290"/>
                <a:gd name="connsiteY17" fmla="*/ 124035 h 747096"/>
                <a:gd name="connsiteX18" fmla="*/ 1003821 w 5264290"/>
                <a:gd name="connsiteY18" fmla="*/ 112497 h 747096"/>
                <a:gd name="connsiteX19" fmla="*/ 1078819 w 5264290"/>
                <a:gd name="connsiteY19" fmla="*/ 103843 h 747096"/>
                <a:gd name="connsiteX20" fmla="*/ 1145163 w 5264290"/>
                <a:gd name="connsiteY20" fmla="*/ 95189 h 747096"/>
                <a:gd name="connsiteX21" fmla="*/ 1243238 w 5264290"/>
                <a:gd name="connsiteY21" fmla="*/ 86536 h 747096"/>
                <a:gd name="connsiteX22" fmla="*/ 1375927 w 5264290"/>
                <a:gd name="connsiteY22" fmla="*/ 77882 h 747096"/>
                <a:gd name="connsiteX23" fmla="*/ 1574960 w 5264290"/>
                <a:gd name="connsiteY23" fmla="*/ 63460 h 747096"/>
                <a:gd name="connsiteX24" fmla="*/ 1794185 w 5264290"/>
                <a:gd name="connsiteY24" fmla="*/ 54806 h 747096"/>
                <a:gd name="connsiteX25" fmla="*/ 1996103 w 5264290"/>
                <a:gd name="connsiteY25" fmla="*/ 43268 h 747096"/>
                <a:gd name="connsiteX26" fmla="*/ 2172060 w 5264290"/>
                <a:gd name="connsiteY26" fmla="*/ 34614 h 747096"/>
                <a:gd name="connsiteX27" fmla="*/ 2399939 w 5264290"/>
                <a:gd name="connsiteY27" fmla="*/ 25960 h 747096"/>
                <a:gd name="connsiteX28" fmla="*/ 2723008 w 5264290"/>
                <a:gd name="connsiteY28" fmla="*/ 20191 h 747096"/>
                <a:gd name="connsiteX29" fmla="*/ 2858581 w 5264290"/>
                <a:gd name="connsiteY29" fmla="*/ 17307 h 747096"/>
                <a:gd name="connsiteX30" fmla="*/ 2985501 w 5264290"/>
                <a:gd name="connsiteY30" fmla="*/ 14422 h 747096"/>
                <a:gd name="connsiteX31" fmla="*/ 3115306 w 5264290"/>
                <a:gd name="connsiteY31" fmla="*/ 11538 h 747096"/>
                <a:gd name="connsiteX32" fmla="*/ 3294147 w 5264290"/>
                <a:gd name="connsiteY32" fmla="*/ 8653 h 747096"/>
                <a:gd name="connsiteX33" fmla="*/ 3464335 w 5264290"/>
                <a:gd name="connsiteY33" fmla="*/ 8653 h 747096"/>
                <a:gd name="connsiteX34" fmla="*/ 3669138 w 5264290"/>
                <a:gd name="connsiteY34" fmla="*/ 2884 h 747096"/>
                <a:gd name="connsiteX35" fmla="*/ 5264290 w 5264290"/>
                <a:gd name="connsiteY35" fmla="*/ 0 h 747096"/>
                <a:gd name="connsiteX36" fmla="*/ 5264290 w 5264290"/>
                <a:gd name="connsiteY36" fmla="*/ 744212 h 747096"/>
                <a:gd name="connsiteX37" fmla="*/ 3135498 w 5264290"/>
                <a:gd name="connsiteY37" fmla="*/ 747096 h 747096"/>
                <a:gd name="connsiteX38" fmla="*/ 2910503 w 5264290"/>
                <a:gd name="connsiteY38" fmla="*/ 747096 h 747096"/>
                <a:gd name="connsiteX39" fmla="*/ 2835505 w 5264290"/>
                <a:gd name="connsiteY39" fmla="*/ 747096 h 747096"/>
                <a:gd name="connsiteX40" fmla="*/ 2509552 w 5264290"/>
                <a:gd name="connsiteY40" fmla="*/ 741327 h 747096"/>
                <a:gd name="connsiteX41" fmla="*/ 2414362 w 5264290"/>
                <a:gd name="connsiteY41" fmla="*/ 735558 h 747096"/>
                <a:gd name="connsiteX42" fmla="*/ 2324941 w 5264290"/>
                <a:gd name="connsiteY42" fmla="*/ 729789 h 747096"/>
                <a:gd name="connsiteX43" fmla="*/ 2221098 w 5264290"/>
                <a:gd name="connsiteY43" fmla="*/ 724020 h 747096"/>
                <a:gd name="connsiteX44" fmla="*/ 2033602 w 5264290"/>
                <a:gd name="connsiteY44" fmla="*/ 706713 h 747096"/>
                <a:gd name="connsiteX45" fmla="*/ 1944181 w 5264290"/>
                <a:gd name="connsiteY45" fmla="*/ 695174 h 747096"/>
                <a:gd name="connsiteX46" fmla="*/ 1840338 w 5264290"/>
                <a:gd name="connsiteY46" fmla="*/ 686521 h 747096"/>
                <a:gd name="connsiteX47" fmla="*/ 1655727 w 5264290"/>
                <a:gd name="connsiteY47" fmla="*/ 669213 h 747096"/>
                <a:gd name="connsiteX48" fmla="*/ 1471116 w 5264290"/>
                <a:gd name="connsiteY48" fmla="*/ 649022 h 747096"/>
                <a:gd name="connsiteX49" fmla="*/ 1277852 w 5264290"/>
                <a:gd name="connsiteY49" fmla="*/ 631714 h 747096"/>
                <a:gd name="connsiteX50" fmla="*/ 1021128 w 5264290"/>
                <a:gd name="connsiteY50" fmla="*/ 602869 h 747096"/>
                <a:gd name="connsiteX51" fmla="*/ 775942 w 5264290"/>
                <a:gd name="connsiteY51" fmla="*/ 571139 h 747096"/>
                <a:gd name="connsiteX52" fmla="*/ 496141 w 5264290"/>
                <a:gd name="connsiteY52" fmla="*/ 522102 h 747096"/>
                <a:gd name="connsiteX53" fmla="*/ 331722 w 5264290"/>
                <a:gd name="connsiteY53" fmla="*/ 496141 h 747096"/>
                <a:gd name="connsiteX54" fmla="*/ 135573 w 5264290"/>
                <a:gd name="connsiteY54" fmla="*/ 455757 h 747096"/>
                <a:gd name="connsiteX55" fmla="*/ 0 w 5264290"/>
                <a:gd name="connsiteY55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302877 w 5264290"/>
                <a:gd name="connsiteY7" fmla="*/ 268262 h 747096"/>
                <a:gd name="connsiteX8" fmla="*/ 349029 w 5264290"/>
                <a:gd name="connsiteY8" fmla="*/ 253839 h 747096"/>
                <a:gd name="connsiteX9" fmla="*/ 438450 w 5264290"/>
                <a:gd name="connsiteY9" fmla="*/ 222109 h 747096"/>
                <a:gd name="connsiteX10" fmla="*/ 527871 w 5264290"/>
                <a:gd name="connsiteY10" fmla="*/ 196148 h 747096"/>
                <a:gd name="connsiteX11" fmla="*/ 611523 w 5264290"/>
                <a:gd name="connsiteY11" fmla="*/ 178841 h 747096"/>
                <a:gd name="connsiteX12" fmla="*/ 689405 w 5264290"/>
                <a:gd name="connsiteY12" fmla="*/ 161534 h 747096"/>
                <a:gd name="connsiteX13" fmla="*/ 761519 w 5264290"/>
                <a:gd name="connsiteY13" fmla="*/ 147111 h 747096"/>
                <a:gd name="connsiteX14" fmla="*/ 819210 w 5264290"/>
                <a:gd name="connsiteY14" fmla="*/ 138458 h 747096"/>
                <a:gd name="connsiteX15" fmla="*/ 856709 w 5264290"/>
                <a:gd name="connsiteY15" fmla="*/ 129804 h 747096"/>
                <a:gd name="connsiteX16" fmla="*/ 911515 w 5264290"/>
                <a:gd name="connsiteY16" fmla="*/ 124035 h 747096"/>
                <a:gd name="connsiteX17" fmla="*/ 1003821 w 5264290"/>
                <a:gd name="connsiteY17" fmla="*/ 112497 h 747096"/>
                <a:gd name="connsiteX18" fmla="*/ 1078819 w 5264290"/>
                <a:gd name="connsiteY18" fmla="*/ 103843 h 747096"/>
                <a:gd name="connsiteX19" fmla="*/ 1145163 w 5264290"/>
                <a:gd name="connsiteY19" fmla="*/ 95189 h 747096"/>
                <a:gd name="connsiteX20" fmla="*/ 1243238 w 5264290"/>
                <a:gd name="connsiteY20" fmla="*/ 86536 h 747096"/>
                <a:gd name="connsiteX21" fmla="*/ 1375927 w 5264290"/>
                <a:gd name="connsiteY21" fmla="*/ 77882 h 747096"/>
                <a:gd name="connsiteX22" fmla="*/ 1574960 w 5264290"/>
                <a:gd name="connsiteY22" fmla="*/ 63460 h 747096"/>
                <a:gd name="connsiteX23" fmla="*/ 1794185 w 5264290"/>
                <a:gd name="connsiteY23" fmla="*/ 54806 h 747096"/>
                <a:gd name="connsiteX24" fmla="*/ 1996103 w 5264290"/>
                <a:gd name="connsiteY24" fmla="*/ 43268 h 747096"/>
                <a:gd name="connsiteX25" fmla="*/ 2172060 w 5264290"/>
                <a:gd name="connsiteY25" fmla="*/ 34614 h 747096"/>
                <a:gd name="connsiteX26" fmla="*/ 2399939 w 5264290"/>
                <a:gd name="connsiteY26" fmla="*/ 25960 h 747096"/>
                <a:gd name="connsiteX27" fmla="*/ 2723008 w 5264290"/>
                <a:gd name="connsiteY27" fmla="*/ 20191 h 747096"/>
                <a:gd name="connsiteX28" fmla="*/ 2858581 w 5264290"/>
                <a:gd name="connsiteY28" fmla="*/ 17307 h 747096"/>
                <a:gd name="connsiteX29" fmla="*/ 2985501 w 5264290"/>
                <a:gd name="connsiteY29" fmla="*/ 14422 h 747096"/>
                <a:gd name="connsiteX30" fmla="*/ 3115306 w 5264290"/>
                <a:gd name="connsiteY30" fmla="*/ 11538 h 747096"/>
                <a:gd name="connsiteX31" fmla="*/ 3294147 w 5264290"/>
                <a:gd name="connsiteY31" fmla="*/ 8653 h 747096"/>
                <a:gd name="connsiteX32" fmla="*/ 3464335 w 5264290"/>
                <a:gd name="connsiteY32" fmla="*/ 8653 h 747096"/>
                <a:gd name="connsiteX33" fmla="*/ 3669138 w 5264290"/>
                <a:gd name="connsiteY33" fmla="*/ 2884 h 747096"/>
                <a:gd name="connsiteX34" fmla="*/ 5264290 w 5264290"/>
                <a:gd name="connsiteY34" fmla="*/ 0 h 747096"/>
                <a:gd name="connsiteX35" fmla="*/ 5264290 w 5264290"/>
                <a:gd name="connsiteY35" fmla="*/ 744212 h 747096"/>
                <a:gd name="connsiteX36" fmla="*/ 3135498 w 5264290"/>
                <a:gd name="connsiteY36" fmla="*/ 747096 h 747096"/>
                <a:gd name="connsiteX37" fmla="*/ 2910503 w 5264290"/>
                <a:gd name="connsiteY37" fmla="*/ 747096 h 747096"/>
                <a:gd name="connsiteX38" fmla="*/ 2835505 w 5264290"/>
                <a:gd name="connsiteY38" fmla="*/ 747096 h 747096"/>
                <a:gd name="connsiteX39" fmla="*/ 2509552 w 5264290"/>
                <a:gd name="connsiteY39" fmla="*/ 741327 h 747096"/>
                <a:gd name="connsiteX40" fmla="*/ 2414362 w 5264290"/>
                <a:gd name="connsiteY40" fmla="*/ 735558 h 747096"/>
                <a:gd name="connsiteX41" fmla="*/ 2324941 w 5264290"/>
                <a:gd name="connsiteY41" fmla="*/ 729789 h 747096"/>
                <a:gd name="connsiteX42" fmla="*/ 2221098 w 5264290"/>
                <a:gd name="connsiteY42" fmla="*/ 724020 h 747096"/>
                <a:gd name="connsiteX43" fmla="*/ 2033602 w 5264290"/>
                <a:gd name="connsiteY43" fmla="*/ 706713 h 747096"/>
                <a:gd name="connsiteX44" fmla="*/ 1944181 w 5264290"/>
                <a:gd name="connsiteY44" fmla="*/ 695174 h 747096"/>
                <a:gd name="connsiteX45" fmla="*/ 1840338 w 5264290"/>
                <a:gd name="connsiteY45" fmla="*/ 686521 h 747096"/>
                <a:gd name="connsiteX46" fmla="*/ 1655727 w 5264290"/>
                <a:gd name="connsiteY46" fmla="*/ 669213 h 747096"/>
                <a:gd name="connsiteX47" fmla="*/ 1471116 w 5264290"/>
                <a:gd name="connsiteY47" fmla="*/ 649022 h 747096"/>
                <a:gd name="connsiteX48" fmla="*/ 1277852 w 5264290"/>
                <a:gd name="connsiteY48" fmla="*/ 631714 h 747096"/>
                <a:gd name="connsiteX49" fmla="*/ 1021128 w 5264290"/>
                <a:gd name="connsiteY49" fmla="*/ 602869 h 747096"/>
                <a:gd name="connsiteX50" fmla="*/ 775942 w 5264290"/>
                <a:gd name="connsiteY50" fmla="*/ 571139 h 747096"/>
                <a:gd name="connsiteX51" fmla="*/ 496141 w 5264290"/>
                <a:gd name="connsiteY51" fmla="*/ 522102 h 747096"/>
                <a:gd name="connsiteX52" fmla="*/ 331722 w 5264290"/>
                <a:gd name="connsiteY52" fmla="*/ 496141 h 747096"/>
                <a:gd name="connsiteX53" fmla="*/ 135573 w 5264290"/>
                <a:gd name="connsiteY53" fmla="*/ 455757 h 747096"/>
                <a:gd name="connsiteX54" fmla="*/ 0 w 5264290"/>
                <a:gd name="connsiteY54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349029 w 5264290"/>
                <a:gd name="connsiteY7" fmla="*/ 253839 h 747096"/>
                <a:gd name="connsiteX8" fmla="*/ 438450 w 5264290"/>
                <a:gd name="connsiteY8" fmla="*/ 222109 h 747096"/>
                <a:gd name="connsiteX9" fmla="*/ 527871 w 5264290"/>
                <a:gd name="connsiteY9" fmla="*/ 196148 h 747096"/>
                <a:gd name="connsiteX10" fmla="*/ 611523 w 5264290"/>
                <a:gd name="connsiteY10" fmla="*/ 178841 h 747096"/>
                <a:gd name="connsiteX11" fmla="*/ 689405 w 5264290"/>
                <a:gd name="connsiteY11" fmla="*/ 161534 h 747096"/>
                <a:gd name="connsiteX12" fmla="*/ 761519 w 5264290"/>
                <a:gd name="connsiteY12" fmla="*/ 147111 h 747096"/>
                <a:gd name="connsiteX13" fmla="*/ 819210 w 5264290"/>
                <a:gd name="connsiteY13" fmla="*/ 138458 h 747096"/>
                <a:gd name="connsiteX14" fmla="*/ 856709 w 5264290"/>
                <a:gd name="connsiteY14" fmla="*/ 129804 h 747096"/>
                <a:gd name="connsiteX15" fmla="*/ 911515 w 5264290"/>
                <a:gd name="connsiteY15" fmla="*/ 124035 h 747096"/>
                <a:gd name="connsiteX16" fmla="*/ 1003821 w 5264290"/>
                <a:gd name="connsiteY16" fmla="*/ 112497 h 747096"/>
                <a:gd name="connsiteX17" fmla="*/ 1078819 w 5264290"/>
                <a:gd name="connsiteY17" fmla="*/ 103843 h 747096"/>
                <a:gd name="connsiteX18" fmla="*/ 1145163 w 5264290"/>
                <a:gd name="connsiteY18" fmla="*/ 95189 h 747096"/>
                <a:gd name="connsiteX19" fmla="*/ 1243238 w 5264290"/>
                <a:gd name="connsiteY19" fmla="*/ 86536 h 747096"/>
                <a:gd name="connsiteX20" fmla="*/ 1375927 w 5264290"/>
                <a:gd name="connsiteY20" fmla="*/ 77882 h 747096"/>
                <a:gd name="connsiteX21" fmla="*/ 1574960 w 5264290"/>
                <a:gd name="connsiteY21" fmla="*/ 63460 h 747096"/>
                <a:gd name="connsiteX22" fmla="*/ 1794185 w 5264290"/>
                <a:gd name="connsiteY22" fmla="*/ 54806 h 747096"/>
                <a:gd name="connsiteX23" fmla="*/ 1996103 w 5264290"/>
                <a:gd name="connsiteY23" fmla="*/ 43268 h 747096"/>
                <a:gd name="connsiteX24" fmla="*/ 2172060 w 5264290"/>
                <a:gd name="connsiteY24" fmla="*/ 34614 h 747096"/>
                <a:gd name="connsiteX25" fmla="*/ 2399939 w 5264290"/>
                <a:gd name="connsiteY25" fmla="*/ 25960 h 747096"/>
                <a:gd name="connsiteX26" fmla="*/ 2723008 w 5264290"/>
                <a:gd name="connsiteY26" fmla="*/ 20191 h 747096"/>
                <a:gd name="connsiteX27" fmla="*/ 2858581 w 5264290"/>
                <a:gd name="connsiteY27" fmla="*/ 17307 h 747096"/>
                <a:gd name="connsiteX28" fmla="*/ 2985501 w 5264290"/>
                <a:gd name="connsiteY28" fmla="*/ 14422 h 747096"/>
                <a:gd name="connsiteX29" fmla="*/ 3115306 w 5264290"/>
                <a:gd name="connsiteY29" fmla="*/ 11538 h 747096"/>
                <a:gd name="connsiteX30" fmla="*/ 3294147 w 5264290"/>
                <a:gd name="connsiteY30" fmla="*/ 8653 h 747096"/>
                <a:gd name="connsiteX31" fmla="*/ 3464335 w 5264290"/>
                <a:gd name="connsiteY31" fmla="*/ 8653 h 747096"/>
                <a:gd name="connsiteX32" fmla="*/ 3669138 w 5264290"/>
                <a:gd name="connsiteY32" fmla="*/ 2884 h 747096"/>
                <a:gd name="connsiteX33" fmla="*/ 5264290 w 5264290"/>
                <a:gd name="connsiteY33" fmla="*/ 0 h 747096"/>
                <a:gd name="connsiteX34" fmla="*/ 5264290 w 5264290"/>
                <a:gd name="connsiteY34" fmla="*/ 744212 h 747096"/>
                <a:gd name="connsiteX35" fmla="*/ 3135498 w 5264290"/>
                <a:gd name="connsiteY35" fmla="*/ 747096 h 747096"/>
                <a:gd name="connsiteX36" fmla="*/ 2910503 w 5264290"/>
                <a:gd name="connsiteY36" fmla="*/ 747096 h 747096"/>
                <a:gd name="connsiteX37" fmla="*/ 2835505 w 5264290"/>
                <a:gd name="connsiteY37" fmla="*/ 747096 h 747096"/>
                <a:gd name="connsiteX38" fmla="*/ 2509552 w 5264290"/>
                <a:gd name="connsiteY38" fmla="*/ 741327 h 747096"/>
                <a:gd name="connsiteX39" fmla="*/ 2414362 w 5264290"/>
                <a:gd name="connsiteY39" fmla="*/ 735558 h 747096"/>
                <a:gd name="connsiteX40" fmla="*/ 2324941 w 5264290"/>
                <a:gd name="connsiteY40" fmla="*/ 729789 h 747096"/>
                <a:gd name="connsiteX41" fmla="*/ 2221098 w 5264290"/>
                <a:gd name="connsiteY41" fmla="*/ 724020 h 747096"/>
                <a:gd name="connsiteX42" fmla="*/ 2033602 w 5264290"/>
                <a:gd name="connsiteY42" fmla="*/ 706713 h 747096"/>
                <a:gd name="connsiteX43" fmla="*/ 1944181 w 5264290"/>
                <a:gd name="connsiteY43" fmla="*/ 695174 h 747096"/>
                <a:gd name="connsiteX44" fmla="*/ 1840338 w 5264290"/>
                <a:gd name="connsiteY44" fmla="*/ 686521 h 747096"/>
                <a:gd name="connsiteX45" fmla="*/ 1655727 w 5264290"/>
                <a:gd name="connsiteY45" fmla="*/ 669213 h 747096"/>
                <a:gd name="connsiteX46" fmla="*/ 1471116 w 5264290"/>
                <a:gd name="connsiteY46" fmla="*/ 649022 h 747096"/>
                <a:gd name="connsiteX47" fmla="*/ 1277852 w 5264290"/>
                <a:gd name="connsiteY47" fmla="*/ 631714 h 747096"/>
                <a:gd name="connsiteX48" fmla="*/ 1021128 w 5264290"/>
                <a:gd name="connsiteY48" fmla="*/ 602869 h 747096"/>
                <a:gd name="connsiteX49" fmla="*/ 775942 w 5264290"/>
                <a:gd name="connsiteY49" fmla="*/ 571139 h 747096"/>
                <a:gd name="connsiteX50" fmla="*/ 496141 w 5264290"/>
                <a:gd name="connsiteY50" fmla="*/ 522102 h 747096"/>
                <a:gd name="connsiteX51" fmla="*/ 331722 w 5264290"/>
                <a:gd name="connsiteY51" fmla="*/ 496141 h 747096"/>
                <a:gd name="connsiteX52" fmla="*/ 135573 w 5264290"/>
                <a:gd name="connsiteY52" fmla="*/ 455757 h 747096"/>
                <a:gd name="connsiteX53" fmla="*/ 0 w 5264290"/>
                <a:gd name="connsiteY53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349029 w 5264290"/>
                <a:gd name="connsiteY7" fmla="*/ 253839 h 747096"/>
                <a:gd name="connsiteX8" fmla="*/ 438450 w 5264290"/>
                <a:gd name="connsiteY8" fmla="*/ 222109 h 747096"/>
                <a:gd name="connsiteX9" fmla="*/ 527871 w 5264290"/>
                <a:gd name="connsiteY9" fmla="*/ 196148 h 747096"/>
                <a:gd name="connsiteX10" fmla="*/ 611523 w 5264290"/>
                <a:gd name="connsiteY10" fmla="*/ 178841 h 747096"/>
                <a:gd name="connsiteX11" fmla="*/ 689405 w 5264290"/>
                <a:gd name="connsiteY11" fmla="*/ 161534 h 747096"/>
                <a:gd name="connsiteX12" fmla="*/ 761519 w 5264290"/>
                <a:gd name="connsiteY12" fmla="*/ 147111 h 747096"/>
                <a:gd name="connsiteX13" fmla="*/ 819210 w 5264290"/>
                <a:gd name="connsiteY13" fmla="*/ 138458 h 747096"/>
                <a:gd name="connsiteX14" fmla="*/ 911515 w 5264290"/>
                <a:gd name="connsiteY14" fmla="*/ 124035 h 747096"/>
                <a:gd name="connsiteX15" fmla="*/ 1003821 w 5264290"/>
                <a:gd name="connsiteY15" fmla="*/ 112497 h 747096"/>
                <a:gd name="connsiteX16" fmla="*/ 1078819 w 5264290"/>
                <a:gd name="connsiteY16" fmla="*/ 103843 h 747096"/>
                <a:gd name="connsiteX17" fmla="*/ 1145163 w 5264290"/>
                <a:gd name="connsiteY17" fmla="*/ 95189 h 747096"/>
                <a:gd name="connsiteX18" fmla="*/ 1243238 w 5264290"/>
                <a:gd name="connsiteY18" fmla="*/ 86536 h 747096"/>
                <a:gd name="connsiteX19" fmla="*/ 1375927 w 5264290"/>
                <a:gd name="connsiteY19" fmla="*/ 77882 h 747096"/>
                <a:gd name="connsiteX20" fmla="*/ 1574960 w 5264290"/>
                <a:gd name="connsiteY20" fmla="*/ 63460 h 747096"/>
                <a:gd name="connsiteX21" fmla="*/ 1794185 w 5264290"/>
                <a:gd name="connsiteY21" fmla="*/ 54806 h 747096"/>
                <a:gd name="connsiteX22" fmla="*/ 1996103 w 5264290"/>
                <a:gd name="connsiteY22" fmla="*/ 43268 h 747096"/>
                <a:gd name="connsiteX23" fmla="*/ 2172060 w 5264290"/>
                <a:gd name="connsiteY23" fmla="*/ 34614 h 747096"/>
                <a:gd name="connsiteX24" fmla="*/ 2399939 w 5264290"/>
                <a:gd name="connsiteY24" fmla="*/ 25960 h 747096"/>
                <a:gd name="connsiteX25" fmla="*/ 2723008 w 5264290"/>
                <a:gd name="connsiteY25" fmla="*/ 20191 h 747096"/>
                <a:gd name="connsiteX26" fmla="*/ 2858581 w 5264290"/>
                <a:gd name="connsiteY26" fmla="*/ 17307 h 747096"/>
                <a:gd name="connsiteX27" fmla="*/ 2985501 w 5264290"/>
                <a:gd name="connsiteY27" fmla="*/ 14422 h 747096"/>
                <a:gd name="connsiteX28" fmla="*/ 3115306 w 5264290"/>
                <a:gd name="connsiteY28" fmla="*/ 11538 h 747096"/>
                <a:gd name="connsiteX29" fmla="*/ 3294147 w 5264290"/>
                <a:gd name="connsiteY29" fmla="*/ 8653 h 747096"/>
                <a:gd name="connsiteX30" fmla="*/ 3464335 w 5264290"/>
                <a:gd name="connsiteY30" fmla="*/ 8653 h 747096"/>
                <a:gd name="connsiteX31" fmla="*/ 3669138 w 5264290"/>
                <a:gd name="connsiteY31" fmla="*/ 2884 h 747096"/>
                <a:gd name="connsiteX32" fmla="*/ 5264290 w 5264290"/>
                <a:gd name="connsiteY32" fmla="*/ 0 h 747096"/>
                <a:gd name="connsiteX33" fmla="*/ 5264290 w 5264290"/>
                <a:gd name="connsiteY33" fmla="*/ 744212 h 747096"/>
                <a:gd name="connsiteX34" fmla="*/ 3135498 w 5264290"/>
                <a:gd name="connsiteY34" fmla="*/ 747096 h 747096"/>
                <a:gd name="connsiteX35" fmla="*/ 2910503 w 5264290"/>
                <a:gd name="connsiteY35" fmla="*/ 747096 h 747096"/>
                <a:gd name="connsiteX36" fmla="*/ 2835505 w 5264290"/>
                <a:gd name="connsiteY36" fmla="*/ 747096 h 747096"/>
                <a:gd name="connsiteX37" fmla="*/ 2509552 w 5264290"/>
                <a:gd name="connsiteY37" fmla="*/ 741327 h 747096"/>
                <a:gd name="connsiteX38" fmla="*/ 2414362 w 5264290"/>
                <a:gd name="connsiteY38" fmla="*/ 735558 h 747096"/>
                <a:gd name="connsiteX39" fmla="*/ 2324941 w 5264290"/>
                <a:gd name="connsiteY39" fmla="*/ 729789 h 747096"/>
                <a:gd name="connsiteX40" fmla="*/ 2221098 w 5264290"/>
                <a:gd name="connsiteY40" fmla="*/ 724020 h 747096"/>
                <a:gd name="connsiteX41" fmla="*/ 2033602 w 5264290"/>
                <a:gd name="connsiteY41" fmla="*/ 706713 h 747096"/>
                <a:gd name="connsiteX42" fmla="*/ 1944181 w 5264290"/>
                <a:gd name="connsiteY42" fmla="*/ 695174 h 747096"/>
                <a:gd name="connsiteX43" fmla="*/ 1840338 w 5264290"/>
                <a:gd name="connsiteY43" fmla="*/ 686521 h 747096"/>
                <a:gd name="connsiteX44" fmla="*/ 1655727 w 5264290"/>
                <a:gd name="connsiteY44" fmla="*/ 669213 h 747096"/>
                <a:gd name="connsiteX45" fmla="*/ 1471116 w 5264290"/>
                <a:gd name="connsiteY45" fmla="*/ 649022 h 747096"/>
                <a:gd name="connsiteX46" fmla="*/ 1277852 w 5264290"/>
                <a:gd name="connsiteY46" fmla="*/ 631714 h 747096"/>
                <a:gd name="connsiteX47" fmla="*/ 1021128 w 5264290"/>
                <a:gd name="connsiteY47" fmla="*/ 602869 h 747096"/>
                <a:gd name="connsiteX48" fmla="*/ 775942 w 5264290"/>
                <a:gd name="connsiteY48" fmla="*/ 571139 h 747096"/>
                <a:gd name="connsiteX49" fmla="*/ 496141 w 5264290"/>
                <a:gd name="connsiteY49" fmla="*/ 522102 h 747096"/>
                <a:gd name="connsiteX50" fmla="*/ 331722 w 5264290"/>
                <a:gd name="connsiteY50" fmla="*/ 496141 h 747096"/>
                <a:gd name="connsiteX51" fmla="*/ 135573 w 5264290"/>
                <a:gd name="connsiteY51" fmla="*/ 455757 h 747096"/>
                <a:gd name="connsiteX52" fmla="*/ 0 w 5264290"/>
                <a:gd name="connsiteY52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349029 w 5264290"/>
                <a:gd name="connsiteY7" fmla="*/ 253839 h 747096"/>
                <a:gd name="connsiteX8" fmla="*/ 438450 w 5264290"/>
                <a:gd name="connsiteY8" fmla="*/ 222109 h 747096"/>
                <a:gd name="connsiteX9" fmla="*/ 527871 w 5264290"/>
                <a:gd name="connsiteY9" fmla="*/ 196148 h 747096"/>
                <a:gd name="connsiteX10" fmla="*/ 611523 w 5264290"/>
                <a:gd name="connsiteY10" fmla="*/ 178841 h 747096"/>
                <a:gd name="connsiteX11" fmla="*/ 689405 w 5264290"/>
                <a:gd name="connsiteY11" fmla="*/ 161534 h 747096"/>
                <a:gd name="connsiteX12" fmla="*/ 761519 w 5264290"/>
                <a:gd name="connsiteY12" fmla="*/ 147111 h 747096"/>
                <a:gd name="connsiteX13" fmla="*/ 819210 w 5264290"/>
                <a:gd name="connsiteY13" fmla="*/ 138458 h 747096"/>
                <a:gd name="connsiteX14" fmla="*/ 911515 w 5264290"/>
                <a:gd name="connsiteY14" fmla="*/ 124035 h 747096"/>
                <a:gd name="connsiteX15" fmla="*/ 1003821 w 5264290"/>
                <a:gd name="connsiteY15" fmla="*/ 112497 h 747096"/>
                <a:gd name="connsiteX16" fmla="*/ 1078819 w 5264290"/>
                <a:gd name="connsiteY16" fmla="*/ 103843 h 747096"/>
                <a:gd name="connsiteX17" fmla="*/ 1145163 w 5264290"/>
                <a:gd name="connsiteY17" fmla="*/ 95189 h 747096"/>
                <a:gd name="connsiteX18" fmla="*/ 1243238 w 5264290"/>
                <a:gd name="connsiteY18" fmla="*/ 86536 h 747096"/>
                <a:gd name="connsiteX19" fmla="*/ 1375927 w 5264290"/>
                <a:gd name="connsiteY19" fmla="*/ 77882 h 747096"/>
                <a:gd name="connsiteX20" fmla="*/ 1574960 w 5264290"/>
                <a:gd name="connsiteY20" fmla="*/ 63460 h 747096"/>
                <a:gd name="connsiteX21" fmla="*/ 1794185 w 5264290"/>
                <a:gd name="connsiteY21" fmla="*/ 54806 h 747096"/>
                <a:gd name="connsiteX22" fmla="*/ 1996103 w 5264290"/>
                <a:gd name="connsiteY22" fmla="*/ 43268 h 747096"/>
                <a:gd name="connsiteX23" fmla="*/ 2172060 w 5264290"/>
                <a:gd name="connsiteY23" fmla="*/ 34614 h 747096"/>
                <a:gd name="connsiteX24" fmla="*/ 2399939 w 5264290"/>
                <a:gd name="connsiteY24" fmla="*/ 25960 h 747096"/>
                <a:gd name="connsiteX25" fmla="*/ 2723008 w 5264290"/>
                <a:gd name="connsiteY25" fmla="*/ 20191 h 747096"/>
                <a:gd name="connsiteX26" fmla="*/ 2858581 w 5264290"/>
                <a:gd name="connsiteY26" fmla="*/ 17307 h 747096"/>
                <a:gd name="connsiteX27" fmla="*/ 2985501 w 5264290"/>
                <a:gd name="connsiteY27" fmla="*/ 14422 h 747096"/>
                <a:gd name="connsiteX28" fmla="*/ 3115306 w 5264290"/>
                <a:gd name="connsiteY28" fmla="*/ 11538 h 747096"/>
                <a:gd name="connsiteX29" fmla="*/ 3294147 w 5264290"/>
                <a:gd name="connsiteY29" fmla="*/ 8653 h 747096"/>
                <a:gd name="connsiteX30" fmla="*/ 3464335 w 5264290"/>
                <a:gd name="connsiteY30" fmla="*/ 8653 h 747096"/>
                <a:gd name="connsiteX31" fmla="*/ 3680676 w 5264290"/>
                <a:gd name="connsiteY31" fmla="*/ 11537 h 747096"/>
                <a:gd name="connsiteX32" fmla="*/ 5264290 w 5264290"/>
                <a:gd name="connsiteY32" fmla="*/ 0 h 747096"/>
                <a:gd name="connsiteX33" fmla="*/ 5264290 w 5264290"/>
                <a:gd name="connsiteY33" fmla="*/ 744212 h 747096"/>
                <a:gd name="connsiteX34" fmla="*/ 3135498 w 5264290"/>
                <a:gd name="connsiteY34" fmla="*/ 747096 h 747096"/>
                <a:gd name="connsiteX35" fmla="*/ 2910503 w 5264290"/>
                <a:gd name="connsiteY35" fmla="*/ 747096 h 747096"/>
                <a:gd name="connsiteX36" fmla="*/ 2835505 w 5264290"/>
                <a:gd name="connsiteY36" fmla="*/ 747096 h 747096"/>
                <a:gd name="connsiteX37" fmla="*/ 2509552 w 5264290"/>
                <a:gd name="connsiteY37" fmla="*/ 741327 h 747096"/>
                <a:gd name="connsiteX38" fmla="*/ 2414362 w 5264290"/>
                <a:gd name="connsiteY38" fmla="*/ 735558 h 747096"/>
                <a:gd name="connsiteX39" fmla="*/ 2324941 w 5264290"/>
                <a:gd name="connsiteY39" fmla="*/ 729789 h 747096"/>
                <a:gd name="connsiteX40" fmla="*/ 2221098 w 5264290"/>
                <a:gd name="connsiteY40" fmla="*/ 724020 h 747096"/>
                <a:gd name="connsiteX41" fmla="*/ 2033602 w 5264290"/>
                <a:gd name="connsiteY41" fmla="*/ 706713 h 747096"/>
                <a:gd name="connsiteX42" fmla="*/ 1944181 w 5264290"/>
                <a:gd name="connsiteY42" fmla="*/ 695174 h 747096"/>
                <a:gd name="connsiteX43" fmla="*/ 1840338 w 5264290"/>
                <a:gd name="connsiteY43" fmla="*/ 686521 h 747096"/>
                <a:gd name="connsiteX44" fmla="*/ 1655727 w 5264290"/>
                <a:gd name="connsiteY44" fmla="*/ 669213 h 747096"/>
                <a:gd name="connsiteX45" fmla="*/ 1471116 w 5264290"/>
                <a:gd name="connsiteY45" fmla="*/ 649022 h 747096"/>
                <a:gd name="connsiteX46" fmla="*/ 1277852 w 5264290"/>
                <a:gd name="connsiteY46" fmla="*/ 631714 h 747096"/>
                <a:gd name="connsiteX47" fmla="*/ 1021128 w 5264290"/>
                <a:gd name="connsiteY47" fmla="*/ 602869 h 747096"/>
                <a:gd name="connsiteX48" fmla="*/ 775942 w 5264290"/>
                <a:gd name="connsiteY48" fmla="*/ 571139 h 747096"/>
                <a:gd name="connsiteX49" fmla="*/ 496141 w 5264290"/>
                <a:gd name="connsiteY49" fmla="*/ 522102 h 747096"/>
                <a:gd name="connsiteX50" fmla="*/ 331722 w 5264290"/>
                <a:gd name="connsiteY50" fmla="*/ 496141 h 747096"/>
                <a:gd name="connsiteX51" fmla="*/ 135573 w 5264290"/>
                <a:gd name="connsiteY51" fmla="*/ 455757 h 747096"/>
                <a:gd name="connsiteX52" fmla="*/ 0 w 5264290"/>
                <a:gd name="connsiteY52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349029 w 5264290"/>
                <a:gd name="connsiteY7" fmla="*/ 253839 h 747096"/>
                <a:gd name="connsiteX8" fmla="*/ 438450 w 5264290"/>
                <a:gd name="connsiteY8" fmla="*/ 222109 h 747096"/>
                <a:gd name="connsiteX9" fmla="*/ 527871 w 5264290"/>
                <a:gd name="connsiteY9" fmla="*/ 196148 h 747096"/>
                <a:gd name="connsiteX10" fmla="*/ 611523 w 5264290"/>
                <a:gd name="connsiteY10" fmla="*/ 178841 h 747096"/>
                <a:gd name="connsiteX11" fmla="*/ 689405 w 5264290"/>
                <a:gd name="connsiteY11" fmla="*/ 161534 h 747096"/>
                <a:gd name="connsiteX12" fmla="*/ 761519 w 5264290"/>
                <a:gd name="connsiteY12" fmla="*/ 147111 h 747096"/>
                <a:gd name="connsiteX13" fmla="*/ 819210 w 5264290"/>
                <a:gd name="connsiteY13" fmla="*/ 138458 h 747096"/>
                <a:gd name="connsiteX14" fmla="*/ 911515 w 5264290"/>
                <a:gd name="connsiteY14" fmla="*/ 124035 h 747096"/>
                <a:gd name="connsiteX15" fmla="*/ 1003821 w 5264290"/>
                <a:gd name="connsiteY15" fmla="*/ 112497 h 747096"/>
                <a:gd name="connsiteX16" fmla="*/ 1078819 w 5264290"/>
                <a:gd name="connsiteY16" fmla="*/ 103843 h 747096"/>
                <a:gd name="connsiteX17" fmla="*/ 1145163 w 5264290"/>
                <a:gd name="connsiteY17" fmla="*/ 95189 h 747096"/>
                <a:gd name="connsiteX18" fmla="*/ 1243238 w 5264290"/>
                <a:gd name="connsiteY18" fmla="*/ 86536 h 747096"/>
                <a:gd name="connsiteX19" fmla="*/ 1375927 w 5264290"/>
                <a:gd name="connsiteY19" fmla="*/ 77882 h 747096"/>
                <a:gd name="connsiteX20" fmla="*/ 1574960 w 5264290"/>
                <a:gd name="connsiteY20" fmla="*/ 63460 h 747096"/>
                <a:gd name="connsiteX21" fmla="*/ 1794185 w 5264290"/>
                <a:gd name="connsiteY21" fmla="*/ 54806 h 747096"/>
                <a:gd name="connsiteX22" fmla="*/ 1996103 w 5264290"/>
                <a:gd name="connsiteY22" fmla="*/ 43268 h 747096"/>
                <a:gd name="connsiteX23" fmla="*/ 2172060 w 5264290"/>
                <a:gd name="connsiteY23" fmla="*/ 34614 h 747096"/>
                <a:gd name="connsiteX24" fmla="*/ 2399939 w 5264290"/>
                <a:gd name="connsiteY24" fmla="*/ 25960 h 747096"/>
                <a:gd name="connsiteX25" fmla="*/ 2723008 w 5264290"/>
                <a:gd name="connsiteY25" fmla="*/ 20191 h 747096"/>
                <a:gd name="connsiteX26" fmla="*/ 2858581 w 5264290"/>
                <a:gd name="connsiteY26" fmla="*/ 17307 h 747096"/>
                <a:gd name="connsiteX27" fmla="*/ 2985501 w 5264290"/>
                <a:gd name="connsiteY27" fmla="*/ 14422 h 747096"/>
                <a:gd name="connsiteX28" fmla="*/ 3115306 w 5264290"/>
                <a:gd name="connsiteY28" fmla="*/ 11538 h 747096"/>
                <a:gd name="connsiteX29" fmla="*/ 3294147 w 5264290"/>
                <a:gd name="connsiteY29" fmla="*/ 8653 h 747096"/>
                <a:gd name="connsiteX30" fmla="*/ 3464335 w 5264290"/>
                <a:gd name="connsiteY30" fmla="*/ 8653 h 747096"/>
                <a:gd name="connsiteX31" fmla="*/ 3680676 w 5264290"/>
                <a:gd name="connsiteY31" fmla="*/ 11537 h 747096"/>
                <a:gd name="connsiteX32" fmla="*/ 5264290 w 5264290"/>
                <a:gd name="connsiteY32" fmla="*/ 0 h 747096"/>
                <a:gd name="connsiteX33" fmla="*/ 5264290 w 5264290"/>
                <a:gd name="connsiteY33" fmla="*/ 744212 h 747096"/>
                <a:gd name="connsiteX34" fmla="*/ 3135498 w 5264290"/>
                <a:gd name="connsiteY34" fmla="*/ 747096 h 747096"/>
                <a:gd name="connsiteX35" fmla="*/ 2910503 w 5264290"/>
                <a:gd name="connsiteY35" fmla="*/ 747096 h 747096"/>
                <a:gd name="connsiteX36" fmla="*/ 2835505 w 5264290"/>
                <a:gd name="connsiteY36" fmla="*/ 747096 h 747096"/>
                <a:gd name="connsiteX37" fmla="*/ 2509552 w 5264290"/>
                <a:gd name="connsiteY37" fmla="*/ 741327 h 747096"/>
                <a:gd name="connsiteX38" fmla="*/ 2414362 w 5264290"/>
                <a:gd name="connsiteY38" fmla="*/ 735558 h 747096"/>
                <a:gd name="connsiteX39" fmla="*/ 2324941 w 5264290"/>
                <a:gd name="connsiteY39" fmla="*/ 729789 h 747096"/>
                <a:gd name="connsiteX40" fmla="*/ 2221098 w 5264290"/>
                <a:gd name="connsiteY40" fmla="*/ 724020 h 747096"/>
                <a:gd name="connsiteX41" fmla="*/ 2033602 w 5264290"/>
                <a:gd name="connsiteY41" fmla="*/ 706713 h 747096"/>
                <a:gd name="connsiteX42" fmla="*/ 1840338 w 5264290"/>
                <a:gd name="connsiteY42" fmla="*/ 686521 h 747096"/>
                <a:gd name="connsiteX43" fmla="*/ 1655727 w 5264290"/>
                <a:gd name="connsiteY43" fmla="*/ 669213 h 747096"/>
                <a:gd name="connsiteX44" fmla="*/ 1471116 w 5264290"/>
                <a:gd name="connsiteY44" fmla="*/ 649022 h 747096"/>
                <a:gd name="connsiteX45" fmla="*/ 1277852 w 5264290"/>
                <a:gd name="connsiteY45" fmla="*/ 631714 h 747096"/>
                <a:gd name="connsiteX46" fmla="*/ 1021128 w 5264290"/>
                <a:gd name="connsiteY46" fmla="*/ 602869 h 747096"/>
                <a:gd name="connsiteX47" fmla="*/ 775942 w 5264290"/>
                <a:gd name="connsiteY47" fmla="*/ 571139 h 747096"/>
                <a:gd name="connsiteX48" fmla="*/ 496141 w 5264290"/>
                <a:gd name="connsiteY48" fmla="*/ 522102 h 747096"/>
                <a:gd name="connsiteX49" fmla="*/ 331722 w 5264290"/>
                <a:gd name="connsiteY49" fmla="*/ 496141 h 747096"/>
                <a:gd name="connsiteX50" fmla="*/ 135573 w 5264290"/>
                <a:gd name="connsiteY50" fmla="*/ 455757 h 747096"/>
                <a:gd name="connsiteX51" fmla="*/ 0 w 5264290"/>
                <a:gd name="connsiteY51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349029 w 5264290"/>
                <a:gd name="connsiteY7" fmla="*/ 253839 h 747096"/>
                <a:gd name="connsiteX8" fmla="*/ 438450 w 5264290"/>
                <a:gd name="connsiteY8" fmla="*/ 222109 h 747096"/>
                <a:gd name="connsiteX9" fmla="*/ 527871 w 5264290"/>
                <a:gd name="connsiteY9" fmla="*/ 196148 h 747096"/>
                <a:gd name="connsiteX10" fmla="*/ 611523 w 5264290"/>
                <a:gd name="connsiteY10" fmla="*/ 178841 h 747096"/>
                <a:gd name="connsiteX11" fmla="*/ 689405 w 5264290"/>
                <a:gd name="connsiteY11" fmla="*/ 161534 h 747096"/>
                <a:gd name="connsiteX12" fmla="*/ 761519 w 5264290"/>
                <a:gd name="connsiteY12" fmla="*/ 147111 h 747096"/>
                <a:gd name="connsiteX13" fmla="*/ 819210 w 5264290"/>
                <a:gd name="connsiteY13" fmla="*/ 138458 h 747096"/>
                <a:gd name="connsiteX14" fmla="*/ 911515 w 5264290"/>
                <a:gd name="connsiteY14" fmla="*/ 124035 h 747096"/>
                <a:gd name="connsiteX15" fmla="*/ 1003821 w 5264290"/>
                <a:gd name="connsiteY15" fmla="*/ 112497 h 747096"/>
                <a:gd name="connsiteX16" fmla="*/ 1078819 w 5264290"/>
                <a:gd name="connsiteY16" fmla="*/ 103843 h 747096"/>
                <a:gd name="connsiteX17" fmla="*/ 1145163 w 5264290"/>
                <a:gd name="connsiteY17" fmla="*/ 95189 h 747096"/>
                <a:gd name="connsiteX18" fmla="*/ 1243238 w 5264290"/>
                <a:gd name="connsiteY18" fmla="*/ 86536 h 747096"/>
                <a:gd name="connsiteX19" fmla="*/ 1375927 w 5264290"/>
                <a:gd name="connsiteY19" fmla="*/ 77882 h 747096"/>
                <a:gd name="connsiteX20" fmla="*/ 1574960 w 5264290"/>
                <a:gd name="connsiteY20" fmla="*/ 63460 h 747096"/>
                <a:gd name="connsiteX21" fmla="*/ 1794185 w 5264290"/>
                <a:gd name="connsiteY21" fmla="*/ 54806 h 747096"/>
                <a:gd name="connsiteX22" fmla="*/ 1996103 w 5264290"/>
                <a:gd name="connsiteY22" fmla="*/ 43268 h 747096"/>
                <a:gd name="connsiteX23" fmla="*/ 2172060 w 5264290"/>
                <a:gd name="connsiteY23" fmla="*/ 34614 h 747096"/>
                <a:gd name="connsiteX24" fmla="*/ 2399939 w 5264290"/>
                <a:gd name="connsiteY24" fmla="*/ 25960 h 747096"/>
                <a:gd name="connsiteX25" fmla="*/ 2723008 w 5264290"/>
                <a:gd name="connsiteY25" fmla="*/ 20191 h 747096"/>
                <a:gd name="connsiteX26" fmla="*/ 2858581 w 5264290"/>
                <a:gd name="connsiteY26" fmla="*/ 17307 h 747096"/>
                <a:gd name="connsiteX27" fmla="*/ 2985501 w 5264290"/>
                <a:gd name="connsiteY27" fmla="*/ 14422 h 747096"/>
                <a:gd name="connsiteX28" fmla="*/ 3115306 w 5264290"/>
                <a:gd name="connsiteY28" fmla="*/ 11538 h 747096"/>
                <a:gd name="connsiteX29" fmla="*/ 3294147 w 5264290"/>
                <a:gd name="connsiteY29" fmla="*/ 8653 h 747096"/>
                <a:gd name="connsiteX30" fmla="*/ 3464335 w 5264290"/>
                <a:gd name="connsiteY30" fmla="*/ 8653 h 747096"/>
                <a:gd name="connsiteX31" fmla="*/ 3680676 w 5264290"/>
                <a:gd name="connsiteY31" fmla="*/ 11537 h 747096"/>
                <a:gd name="connsiteX32" fmla="*/ 5264290 w 5264290"/>
                <a:gd name="connsiteY32" fmla="*/ 0 h 747096"/>
                <a:gd name="connsiteX33" fmla="*/ 5264290 w 5264290"/>
                <a:gd name="connsiteY33" fmla="*/ 744212 h 747096"/>
                <a:gd name="connsiteX34" fmla="*/ 3135498 w 5264290"/>
                <a:gd name="connsiteY34" fmla="*/ 747096 h 747096"/>
                <a:gd name="connsiteX35" fmla="*/ 2910503 w 5264290"/>
                <a:gd name="connsiteY35" fmla="*/ 747096 h 747096"/>
                <a:gd name="connsiteX36" fmla="*/ 2835505 w 5264290"/>
                <a:gd name="connsiteY36" fmla="*/ 747096 h 747096"/>
                <a:gd name="connsiteX37" fmla="*/ 2509552 w 5264290"/>
                <a:gd name="connsiteY37" fmla="*/ 741327 h 747096"/>
                <a:gd name="connsiteX38" fmla="*/ 2414362 w 5264290"/>
                <a:gd name="connsiteY38" fmla="*/ 735558 h 747096"/>
                <a:gd name="connsiteX39" fmla="*/ 2324941 w 5264290"/>
                <a:gd name="connsiteY39" fmla="*/ 729789 h 747096"/>
                <a:gd name="connsiteX40" fmla="*/ 2221098 w 5264290"/>
                <a:gd name="connsiteY40" fmla="*/ 724020 h 747096"/>
                <a:gd name="connsiteX41" fmla="*/ 2033602 w 5264290"/>
                <a:gd name="connsiteY41" fmla="*/ 706713 h 747096"/>
                <a:gd name="connsiteX42" fmla="*/ 1840338 w 5264290"/>
                <a:gd name="connsiteY42" fmla="*/ 686521 h 747096"/>
                <a:gd name="connsiteX43" fmla="*/ 1655727 w 5264290"/>
                <a:gd name="connsiteY43" fmla="*/ 669213 h 747096"/>
                <a:gd name="connsiteX44" fmla="*/ 1471116 w 5264290"/>
                <a:gd name="connsiteY44" fmla="*/ 649022 h 747096"/>
                <a:gd name="connsiteX45" fmla="*/ 1277852 w 5264290"/>
                <a:gd name="connsiteY45" fmla="*/ 631714 h 747096"/>
                <a:gd name="connsiteX46" fmla="*/ 1021128 w 5264290"/>
                <a:gd name="connsiteY46" fmla="*/ 602869 h 747096"/>
                <a:gd name="connsiteX47" fmla="*/ 496141 w 5264290"/>
                <a:gd name="connsiteY47" fmla="*/ 522102 h 747096"/>
                <a:gd name="connsiteX48" fmla="*/ 331722 w 5264290"/>
                <a:gd name="connsiteY48" fmla="*/ 496141 h 747096"/>
                <a:gd name="connsiteX49" fmla="*/ 135573 w 5264290"/>
                <a:gd name="connsiteY49" fmla="*/ 455757 h 747096"/>
                <a:gd name="connsiteX50" fmla="*/ 0 w 5264290"/>
                <a:gd name="connsiteY50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349029 w 5264290"/>
                <a:gd name="connsiteY7" fmla="*/ 253839 h 747096"/>
                <a:gd name="connsiteX8" fmla="*/ 438450 w 5264290"/>
                <a:gd name="connsiteY8" fmla="*/ 222109 h 747096"/>
                <a:gd name="connsiteX9" fmla="*/ 611523 w 5264290"/>
                <a:gd name="connsiteY9" fmla="*/ 178841 h 747096"/>
                <a:gd name="connsiteX10" fmla="*/ 689405 w 5264290"/>
                <a:gd name="connsiteY10" fmla="*/ 161534 h 747096"/>
                <a:gd name="connsiteX11" fmla="*/ 761519 w 5264290"/>
                <a:gd name="connsiteY11" fmla="*/ 147111 h 747096"/>
                <a:gd name="connsiteX12" fmla="*/ 819210 w 5264290"/>
                <a:gd name="connsiteY12" fmla="*/ 138458 h 747096"/>
                <a:gd name="connsiteX13" fmla="*/ 911515 w 5264290"/>
                <a:gd name="connsiteY13" fmla="*/ 124035 h 747096"/>
                <a:gd name="connsiteX14" fmla="*/ 1003821 w 5264290"/>
                <a:gd name="connsiteY14" fmla="*/ 112497 h 747096"/>
                <a:gd name="connsiteX15" fmla="*/ 1078819 w 5264290"/>
                <a:gd name="connsiteY15" fmla="*/ 103843 h 747096"/>
                <a:gd name="connsiteX16" fmla="*/ 1145163 w 5264290"/>
                <a:gd name="connsiteY16" fmla="*/ 95189 h 747096"/>
                <a:gd name="connsiteX17" fmla="*/ 1243238 w 5264290"/>
                <a:gd name="connsiteY17" fmla="*/ 86536 h 747096"/>
                <a:gd name="connsiteX18" fmla="*/ 1375927 w 5264290"/>
                <a:gd name="connsiteY18" fmla="*/ 77882 h 747096"/>
                <a:gd name="connsiteX19" fmla="*/ 1574960 w 5264290"/>
                <a:gd name="connsiteY19" fmla="*/ 63460 h 747096"/>
                <a:gd name="connsiteX20" fmla="*/ 1794185 w 5264290"/>
                <a:gd name="connsiteY20" fmla="*/ 54806 h 747096"/>
                <a:gd name="connsiteX21" fmla="*/ 1996103 w 5264290"/>
                <a:gd name="connsiteY21" fmla="*/ 43268 h 747096"/>
                <a:gd name="connsiteX22" fmla="*/ 2172060 w 5264290"/>
                <a:gd name="connsiteY22" fmla="*/ 34614 h 747096"/>
                <a:gd name="connsiteX23" fmla="*/ 2399939 w 5264290"/>
                <a:gd name="connsiteY23" fmla="*/ 25960 h 747096"/>
                <a:gd name="connsiteX24" fmla="*/ 2723008 w 5264290"/>
                <a:gd name="connsiteY24" fmla="*/ 20191 h 747096"/>
                <a:gd name="connsiteX25" fmla="*/ 2858581 w 5264290"/>
                <a:gd name="connsiteY25" fmla="*/ 17307 h 747096"/>
                <a:gd name="connsiteX26" fmla="*/ 2985501 w 5264290"/>
                <a:gd name="connsiteY26" fmla="*/ 14422 h 747096"/>
                <a:gd name="connsiteX27" fmla="*/ 3115306 w 5264290"/>
                <a:gd name="connsiteY27" fmla="*/ 11538 h 747096"/>
                <a:gd name="connsiteX28" fmla="*/ 3294147 w 5264290"/>
                <a:gd name="connsiteY28" fmla="*/ 8653 h 747096"/>
                <a:gd name="connsiteX29" fmla="*/ 3464335 w 5264290"/>
                <a:gd name="connsiteY29" fmla="*/ 8653 h 747096"/>
                <a:gd name="connsiteX30" fmla="*/ 3680676 w 5264290"/>
                <a:gd name="connsiteY30" fmla="*/ 11537 h 747096"/>
                <a:gd name="connsiteX31" fmla="*/ 5264290 w 5264290"/>
                <a:gd name="connsiteY31" fmla="*/ 0 h 747096"/>
                <a:gd name="connsiteX32" fmla="*/ 5264290 w 5264290"/>
                <a:gd name="connsiteY32" fmla="*/ 744212 h 747096"/>
                <a:gd name="connsiteX33" fmla="*/ 3135498 w 5264290"/>
                <a:gd name="connsiteY33" fmla="*/ 747096 h 747096"/>
                <a:gd name="connsiteX34" fmla="*/ 2910503 w 5264290"/>
                <a:gd name="connsiteY34" fmla="*/ 747096 h 747096"/>
                <a:gd name="connsiteX35" fmla="*/ 2835505 w 5264290"/>
                <a:gd name="connsiteY35" fmla="*/ 747096 h 747096"/>
                <a:gd name="connsiteX36" fmla="*/ 2509552 w 5264290"/>
                <a:gd name="connsiteY36" fmla="*/ 741327 h 747096"/>
                <a:gd name="connsiteX37" fmla="*/ 2414362 w 5264290"/>
                <a:gd name="connsiteY37" fmla="*/ 735558 h 747096"/>
                <a:gd name="connsiteX38" fmla="*/ 2324941 w 5264290"/>
                <a:gd name="connsiteY38" fmla="*/ 729789 h 747096"/>
                <a:gd name="connsiteX39" fmla="*/ 2221098 w 5264290"/>
                <a:gd name="connsiteY39" fmla="*/ 724020 h 747096"/>
                <a:gd name="connsiteX40" fmla="*/ 2033602 w 5264290"/>
                <a:gd name="connsiteY40" fmla="*/ 706713 h 747096"/>
                <a:gd name="connsiteX41" fmla="*/ 1840338 w 5264290"/>
                <a:gd name="connsiteY41" fmla="*/ 686521 h 747096"/>
                <a:gd name="connsiteX42" fmla="*/ 1655727 w 5264290"/>
                <a:gd name="connsiteY42" fmla="*/ 669213 h 747096"/>
                <a:gd name="connsiteX43" fmla="*/ 1471116 w 5264290"/>
                <a:gd name="connsiteY43" fmla="*/ 649022 h 747096"/>
                <a:gd name="connsiteX44" fmla="*/ 1277852 w 5264290"/>
                <a:gd name="connsiteY44" fmla="*/ 631714 h 747096"/>
                <a:gd name="connsiteX45" fmla="*/ 1021128 w 5264290"/>
                <a:gd name="connsiteY45" fmla="*/ 602869 h 747096"/>
                <a:gd name="connsiteX46" fmla="*/ 496141 w 5264290"/>
                <a:gd name="connsiteY46" fmla="*/ 522102 h 747096"/>
                <a:gd name="connsiteX47" fmla="*/ 331722 w 5264290"/>
                <a:gd name="connsiteY47" fmla="*/ 496141 h 747096"/>
                <a:gd name="connsiteX48" fmla="*/ 135573 w 5264290"/>
                <a:gd name="connsiteY48" fmla="*/ 455757 h 747096"/>
                <a:gd name="connsiteX49" fmla="*/ 0 w 5264290"/>
                <a:gd name="connsiteY49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349029 w 5264290"/>
                <a:gd name="connsiteY7" fmla="*/ 253839 h 747096"/>
                <a:gd name="connsiteX8" fmla="*/ 611523 w 5264290"/>
                <a:gd name="connsiteY8" fmla="*/ 178841 h 747096"/>
                <a:gd name="connsiteX9" fmla="*/ 689405 w 5264290"/>
                <a:gd name="connsiteY9" fmla="*/ 161534 h 747096"/>
                <a:gd name="connsiteX10" fmla="*/ 761519 w 5264290"/>
                <a:gd name="connsiteY10" fmla="*/ 147111 h 747096"/>
                <a:gd name="connsiteX11" fmla="*/ 819210 w 5264290"/>
                <a:gd name="connsiteY11" fmla="*/ 138458 h 747096"/>
                <a:gd name="connsiteX12" fmla="*/ 911515 w 5264290"/>
                <a:gd name="connsiteY12" fmla="*/ 124035 h 747096"/>
                <a:gd name="connsiteX13" fmla="*/ 1003821 w 5264290"/>
                <a:gd name="connsiteY13" fmla="*/ 112497 h 747096"/>
                <a:gd name="connsiteX14" fmla="*/ 1078819 w 5264290"/>
                <a:gd name="connsiteY14" fmla="*/ 103843 h 747096"/>
                <a:gd name="connsiteX15" fmla="*/ 1145163 w 5264290"/>
                <a:gd name="connsiteY15" fmla="*/ 95189 h 747096"/>
                <a:gd name="connsiteX16" fmla="*/ 1243238 w 5264290"/>
                <a:gd name="connsiteY16" fmla="*/ 86536 h 747096"/>
                <a:gd name="connsiteX17" fmla="*/ 1375927 w 5264290"/>
                <a:gd name="connsiteY17" fmla="*/ 77882 h 747096"/>
                <a:gd name="connsiteX18" fmla="*/ 1574960 w 5264290"/>
                <a:gd name="connsiteY18" fmla="*/ 63460 h 747096"/>
                <a:gd name="connsiteX19" fmla="*/ 1794185 w 5264290"/>
                <a:gd name="connsiteY19" fmla="*/ 54806 h 747096"/>
                <a:gd name="connsiteX20" fmla="*/ 1996103 w 5264290"/>
                <a:gd name="connsiteY20" fmla="*/ 43268 h 747096"/>
                <a:gd name="connsiteX21" fmla="*/ 2172060 w 5264290"/>
                <a:gd name="connsiteY21" fmla="*/ 34614 h 747096"/>
                <a:gd name="connsiteX22" fmla="*/ 2399939 w 5264290"/>
                <a:gd name="connsiteY22" fmla="*/ 25960 h 747096"/>
                <a:gd name="connsiteX23" fmla="*/ 2723008 w 5264290"/>
                <a:gd name="connsiteY23" fmla="*/ 20191 h 747096"/>
                <a:gd name="connsiteX24" fmla="*/ 2858581 w 5264290"/>
                <a:gd name="connsiteY24" fmla="*/ 17307 h 747096"/>
                <a:gd name="connsiteX25" fmla="*/ 2985501 w 5264290"/>
                <a:gd name="connsiteY25" fmla="*/ 14422 h 747096"/>
                <a:gd name="connsiteX26" fmla="*/ 3115306 w 5264290"/>
                <a:gd name="connsiteY26" fmla="*/ 11538 h 747096"/>
                <a:gd name="connsiteX27" fmla="*/ 3294147 w 5264290"/>
                <a:gd name="connsiteY27" fmla="*/ 8653 h 747096"/>
                <a:gd name="connsiteX28" fmla="*/ 3464335 w 5264290"/>
                <a:gd name="connsiteY28" fmla="*/ 8653 h 747096"/>
                <a:gd name="connsiteX29" fmla="*/ 3680676 w 5264290"/>
                <a:gd name="connsiteY29" fmla="*/ 11537 h 747096"/>
                <a:gd name="connsiteX30" fmla="*/ 5264290 w 5264290"/>
                <a:gd name="connsiteY30" fmla="*/ 0 h 747096"/>
                <a:gd name="connsiteX31" fmla="*/ 5264290 w 5264290"/>
                <a:gd name="connsiteY31" fmla="*/ 744212 h 747096"/>
                <a:gd name="connsiteX32" fmla="*/ 3135498 w 5264290"/>
                <a:gd name="connsiteY32" fmla="*/ 747096 h 747096"/>
                <a:gd name="connsiteX33" fmla="*/ 2910503 w 5264290"/>
                <a:gd name="connsiteY33" fmla="*/ 747096 h 747096"/>
                <a:gd name="connsiteX34" fmla="*/ 2835505 w 5264290"/>
                <a:gd name="connsiteY34" fmla="*/ 747096 h 747096"/>
                <a:gd name="connsiteX35" fmla="*/ 2509552 w 5264290"/>
                <a:gd name="connsiteY35" fmla="*/ 741327 h 747096"/>
                <a:gd name="connsiteX36" fmla="*/ 2414362 w 5264290"/>
                <a:gd name="connsiteY36" fmla="*/ 735558 h 747096"/>
                <a:gd name="connsiteX37" fmla="*/ 2324941 w 5264290"/>
                <a:gd name="connsiteY37" fmla="*/ 729789 h 747096"/>
                <a:gd name="connsiteX38" fmla="*/ 2221098 w 5264290"/>
                <a:gd name="connsiteY38" fmla="*/ 724020 h 747096"/>
                <a:gd name="connsiteX39" fmla="*/ 2033602 w 5264290"/>
                <a:gd name="connsiteY39" fmla="*/ 706713 h 747096"/>
                <a:gd name="connsiteX40" fmla="*/ 1840338 w 5264290"/>
                <a:gd name="connsiteY40" fmla="*/ 686521 h 747096"/>
                <a:gd name="connsiteX41" fmla="*/ 1655727 w 5264290"/>
                <a:gd name="connsiteY41" fmla="*/ 669213 h 747096"/>
                <a:gd name="connsiteX42" fmla="*/ 1471116 w 5264290"/>
                <a:gd name="connsiteY42" fmla="*/ 649022 h 747096"/>
                <a:gd name="connsiteX43" fmla="*/ 1277852 w 5264290"/>
                <a:gd name="connsiteY43" fmla="*/ 631714 h 747096"/>
                <a:gd name="connsiteX44" fmla="*/ 1021128 w 5264290"/>
                <a:gd name="connsiteY44" fmla="*/ 602869 h 747096"/>
                <a:gd name="connsiteX45" fmla="*/ 496141 w 5264290"/>
                <a:gd name="connsiteY45" fmla="*/ 522102 h 747096"/>
                <a:gd name="connsiteX46" fmla="*/ 331722 w 5264290"/>
                <a:gd name="connsiteY46" fmla="*/ 496141 h 747096"/>
                <a:gd name="connsiteX47" fmla="*/ 135573 w 5264290"/>
                <a:gd name="connsiteY47" fmla="*/ 455757 h 747096"/>
                <a:gd name="connsiteX48" fmla="*/ 0 w 5264290"/>
                <a:gd name="connsiteY48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406720 w 5264290"/>
                <a:gd name="connsiteY7" fmla="*/ 242301 h 747096"/>
                <a:gd name="connsiteX8" fmla="*/ 611523 w 5264290"/>
                <a:gd name="connsiteY8" fmla="*/ 178841 h 747096"/>
                <a:gd name="connsiteX9" fmla="*/ 689405 w 5264290"/>
                <a:gd name="connsiteY9" fmla="*/ 161534 h 747096"/>
                <a:gd name="connsiteX10" fmla="*/ 761519 w 5264290"/>
                <a:gd name="connsiteY10" fmla="*/ 147111 h 747096"/>
                <a:gd name="connsiteX11" fmla="*/ 819210 w 5264290"/>
                <a:gd name="connsiteY11" fmla="*/ 138458 h 747096"/>
                <a:gd name="connsiteX12" fmla="*/ 911515 w 5264290"/>
                <a:gd name="connsiteY12" fmla="*/ 124035 h 747096"/>
                <a:gd name="connsiteX13" fmla="*/ 1003821 w 5264290"/>
                <a:gd name="connsiteY13" fmla="*/ 112497 h 747096"/>
                <a:gd name="connsiteX14" fmla="*/ 1078819 w 5264290"/>
                <a:gd name="connsiteY14" fmla="*/ 103843 h 747096"/>
                <a:gd name="connsiteX15" fmla="*/ 1145163 w 5264290"/>
                <a:gd name="connsiteY15" fmla="*/ 95189 h 747096"/>
                <a:gd name="connsiteX16" fmla="*/ 1243238 w 5264290"/>
                <a:gd name="connsiteY16" fmla="*/ 86536 h 747096"/>
                <a:gd name="connsiteX17" fmla="*/ 1375927 w 5264290"/>
                <a:gd name="connsiteY17" fmla="*/ 77882 h 747096"/>
                <a:gd name="connsiteX18" fmla="*/ 1574960 w 5264290"/>
                <a:gd name="connsiteY18" fmla="*/ 63460 h 747096"/>
                <a:gd name="connsiteX19" fmla="*/ 1794185 w 5264290"/>
                <a:gd name="connsiteY19" fmla="*/ 54806 h 747096"/>
                <a:gd name="connsiteX20" fmla="*/ 1996103 w 5264290"/>
                <a:gd name="connsiteY20" fmla="*/ 43268 h 747096"/>
                <a:gd name="connsiteX21" fmla="*/ 2172060 w 5264290"/>
                <a:gd name="connsiteY21" fmla="*/ 34614 h 747096"/>
                <a:gd name="connsiteX22" fmla="*/ 2399939 w 5264290"/>
                <a:gd name="connsiteY22" fmla="*/ 25960 h 747096"/>
                <a:gd name="connsiteX23" fmla="*/ 2723008 w 5264290"/>
                <a:gd name="connsiteY23" fmla="*/ 20191 h 747096"/>
                <a:gd name="connsiteX24" fmla="*/ 2858581 w 5264290"/>
                <a:gd name="connsiteY24" fmla="*/ 17307 h 747096"/>
                <a:gd name="connsiteX25" fmla="*/ 2985501 w 5264290"/>
                <a:gd name="connsiteY25" fmla="*/ 14422 h 747096"/>
                <a:gd name="connsiteX26" fmla="*/ 3115306 w 5264290"/>
                <a:gd name="connsiteY26" fmla="*/ 11538 h 747096"/>
                <a:gd name="connsiteX27" fmla="*/ 3294147 w 5264290"/>
                <a:gd name="connsiteY27" fmla="*/ 8653 h 747096"/>
                <a:gd name="connsiteX28" fmla="*/ 3464335 w 5264290"/>
                <a:gd name="connsiteY28" fmla="*/ 8653 h 747096"/>
                <a:gd name="connsiteX29" fmla="*/ 3680676 w 5264290"/>
                <a:gd name="connsiteY29" fmla="*/ 11537 h 747096"/>
                <a:gd name="connsiteX30" fmla="*/ 5264290 w 5264290"/>
                <a:gd name="connsiteY30" fmla="*/ 0 h 747096"/>
                <a:gd name="connsiteX31" fmla="*/ 5264290 w 5264290"/>
                <a:gd name="connsiteY31" fmla="*/ 744212 h 747096"/>
                <a:gd name="connsiteX32" fmla="*/ 3135498 w 5264290"/>
                <a:gd name="connsiteY32" fmla="*/ 747096 h 747096"/>
                <a:gd name="connsiteX33" fmla="*/ 2910503 w 5264290"/>
                <a:gd name="connsiteY33" fmla="*/ 747096 h 747096"/>
                <a:gd name="connsiteX34" fmla="*/ 2835505 w 5264290"/>
                <a:gd name="connsiteY34" fmla="*/ 747096 h 747096"/>
                <a:gd name="connsiteX35" fmla="*/ 2509552 w 5264290"/>
                <a:gd name="connsiteY35" fmla="*/ 741327 h 747096"/>
                <a:gd name="connsiteX36" fmla="*/ 2414362 w 5264290"/>
                <a:gd name="connsiteY36" fmla="*/ 735558 h 747096"/>
                <a:gd name="connsiteX37" fmla="*/ 2324941 w 5264290"/>
                <a:gd name="connsiteY37" fmla="*/ 729789 h 747096"/>
                <a:gd name="connsiteX38" fmla="*/ 2221098 w 5264290"/>
                <a:gd name="connsiteY38" fmla="*/ 724020 h 747096"/>
                <a:gd name="connsiteX39" fmla="*/ 2033602 w 5264290"/>
                <a:gd name="connsiteY39" fmla="*/ 706713 h 747096"/>
                <a:gd name="connsiteX40" fmla="*/ 1840338 w 5264290"/>
                <a:gd name="connsiteY40" fmla="*/ 686521 h 747096"/>
                <a:gd name="connsiteX41" fmla="*/ 1655727 w 5264290"/>
                <a:gd name="connsiteY41" fmla="*/ 669213 h 747096"/>
                <a:gd name="connsiteX42" fmla="*/ 1471116 w 5264290"/>
                <a:gd name="connsiteY42" fmla="*/ 649022 h 747096"/>
                <a:gd name="connsiteX43" fmla="*/ 1277852 w 5264290"/>
                <a:gd name="connsiteY43" fmla="*/ 631714 h 747096"/>
                <a:gd name="connsiteX44" fmla="*/ 1021128 w 5264290"/>
                <a:gd name="connsiteY44" fmla="*/ 602869 h 747096"/>
                <a:gd name="connsiteX45" fmla="*/ 496141 w 5264290"/>
                <a:gd name="connsiteY45" fmla="*/ 522102 h 747096"/>
                <a:gd name="connsiteX46" fmla="*/ 331722 w 5264290"/>
                <a:gd name="connsiteY46" fmla="*/ 496141 h 747096"/>
                <a:gd name="connsiteX47" fmla="*/ 135573 w 5264290"/>
                <a:gd name="connsiteY47" fmla="*/ 455757 h 747096"/>
                <a:gd name="connsiteX48" fmla="*/ 0 w 5264290"/>
                <a:gd name="connsiteY48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406720 w 5264290"/>
                <a:gd name="connsiteY7" fmla="*/ 242301 h 747096"/>
                <a:gd name="connsiteX8" fmla="*/ 611523 w 5264290"/>
                <a:gd name="connsiteY8" fmla="*/ 178841 h 747096"/>
                <a:gd name="connsiteX9" fmla="*/ 689405 w 5264290"/>
                <a:gd name="connsiteY9" fmla="*/ 161534 h 747096"/>
                <a:gd name="connsiteX10" fmla="*/ 761519 w 5264290"/>
                <a:gd name="connsiteY10" fmla="*/ 147111 h 747096"/>
                <a:gd name="connsiteX11" fmla="*/ 819210 w 5264290"/>
                <a:gd name="connsiteY11" fmla="*/ 138458 h 747096"/>
                <a:gd name="connsiteX12" fmla="*/ 911515 w 5264290"/>
                <a:gd name="connsiteY12" fmla="*/ 124035 h 747096"/>
                <a:gd name="connsiteX13" fmla="*/ 1003821 w 5264290"/>
                <a:gd name="connsiteY13" fmla="*/ 112497 h 747096"/>
                <a:gd name="connsiteX14" fmla="*/ 1078819 w 5264290"/>
                <a:gd name="connsiteY14" fmla="*/ 103843 h 747096"/>
                <a:gd name="connsiteX15" fmla="*/ 1145163 w 5264290"/>
                <a:gd name="connsiteY15" fmla="*/ 95189 h 747096"/>
                <a:gd name="connsiteX16" fmla="*/ 1243238 w 5264290"/>
                <a:gd name="connsiteY16" fmla="*/ 86536 h 747096"/>
                <a:gd name="connsiteX17" fmla="*/ 1375927 w 5264290"/>
                <a:gd name="connsiteY17" fmla="*/ 77882 h 747096"/>
                <a:gd name="connsiteX18" fmla="*/ 1574960 w 5264290"/>
                <a:gd name="connsiteY18" fmla="*/ 63460 h 747096"/>
                <a:gd name="connsiteX19" fmla="*/ 1794185 w 5264290"/>
                <a:gd name="connsiteY19" fmla="*/ 54806 h 747096"/>
                <a:gd name="connsiteX20" fmla="*/ 1996103 w 5264290"/>
                <a:gd name="connsiteY20" fmla="*/ 43268 h 747096"/>
                <a:gd name="connsiteX21" fmla="*/ 2172060 w 5264290"/>
                <a:gd name="connsiteY21" fmla="*/ 34614 h 747096"/>
                <a:gd name="connsiteX22" fmla="*/ 2399939 w 5264290"/>
                <a:gd name="connsiteY22" fmla="*/ 25960 h 747096"/>
                <a:gd name="connsiteX23" fmla="*/ 2723008 w 5264290"/>
                <a:gd name="connsiteY23" fmla="*/ 20191 h 747096"/>
                <a:gd name="connsiteX24" fmla="*/ 2858581 w 5264290"/>
                <a:gd name="connsiteY24" fmla="*/ 17307 h 747096"/>
                <a:gd name="connsiteX25" fmla="*/ 2985501 w 5264290"/>
                <a:gd name="connsiteY25" fmla="*/ 14422 h 747096"/>
                <a:gd name="connsiteX26" fmla="*/ 3115306 w 5264290"/>
                <a:gd name="connsiteY26" fmla="*/ 11538 h 747096"/>
                <a:gd name="connsiteX27" fmla="*/ 3294147 w 5264290"/>
                <a:gd name="connsiteY27" fmla="*/ 8653 h 747096"/>
                <a:gd name="connsiteX28" fmla="*/ 3464335 w 5264290"/>
                <a:gd name="connsiteY28" fmla="*/ 8653 h 747096"/>
                <a:gd name="connsiteX29" fmla="*/ 3680676 w 5264290"/>
                <a:gd name="connsiteY29" fmla="*/ 11537 h 747096"/>
                <a:gd name="connsiteX30" fmla="*/ 5264290 w 5264290"/>
                <a:gd name="connsiteY30" fmla="*/ 0 h 747096"/>
                <a:gd name="connsiteX31" fmla="*/ 5264290 w 5264290"/>
                <a:gd name="connsiteY31" fmla="*/ 744212 h 747096"/>
                <a:gd name="connsiteX32" fmla="*/ 3135498 w 5264290"/>
                <a:gd name="connsiteY32" fmla="*/ 747096 h 747096"/>
                <a:gd name="connsiteX33" fmla="*/ 2910503 w 5264290"/>
                <a:gd name="connsiteY33" fmla="*/ 747096 h 747096"/>
                <a:gd name="connsiteX34" fmla="*/ 2835505 w 5264290"/>
                <a:gd name="connsiteY34" fmla="*/ 747096 h 747096"/>
                <a:gd name="connsiteX35" fmla="*/ 2509552 w 5264290"/>
                <a:gd name="connsiteY35" fmla="*/ 741327 h 747096"/>
                <a:gd name="connsiteX36" fmla="*/ 2414362 w 5264290"/>
                <a:gd name="connsiteY36" fmla="*/ 735558 h 747096"/>
                <a:gd name="connsiteX37" fmla="*/ 2324941 w 5264290"/>
                <a:gd name="connsiteY37" fmla="*/ 729789 h 747096"/>
                <a:gd name="connsiteX38" fmla="*/ 2221098 w 5264290"/>
                <a:gd name="connsiteY38" fmla="*/ 724020 h 747096"/>
                <a:gd name="connsiteX39" fmla="*/ 2033602 w 5264290"/>
                <a:gd name="connsiteY39" fmla="*/ 706713 h 747096"/>
                <a:gd name="connsiteX40" fmla="*/ 1840338 w 5264290"/>
                <a:gd name="connsiteY40" fmla="*/ 686521 h 747096"/>
                <a:gd name="connsiteX41" fmla="*/ 1655727 w 5264290"/>
                <a:gd name="connsiteY41" fmla="*/ 669213 h 747096"/>
                <a:gd name="connsiteX42" fmla="*/ 1471116 w 5264290"/>
                <a:gd name="connsiteY42" fmla="*/ 649022 h 747096"/>
                <a:gd name="connsiteX43" fmla="*/ 1277852 w 5264290"/>
                <a:gd name="connsiteY43" fmla="*/ 631714 h 747096"/>
                <a:gd name="connsiteX44" fmla="*/ 1021128 w 5264290"/>
                <a:gd name="connsiteY44" fmla="*/ 602869 h 747096"/>
                <a:gd name="connsiteX45" fmla="*/ 496141 w 5264290"/>
                <a:gd name="connsiteY45" fmla="*/ 522102 h 747096"/>
                <a:gd name="connsiteX46" fmla="*/ 331722 w 5264290"/>
                <a:gd name="connsiteY46" fmla="*/ 496141 h 747096"/>
                <a:gd name="connsiteX47" fmla="*/ 135573 w 5264290"/>
                <a:gd name="connsiteY47" fmla="*/ 455757 h 747096"/>
                <a:gd name="connsiteX48" fmla="*/ 0 w 5264290"/>
                <a:gd name="connsiteY48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406720 w 5264290"/>
                <a:gd name="connsiteY7" fmla="*/ 242301 h 747096"/>
                <a:gd name="connsiteX8" fmla="*/ 602870 w 5264290"/>
                <a:gd name="connsiteY8" fmla="*/ 187495 h 747096"/>
                <a:gd name="connsiteX9" fmla="*/ 689405 w 5264290"/>
                <a:gd name="connsiteY9" fmla="*/ 161534 h 747096"/>
                <a:gd name="connsiteX10" fmla="*/ 761519 w 5264290"/>
                <a:gd name="connsiteY10" fmla="*/ 147111 h 747096"/>
                <a:gd name="connsiteX11" fmla="*/ 819210 w 5264290"/>
                <a:gd name="connsiteY11" fmla="*/ 138458 h 747096"/>
                <a:gd name="connsiteX12" fmla="*/ 911515 w 5264290"/>
                <a:gd name="connsiteY12" fmla="*/ 124035 h 747096"/>
                <a:gd name="connsiteX13" fmla="*/ 1003821 w 5264290"/>
                <a:gd name="connsiteY13" fmla="*/ 112497 h 747096"/>
                <a:gd name="connsiteX14" fmla="*/ 1078819 w 5264290"/>
                <a:gd name="connsiteY14" fmla="*/ 103843 h 747096"/>
                <a:gd name="connsiteX15" fmla="*/ 1145163 w 5264290"/>
                <a:gd name="connsiteY15" fmla="*/ 95189 h 747096"/>
                <a:gd name="connsiteX16" fmla="*/ 1243238 w 5264290"/>
                <a:gd name="connsiteY16" fmla="*/ 86536 h 747096"/>
                <a:gd name="connsiteX17" fmla="*/ 1375927 w 5264290"/>
                <a:gd name="connsiteY17" fmla="*/ 77882 h 747096"/>
                <a:gd name="connsiteX18" fmla="*/ 1574960 w 5264290"/>
                <a:gd name="connsiteY18" fmla="*/ 63460 h 747096"/>
                <a:gd name="connsiteX19" fmla="*/ 1794185 w 5264290"/>
                <a:gd name="connsiteY19" fmla="*/ 54806 h 747096"/>
                <a:gd name="connsiteX20" fmla="*/ 1996103 w 5264290"/>
                <a:gd name="connsiteY20" fmla="*/ 43268 h 747096"/>
                <a:gd name="connsiteX21" fmla="*/ 2172060 w 5264290"/>
                <a:gd name="connsiteY21" fmla="*/ 34614 h 747096"/>
                <a:gd name="connsiteX22" fmla="*/ 2399939 w 5264290"/>
                <a:gd name="connsiteY22" fmla="*/ 25960 h 747096"/>
                <a:gd name="connsiteX23" fmla="*/ 2723008 w 5264290"/>
                <a:gd name="connsiteY23" fmla="*/ 20191 h 747096"/>
                <a:gd name="connsiteX24" fmla="*/ 2858581 w 5264290"/>
                <a:gd name="connsiteY24" fmla="*/ 17307 h 747096"/>
                <a:gd name="connsiteX25" fmla="*/ 2985501 w 5264290"/>
                <a:gd name="connsiteY25" fmla="*/ 14422 h 747096"/>
                <a:gd name="connsiteX26" fmla="*/ 3115306 w 5264290"/>
                <a:gd name="connsiteY26" fmla="*/ 11538 h 747096"/>
                <a:gd name="connsiteX27" fmla="*/ 3294147 w 5264290"/>
                <a:gd name="connsiteY27" fmla="*/ 8653 h 747096"/>
                <a:gd name="connsiteX28" fmla="*/ 3464335 w 5264290"/>
                <a:gd name="connsiteY28" fmla="*/ 8653 h 747096"/>
                <a:gd name="connsiteX29" fmla="*/ 3680676 w 5264290"/>
                <a:gd name="connsiteY29" fmla="*/ 11537 h 747096"/>
                <a:gd name="connsiteX30" fmla="*/ 5264290 w 5264290"/>
                <a:gd name="connsiteY30" fmla="*/ 0 h 747096"/>
                <a:gd name="connsiteX31" fmla="*/ 5264290 w 5264290"/>
                <a:gd name="connsiteY31" fmla="*/ 744212 h 747096"/>
                <a:gd name="connsiteX32" fmla="*/ 3135498 w 5264290"/>
                <a:gd name="connsiteY32" fmla="*/ 747096 h 747096"/>
                <a:gd name="connsiteX33" fmla="*/ 2910503 w 5264290"/>
                <a:gd name="connsiteY33" fmla="*/ 747096 h 747096"/>
                <a:gd name="connsiteX34" fmla="*/ 2835505 w 5264290"/>
                <a:gd name="connsiteY34" fmla="*/ 747096 h 747096"/>
                <a:gd name="connsiteX35" fmla="*/ 2509552 w 5264290"/>
                <a:gd name="connsiteY35" fmla="*/ 741327 h 747096"/>
                <a:gd name="connsiteX36" fmla="*/ 2414362 w 5264290"/>
                <a:gd name="connsiteY36" fmla="*/ 735558 h 747096"/>
                <a:gd name="connsiteX37" fmla="*/ 2324941 w 5264290"/>
                <a:gd name="connsiteY37" fmla="*/ 729789 h 747096"/>
                <a:gd name="connsiteX38" fmla="*/ 2221098 w 5264290"/>
                <a:gd name="connsiteY38" fmla="*/ 724020 h 747096"/>
                <a:gd name="connsiteX39" fmla="*/ 2033602 w 5264290"/>
                <a:gd name="connsiteY39" fmla="*/ 706713 h 747096"/>
                <a:gd name="connsiteX40" fmla="*/ 1840338 w 5264290"/>
                <a:gd name="connsiteY40" fmla="*/ 686521 h 747096"/>
                <a:gd name="connsiteX41" fmla="*/ 1655727 w 5264290"/>
                <a:gd name="connsiteY41" fmla="*/ 669213 h 747096"/>
                <a:gd name="connsiteX42" fmla="*/ 1471116 w 5264290"/>
                <a:gd name="connsiteY42" fmla="*/ 649022 h 747096"/>
                <a:gd name="connsiteX43" fmla="*/ 1277852 w 5264290"/>
                <a:gd name="connsiteY43" fmla="*/ 631714 h 747096"/>
                <a:gd name="connsiteX44" fmla="*/ 1021128 w 5264290"/>
                <a:gd name="connsiteY44" fmla="*/ 602869 h 747096"/>
                <a:gd name="connsiteX45" fmla="*/ 496141 w 5264290"/>
                <a:gd name="connsiteY45" fmla="*/ 522102 h 747096"/>
                <a:gd name="connsiteX46" fmla="*/ 331722 w 5264290"/>
                <a:gd name="connsiteY46" fmla="*/ 496141 h 747096"/>
                <a:gd name="connsiteX47" fmla="*/ 135573 w 5264290"/>
                <a:gd name="connsiteY47" fmla="*/ 455757 h 747096"/>
                <a:gd name="connsiteX48" fmla="*/ 0 w 5264290"/>
                <a:gd name="connsiteY48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406720 w 5264290"/>
                <a:gd name="connsiteY7" fmla="*/ 242301 h 747096"/>
                <a:gd name="connsiteX8" fmla="*/ 602870 w 5264290"/>
                <a:gd name="connsiteY8" fmla="*/ 187495 h 747096"/>
                <a:gd name="connsiteX9" fmla="*/ 689405 w 5264290"/>
                <a:gd name="connsiteY9" fmla="*/ 161534 h 747096"/>
                <a:gd name="connsiteX10" fmla="*/ 761519 w 5264290"/>
                <a:gd name="connsiteY10" fmla="*/ 147111 h 747096"/>
                <a:gd name="connsiteX11" fmla="*/ 819210 w 5264290"/>
                <a:gd name="connsiteY11" fmla="*/ 138458 h 747096"/>
                <a:gd name="connsiteX12" fmla="*/ 911515 w 5264290"/>
                <a:gd name="connsiteY12" fmla="*/ 124035 h 747096"/>
                <a:gd name="connsiteX13" fmla="*/ 1003821 w 5264290"/>
                <a:gd name="connsiteY13" fmla="*/ 112497 h 747096"/>
                <a:gd name="connsiteX14" fmla="*/ 1078819 w 5264290"/>
                <a:gd name="connsiteY14" fmla="*/ 103843 h 747096"/>
                <a:gd name="connsiteX15" fmla="*/ 1145163 w 5264290"/>
                <a:gd name="connsiteY15" fmla="*/ 95189 h 747096"/>
                <a:gd name="connsiteX16" fmla="*/ 1243238 w 5264290"/>
                <a:gd name="connsiteY16" fmla="*/ 86536 h 747096"/>
                <a:gd name="connsiteX17" fmla="*/ 1375927 w 5264290"/>
                <a:gd name="connsiteY17" fmla="*/ 77882 h 747096"/>
                <a:gd name="connsiteX18" fmla="*/ 1574960 w 5264290"/>
                <a:gd name="connsiteY18" fmla="*/ 63460 h 747096"/>
                <a:gd name="connsiteX19" fmla="*/ 1794185 w 5264290"/>
                <a:gd name="connsiteY19" fmla="*/ 54806 h 747096"/>
                <a:gd name="connsiteX20" fmla="*/ 1996103 w 5264290"/>
                <a:gd name="connsiteY20" fmla="*/ 43268 h 747096"/>
                <a:gd name="connsiteX21" fmla="*/ 2172060 w 5264290"/>
                <a:gd name="connsiteY21" fmla="*/ 34614 h 747096"/>
                <a:gd name="connsiteX22" fmla="*/ 2399939 w 5264290"/>
                <a:gd name="connsiteY22" fmla="*/ 25960 h 747096"/>
                <a:gd name="connsiteX23" fmla="*/ 2723008 w 5264290"/>
                <a:gd name="connsiteY23" fmla="*/ 20191 h 747096"/>
                <a:gd name="connsiteX24" fmla="*/ 2858581 w 5264290"/>
                <a:gd name="connsiteY24" fmla="*/ 17307 h 747096"/>
                <a:gd name="connsiteX25" fmla="*/ 2985501 w 5264290"/>
                <a:gd name="connsiteY25" fmla="*/ 14422 h 747096"/>
                <a:gd name="connsiteX26" fmla="*/ 3115306 w 5264290"/>
                <a:gd name="connsiteY26" fmla="*/ 11538 h 747096"/>
                <a:gd name="connsiteX27" fmla="*/ 3294147 w 5264290"/>
                <a:gd name="connsiteY27" fmla="*/ 8653 h 747096"/>
                <a:gd name="connsiteX28" fmla="*/ 3464335 w 5264290"/>
                <a:gd name="connsiteY28" fmla="*/ 8653 h 747096"/>
                <a:gd name="connsiteX29" fmla="*/ 3680676 w 5264290"/>
                <a:gd name="connsiteY29" fmla="*/ 11537 h 747096"/>
                <a:gd name="connsiteX30" fmla="*/ 5264290 w 5264290"/>
                <a:gd name="connsiteY30" fmla="*/ 0 h 747096"/>
                <a:gd name="connsiteX31" fmla="*/ 5264290 w 5264290"/>
                <a:gd name="connsiteY31" fmla="*/ 744212 h 747096"/>
                <a:gd name="connsiteX32" fmla="*/ 3135498 w 5264290"/>
                <a:gd name="connsiteY32" fmla="*/ 747096 h 747096"/>
                <a:gd name="connsiteX33" fmla="*/ 2910503 w 5264290"/>
                <a:gd name="connsiteY33" fmla="*/ 747096 h 747096"/>
                <a:gd name="connsiteX34" fmla="*/ 2835505 w 5264290"/>
                <a:gd name="connsiteY34" fmla="*/ 747096 h 747096"/>
                <a:gd name="connsiteX35" fmla="*/ 2509552 w 5264290"/>
                <a:gd name="connsiteY35" fmla="*/ 741327 h 747096"/>
                <a:gd name="connsiteX36" fmla="*/ 2414362 w 5264290"/>
                <a:gd name="connsiteY36" fmla="*/ 735558 h 747096"/>
                <a:gd name="connsiteX37" fmla="*/ 2324941 w 5264290"/>
                <a:gd name="connsiteY37" fmla="*/ 729789 h 747096"/>
                <a:gd name="connsiteX38" fmla="*/ 2221098 w 5264290"/>
                <a:gd name="connsiteY38" fmla="*/ 724020 h 747096"/>
                <a:gd name="connsiteX39" fmla="*/ 2033602 w 5264290"/>
                <a:gd name="connsiteY39" fmla="*/ 706713 h 747096"/>
                <a:gd name="connsiteX40" fmla="*/ 1840338 w 5264290"/>
                <a:gd name="connsiteY40" fmla="*/ 686521 h 747096"/>
                <a:gd name="connsiteX41" fmla="*/ 1655727 w 5264290"/>
                <a:gd name="connsiteY41" fmla="*/ 669213 h 747096"/>
                <a:gd name="connsiteX42" fmla="*/ 1471116 w 5264290"/>
                <a:gd name="connsiteY42" fmla="*/ 649022 h 747096"/>
                <a:gd name="connsiteX43" fmla="*/ 1277852 w 5264290"/>
                <a:gd name="connsiteY43" fmla="*/ 631714 h 747096"/>
                <a:gd name="connsiteX44" fmla="*/ 1021128 w 5264290"/>
                <a:gd name="connsiteY44" fmla="*/ 602869 h 747096"/>
                <a:gd name="connsiteX45" fmla="*/ 496141 w 5264290"/>
                <a:gd name="connsiteY45" fmla="*/ 522102 h 747096"/>
                <a:gd name="connsiteX46" fmla="*/ 331722 w 5264290"/>
                <a:gd name="connsiteY46" fmla="*/ 496141 h 747096"/>
                <a:gd name="connsiteX47" fmla="*/ 135573 w 5264290"/>
                <a:gd name="connsiteY47" fmla="*/ 455757 h 747096"/>
                <a:gd name="connsiteX48" fmla="*/ 0 w 5264290"/>
                <a:gd name="connsiteY48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406720 w 5264290"/>
                <a:gd name="connsiteY7" fmla="*/ 242301 h 747096"/>
                <a:gd name="connsiteX8" fmla="*/ 602870 w 5264290"/>
                <a:gd name="connsiteY8" fmla="*/ 187495 h 747096"/>
                <a:gd name="connsiteX9" fmla="*/ 689405 w 5264290"/>
                <a:gd name="connsiteY9" fmla="*/ 161534 h 747096"/>
                <a:gd name="connsiteX10" fmla="*/ 761519 w 5264290"/>
                <a:gd name="connsiteY10" fmla="*/ 147111 h 747096"/>
                <a:gd name="connsiteX11" fmla="*/ 819210 w 5264290"/>
                <a:gd name="connsiteY11" fmla="*/ 138458 h 747096"/>
                <a:gd name="connsiteX12" fmla="*/ 911515 w 5264290"/>
                <a:gd name="connsiteY12" fmla="*/ 124035 h 747096"/>
                <a:gd name="connsiteX13" fmla="*/ 1003821 w 5264290"/>
                <a:gd name="connsiteY13" fmla="*/ 112497 h 747096"/>
                <a:gd name="connsiteX14" fmla="*/ 1078819 w 5264290"/>
                <a:gd name="connsiteY14" fmla="*/ 103843 h 747096"/>
                <a:gd name="connsiteX15" fmla="*/ 1145163 w 5264290"/>
                <a:gd name="connsiteY15" fmla="*/ 95189 h 747096"/>
                <a:gd name="connsiteX16" fmla="*/ 1243238 w 5264290"/>
                <a:gd name="connsiteY16" fmla="*/ 86536 h 747096"/>
                <a:gd name="connsiteX17" fmla="*/ 1375927 w 5264290"/>
                <a:gd name="connsiteY17" fmla="*/ 77882 h 747096"/>
                <a:gd name="connsiteX18" fmla="*/ 1574960 w 5264290"/>
                <a:gd name="connsiteY18" fmla="*/ 63460 h 747096"/>
                <a:gd name="connsiteX19" fmla="*/ 1794185 w 5264290"/>
                <a:gd name="connsiteY19" fmla="*/ 54806 h 747096"/>
                <a:gd name="connsiteX20" fmla="*/ 1996103 w 5264290"/>
                <a:gd name="connsiteY20" fmla="*/ 43268 h 747096"/>
                <a:gd name="connsiteX21" fmla="*/ 2172060 w 5264290"/>
                <a:gd name="connsiteY21" fmla="*/ 34614 h 747096"/>
                <a:gd name="connsiteX22" fmla="*/ 2399939 w 5264290"/>
                <a:gd name="connsiteY22" fmla="*/ 25960 h 747096"/>
                <a:gd name="connsiteX23" fmla="*/ 2723008 w 5264290"/>
                <a:gd name="connsiteY23" fmla="*/ 20191 h 747096"/>
                <a:gd name="connsiteX24" fmla="*/ 2858581 w 5264290"/>
                <a:gd name="connsiteY24" fmla="*/ 17307 h 747096"/>
                <a:gd name="connsiteX25" fmla="*/ 2985501 w 5264290"/>
                <a:gd name="connsiteY25" fmla="*/ 14422 h 747096"/>
                <a:gd name="connsiteX26" fmla="*/ 3115306 w 5264290"/>
                <a:gd name="connsiteY26" fmla="*/ 11538 h 747096"/>
                <a:gd name="connsiteX27" fmla="*/ 3294147 w 5264290"/>
                <a:gd name="connsiteY27" fmla="*/ 8653 h 747096"/>
                <a:gd name="connsiteX28" fmla="*/ 3464335 w 5264290"/>
                <a:gd name="connsiteY28" fmla="*/ 8653 h 747096"/>
                <a:gd name="connsiteX29" fmla="*/ 3680676 w 5264290"/>
                <a:gd name="connsiteY29" fmla="*/ 11537 h 747096"/>
                <a:gd name="connsiteX30" fmla="*/ 5264290 w 5264290"/>
                <a:gd name="connsiteY30" fmla="*/ 0 h 747096"/>
                <a:gd name="connsiteX31" fmla="*/ 5264290 w 5264290"/>
                <a:gd name="connsiteY31" fmla="*/ 744212 h 747096"/>
                <a:gd name="connsiteX32" fmla="*/ 3135498 w 5264290"/>
                <a:gd name="connsiteY32" fmla="*/ 747096 h 747096"/>
                <a:gd name="connsiteX33" fmla="*/ 2910503 w 5264290"/>
                <a:gd name="connsiteY33" fmla="*/ 747096 h 747096"/>
                <a:gd name="connsiteX34" fmla="*/ 2835505 w 5264290"/>
                <a:gd name="connsiteY34" fmla="*/ 747096 h 747096"/>
                <a:gd name="connsiteX35" fmla="*/ 2509552 w 5264290"/>
                <a:gd name="connsiteY35" fmla="*/ 741327 h 747096"/>
                <a:gd name="connsiteX36" fmla="*/ 2414362 w 5264290"/>
                <a:gd name="connsiteY36" fmla="*/ 735558 h 747096"/>
                <a:gd name="connsiteX37" fmla="*/ 2324941 w 5264290"/>
                <a:gd name="connsiteY37" fmla="*/ 729789 h 747096"/>
                <a:gd name="connsiteX38" fmla="*/ 2221098 w 5264290"/>
                <a:gd name="connsiteY38" fmla="*/ 724020 h 747096"/>
                <a:gd name="connsiteX39" fmla="*/ 2033602 w 5264290"/>
                <a:gd name="connsiteY39" fmla="*/ 706713 h 747096"/>
                <a:gd name="connsiteX40" fmla="*/ 1840338 w 5264290"/>
                <a:gd name="connsiteY40" fmla="*/ 686521 h 747096"/>
                <a:gd name="connsiteX41" fmla="*/ 1655727 w 5264290"/>
                <a:gd name="connsiteY41" fmla="*/ 669213 h 747096"/>
                <a:gd name="connsiteX42" fmla="*/ 1471116 w 5264290"/>
                <a:gd name="connsiteY42" fmla="*/ 649022 h 747096"/>
                <a:gd name="connsiteX43" fmla="*/ 1277852 w 5264290"/>
                <a:gd name="connsiteY43" fmla="*/ 631714 h 747096"/>
                <a:gd name="connsiteX44" fmla="*/ 1021128 w 5264290"/>
                <a:gd name="connsiteY44" fmla="*/ 602869 h 747096"/>
                <a:gd name="connsiteX45" fmla="*/ 496141 w 5264290"/>
                <a:gd name="connsiteY45" fmla="*/ 522102 h 747096"/>
                <a:gd name="connsiteX46" fmla="*/ 331722 w 5264290"/>
                <a:gd name="connsiteY46" fmla="*/ 496141 h 747096"/>
                <a:gd name="connsiteX47" fmla="*/ 135573 w 5264290"/>
                <a:gd name="connsiteY47" fmla="*/ 455757 h 747096"/>
                <a:gd name="connsiteX48" fmla="*/ 0 w 5264290"/>
                <a:gd name="connsiteY48" fmla="*/ 421143 h 747096"/>
                <a:gd name="connsiteX0" fmla="*/ 0 w 5264290"/>
                <a:gd name="connsiteY0" fmla="*/ 421143 h 747096"/>
                <a:gd name="connsiteX1" fmla="*/ 57691 w 5264290"/>
                <a:gd name="connsiteY1" fmla="*/ 386528 h 747096"/>
                <a:gd name="connsiteX2" fmla="*/ 92305 w 5264290"/>
                <a:gd name="connsiteY2" fmla="*/ 369221 h 747096"/>
                <a:gd name="connsiteX3" fmla="*/ 129804 w 5264290"/>
                <a:gd name="connsiteY3" fmla="*/ 349029 h 747096"/>
                <a:gd name="connsiteX4" fmla="*/ 164419 w 5264290"/>
                <a:gd name="connsiteY4" fmla="*/ 331722 h 747096"/>
                <a:gd name="connsiteX5" fmla="*/ 193264 w 5264290"/>
                <a:gd name="connsiteY5" fmla="*/ 317299 h 747096"/>
                <a:gd name="connsiteX6" fmla="*/ 227879 w 5264290"/>
                <a:gd name="connsiteY6" fmla="*/ 302877 h 747096"/>
                <a:gd name="connsiteX7" fmla="*/ 406720 w 5264290"/>
                <a:gd name="connsiteY7" fmla="*/ 242301 h 747096"/>
                <a:gd name="connsiteX8" fmla="*/ 602870 w 5264290"/>
                <a:gd name="connsiteY8" fmla="*/ 181726 h 747096"/>
                <a:gd name="connsiteX9" fmla="*/ 689405 w 5264290"/>
                <a:gd name="connsiteY9" fmla="*/ 161534 h 747096"/>
                <a:gd name="connsiteX10" fmla="*/ 761519 w 5264290"/>
                <a:gd name="connsiteY10" fmla="*/ 147111 h 747096"/>
                <a:gd name="connsiteX11" fmla="*/ 819210 w 5264290"/>
                <a:gd name="connsiteY11" fmla="*/ 138458 h 747096"/>
                <a:gd name="connsiteX12" fmla="*/ 911515 w 5264290"/>
                <a:gd name="connsiteY12" fmla="*/ 124035 h 747096"/>
                <a:gd name="connsiteX13" fmla="*/ 1003821 w 5264290"/>
                <a:gd name="connsiteY13" fmla="*/ 112497 h 747096"/>
                <a:gd name="connsiteX14" fmla="*/ 1078819 w 5264290"/>
                <a:gd name="connsiteY14" fmla="*/ 103843 h 747096"/>
                <a:gd name="connsiteX15" fmla="*/ 1145163 w 5264290"/>
                <a:gd name="connsiteY15" fmla="*/ 95189 h 747096"/>
                <a:gd name="connsiteX16" fmla="*/ 1243238 w 5264290"/>
                <a:gd name="connsiteY16" fmla="*/ 86536 h 747096"/>
                <a:gd name="connsiteX17" fmla="*/ 1375927 w 5264290"/>
                <a:gd name="connsiteY17" fmla="*/ 77882 h 747096"/>
                <a:gd name="connsiteX18" fmla="*/ 1574960 w 5264290"/>
                <a:gd name="connsiteY18" fmla="*/ 63460 h 747096"/>
                <a:gd name="connsiteX19" fmla="*/ 1794185 w 5264290"/>
                <a:gd name="connsiteY19" fmla="*/ 54806 h 747096"/>
                <a:gd name="connsiteX20" fmla="*/ 1996103 w 5264290"/>
                <a:gd name="connsiteY20" fmla="*/ 43268 h 747096"/>
                <a:gd name="connsiteX21" fmla="*/ 2172060 w 5264290"/>
                <a:gd name="connsiteY21" fmla="*/ 34614 h 747096"/>
                <a:gd name="connsiteX22" fmla="*/ 2399939 w 5264290"/>
                <a:gd name="connsiteY22" fmla="*/ 25960 h 747096"/>
                <a:gd name="connsiteX23" fmla="*/ 2723008 w 5264290"/>
                <a:gd name="connsiteY23" fmla="*/ 20191 h 747096"/>
                <a:gd name="connsiteX24" fmla="*/ 2858581 w 5264290"/>
                <a:gd name="connsiteY24" fmla="*/ 17307 h 747096"/>
                <a:gd name="connsiteX25" fmla="*/ 2985501 w 5264290"/>
                <a:gd name="connsiteY25" fmla="*/ 14422 h 747096"/>
                <a:gd name="connsiteX26" fmla="*/ 3115306 w 5264290"/>
                <a:gd name="connsiteY26" fmla="*/ 11538 h 747096"/>
                <a:gd name="connsiteX27" fmla="*/ 3294147 w 5264290"/>
                <a:gd name="connsiteY27" fmla="*/ 8653 h 747096"/>
                <a:gd name="connsiteX28" fmla="*/ 3464335 w 5264290"/>
                <a:gd name="connsiteY28" fmla="*/ 8653 h 747096"/>
                <a:gd name="connsiteX29" fmla="*/ 3680676 w 5264290"/>
                <a:gd name="connsiteY29" fmla="*/ 11537 h 747096"/>
                <a:gd name="connsiteX30" fmla="*/ 5264290 w 5264290"/>
                <a:gd name="connsiteY30" fmla="*/ 0 h 747096"/>
                <a:gd name="connsiteX31" fmla="*/ 5264290 w 5264290"/>
                <a:gd name="connsiteY31" fmla="*/ 744212 h 747096"/>
                <a:gd name="connsiteX32" fmla="*/ 3135498 w 5264290"/>
                <a:gd name="connsiteY32" fmla="*/ 747096 h 747096"/>
                <a:gd name="connsiteX33" fmla="*/ 2910503 w 5264290"/>
                <a:gd name="connsiteY33" fmla="*/ 747096 h 747096"/>
                <a:gd name="connsiteX34" fmla="*/ 2835505 w 5264290"/>
                <a:gd name="connsiteY34" fmla="*/ 747096 h 747096"/>
                <a:gd name="connsiteX35" fmla="*/ 2509552 w 5264290"/>
                <a:gd name="connsiteY35" fmla="*/ 741327 h 747096"/>
                <a:gd name="connsiteX36" fmla="*/ 2414362 w 5264290"/>
                <a:gd name="connsiteY36" fmla="*/ 735558 h 747096"/>
                <a:gd name="connsiteX37" fmla="*/ 2324941 w 5264290"/>
                <a:gd name="connsiteY37" fmla="*/ 729789 h 747096"/>
                <a:gd name="connsiteX38" fmla="*/ 2221098 w 5264290"/>
                <a:gd name="connsiteY38" fmla="*/ 724020 h 747096"/>
                <a:gd name="connsiteX39" fmla="*/ 2033602 w 5264290"/>
                <a:gd name="connsiteY39" fmla="*/ 706713 h 747096"/>
                <a:gd name="connsiteX40" fmla="*/ 1840338 w 5264290"/>
                <a:gd name="connsiteY40" fmla="*/ 686521 h 747096"/>
                <a:gd name="connsiteX41" fmla="*/ 1655727 w 5264290"/>
                <a:gd name="connsiteY41" fmla="*/ 669213 h 747096"/>
                <a:gd name="connsiteX42" fmla="*/ 1471116 w 5264290"/>
                <a:gd name="connsiteY42" fmla="*/ 649022 h 747096"/>
                <a:gd name="connsiteX43" fmla="*/ 1277852 w 5264290"/>
                <a:gd name="connsiteY43" fmla="*/ 631714 h 747096"/>
                <a:gd name="connsiteX44" fmla="*/ 1021128 w 5264290"/>
                <a:gd name="connsiteY44" fmla="*/ 602869 h 747096"/>
                <a:gd name="connsiteX45" fmla="*/ 496141 w 5264290"/>
                <a:gd name="connsiteY45" fmla="*/ 522102 h 747096"/>
                <a:gd name="connsiteX46" fmla="*/ 331722 w 5264290"/>
                <a:gd name="connsiteY46" fmla="*/ 496141 h 747096"/>
                <a:gd name="connsiteX47" fmla="*/ 135573 w 5264290"/>
                <a:gd name="connsiteY47" fmla="*/ 455757 h 747096"/>
                <a:gd name="connsiteX48" fmla="*/ 0 w 5264290"/>
                <a:gd name="connsiteY48" fmla="*/ 42114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8630 w 5306200"/>
                <a:gd name="connsiteY7" fmla="*/ 242301 h 747096"/>
                <a:gd name="connsiteX8" fmla="*/ 644780 w 5306200"/>
                <a:gd name="connsiteY8" fmla="*/ 181726 h 747096"/>
                <a:gd name="connsiteX9" fmla="*/ 731315 w 5306200"/>
                <a:gd name="connsiteY9" fmla="*/ 161534 h 747096"/>
                <a:gd name="connsiteX10" fmla="*/ 803429 w 5306200"/>
                <a:gd name="connsiteY10" fmla="*/ 147111 h 747096"/>
                <a:gd name="connsiteX11" fmla="*/ 861120 w 5306200"/>
                <a:gd name="connsiteY11" fmla="*/ 138458 h 747096"/>
                <a:gd name="connsiteX12" fmla="*/ 953425 w 5306200"/>
                <a:gd name="connsiteY12" fmla="*/ 124035 h 747096"/>
                <a:gd name="connsiteX13" fmla="*/ 1045731 w 5306200"/>
                <a:gd name="connsiteY13" fmla="*/ 112497 h 747096"/>
                <a:gd name="connsiteX14" fmla="*/ 1120729 w 5306200"/>
                <a:gd name="connsiteY14" fmla="*/ 103843 h 747096"/>
                <a:gd name="connsiteX15" fmla="*/ 1187073 w 5306200"/>
                <a:gd name="connsiteY15" fmla="*/ 95189 h 747096"/>
                <a:gd name="connsiteX16" fmla="*/ 1285148 w 5306200"/>
                <a:gd name="connsiteY16" fmla="*/ 86536 h 747096"/>
                <a:gd name="connsiteX17" fmla="*/ 1417837 w 5306200"/>
                <a:gd name="connsiteY17" fmla="*/ 77882 h 747096"/>
                <a:gd name="connsiteX18" fmla="*/ 1616870 w 5306200"/>
                <a:gd name="connsiteY18" fmla="*/ 63460 h 747096"/>
                <a:gd name="connsiteX19" fmla="*/ 1836095 w 5306200"/>
                <a:gd name="connsiteY19" fmla="*/ 54806 h 747096"/>
                <a:gd name="connsiteX20" fmla="*/ 2038013 w 5306200"/>
                <a:gd name="connsiteY20" fmla="*/ 43268 h 747096"/>
                <a:gd name="connsiteX21" fmla="*/ 2213970 w 5306200"/>
                <a:gd name="connsiteY21" fmla="*/ 34614 h 747096"/>
                <a:gd name="connsiteX22" fmla="*/ 2441849 w 5306200"/>
                <a:gd name="connsiteY22" fmla="*/ 25960 h 747096"/>
                <a:gd name="connsiteX23" fmla="*/ 2764918 w 5306200"/>
                <a:gd name="connsiteY23" fmla="*/ 20191 h 747096"/>
                <a:gd name="connsiteX24" fmla="*/ 2900491 w 5306200"/>
                <a:gd name="connsiteY24" fmla="*/ 17307 h 747096"/>
                <a:gd name="connsiteX25" fmla="*/ 3027411 w 5306200"/>
                <a:gd name="connsiteY25" fmla="*/ 14422 h 747096"/>
                <a:gd name="connsiteX26" fmla="*/ 3157216 w 5306200"/>
                <a:gd name="connsiteY26" fmla="*/ 11538 h 747096"/>
                <a:gd name="connsiteX27" fmla="*/ 3336057 w 5306200"/>
                <a:gd name="connsiteY27" fmla="*/ 8653 h 747096"/>
                <a:gd name="connsiteX28" fmla="*/ 3506245 w 5306200"/>
                <a:gd name="connsiteY28" fmla="*/ 8653 h 747096"/>
                <a:gd name="connsiteX29" fmla="*/ 3722586 w 5306200"/>
                <a:gd name="connsiteY29" fmla="*/ 11537 h 747096"/>
                <a:gd name="connsiteX30" fmla="*/ 5306200 w 5306200"/>
                <a:gd name="connsiteY30" fmla="*/ 0 h 747096"/>
                <a:gd name="connsiteX31" fmla="*/ 5306200 w 5306200"/>
                <a:gd name="connsiteY31" fmla="*/ 744212 h 747096"/>
                <a:gd name="connsiteX32" fmla="*/ 3177408 w 5306200"/>
                <a:gd name="connsiteY32" fmla="*/ 747096 h 747096"/>
                <a:gd name="connsiteX33" fmla="*/ 2952413 w 5306200"/>
                <a:gd name="connsiteY33" fmla="*/ 747096 h 747096"/>
                <a:gd name="connsiteX34" fmla="*/ 2877415 w 5306200"/>
                <a:gd name="connsiteY34" fmla="*/ 747096 h 747096"/>
                <a:gd name="connsiteX35" fmla="*/ 2551462 w 5306200"/>
                <a:gd name="connsiteY35" fmla="*/ 741327 h 747096"/>
                <a:gd name="connsiteX36" fmla="*/ 2456272 w 5306200"/>
                <a:gd name="connsiteY36" fmla="*/ 735558 h 747096"/>
                <a:gd name="connsiteX37" fmla="*/ 2366851 w 5306200"/>
                <a:gd name="connsiteY37" fmla="*/ 729789 h 747096"/>
                <a:gd name="connsiteX38" fmla="*/ 2263008 w 5306200"/>
                <a:gd name="connsiteY38" fmla="*/ 724020 h 747096"/>
                <a:gd name="connsiteX39" fmla="*/ 2075512 w 5306200"/>
                <a:gd name="connsiteY39" fmla="*/ 706713 h 747096"/>
                <a:gd name="connsiteX40" fmla="*/ 1882248 w 5306200"/>
                <a:gd name="connsiteY40" fmla="*/ 686521 h 747096"/>
                <a:gd name="connsiteX41" fmla="*/ 1697637 w 5306200"/>
                <a:gd name="connsiteY41" fmla="*/ 669213 h 747096"/>
                <a:gd name="connsiteX42" fmla="*/ 1513026 w 5306200"/>
                <a:gd name="connsiteY42" fmla="*/ 649022 h 747096"/>
                <a:gd name="connsiteX43" fmla="*/ 1319762 w 5306200"/>
                <a:gd name="connsiteY43" fmla="*/ 631714 h 747096"/>
                <a:gd name="connsiteX44" fmla="*/ 1063038 w 5306200"/>
                <a:gd name="connsiteY44" fmla="*/ 602869 h 747096"/>
                <a:gd name="connsiteX45" fmla="*/ 538051 w 5306200"/>
                <a:gd name="connsiteY45" fmla="*/ 522102 h 747096"/>
                <a:gd name="connsiteX46" fmla="*/ 373632 w 5306200"/>
                <a:gd name="connsiteY46" fmla="*/ 496141 h 747096"/>
                <a:gd name="connsiteX47" fmla="*/ 177483 w 5306200"/>
                <a:gd name="connsiteY47" fmla="*/ 455757 h 747096"/>
                <a:gd name="connsiteX48" fmla="*/ 0 w 5306200"/>
                <a:gd name="connsiteY4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8630 w 5306200"/>
                <a:gd name="connsiteY7" fmla="*/ 242301 h 747096"/>
                <a:gd name="connsiteX8" fmla="*/ 644780 w 5306200"/>
                <a:gd name="connsiteY8" fmla="*/ 181726 h 747096"/>
                <a:gd name="connsiteX9" fmla="*/ 731315 w 5306200"/>
                <a:gd name="connsiteY9" fmla="*/ 161534 h 747096"/>
                <a:gd name="connsiteX10" fmla="*/ 803429 w 5306200"/>
                <a:gd name="connsiteY10" fmla="*/ 147111 h 747096"/>
                <a:gd name="connsiteX11" fmla="*/ 861120 w 5306200"/>
                <a:gd name="connsiteY11" fmla="*/ 138458 h 747096"/>
                <a:gd name="connsiteX12" fmla="*/ 953425 w 5306200"/>
                <a:gd name="connsiteY12" fmla="*/ 124035 h 747096"/>
                <a:gd name="connsiteX13" fmla="*/ 1045731 w 5306200"/>
                <a:gd name="connsiteY13" fmla="*/ 112497 h 747096"/>
                <a:gd name="connsiteX14" fmla="*/ 1120729 w 5306200"/>
                <a:gd name="connsiteY14" fmla="*/ 103843 h 747096"/>
                <a:gd name="connsiteX15" fmla="*/ 1187073 w 5306200"/>
                <a:gd name="connsiteY15" fmla="*/ 95189 h 747096"/>
                <a:gd name="connsiteX16" fmla="*/ 1285148 w 5306200"/>
                <a:gd name="connsiteY16" fmla="*/ 86536 h 747096"/>
                <a:gd name="connsiteX17" fmla="*/ 1417837 w 5306200"/>
                <a:gd name="connsiteY17" fmla="*/ 77882 h 747096"/>
                <a:gd name="connsiteX18" fmla="*/ 1616870 w 5306200"/>
                <a:gd name="connsiteY18" fmla="*/ 63460 h 747096"/>
                <a:gd name="connsiteX19" fmla="*/ 1836095 w 5306200"/>
                <a:gd name="connsiteY19" fmla="*/ 54806 h 747096"/>
                <a:gd name="connsiteX20" fmla="*/ 2038013 w 5306200"/>
                <a:gd name="connsiteY20" fmla="*/ 43268 h 747096"/>
                <a:gd name="connsiteX21" fmla="*/ 2213970 w 5306200"/>
                <a:gd name="connsiteY21" fmla="*/ 34614 h 747096"/>
                <a:gd name="connsiteX22" fmla="*/ 2441849 w 5306200"/>
                <a:gd name="connsiteY22" fmla="*/ 25960 h 747096"/>
                <a:gd name="connsiteX23" fmla="*/ 2764918 w 5306200"/>
                <a:gd name="connsiteY23" fmla="*/ 20191 h 747096"/>
                <a:gd name="connsiteX24" fmla="*/ 2900491 w 5306200"/>
                <a:gd name="connsiteY24" fmla="*/ 17307 h 747096"/>
                <a:gd name="connsiteX25" fmla="*/ 3027411 w 5306200"/>
                <a:gd name="connsiteY25" fmla="*/ 14422 h 747096"/>
                <a:gd name="connsiteX26" fmla="*/ 3157216 w 5306200"/>
                <a:gd name="connsiteY26" fmla="*/ 11538 h 747096"/>
                <a:gd name="connsiteX27" fmla="*/ 3336057 w 5306200"/>
                <a:gd name="connsiteY27" fmla="*/ 8653 h 747096"/>
                <a:gd name="connsiteX28" fmla="*/ 3506245 w 5306200"/>
                <a:gd name="connsiteY28" fmla="*/ 8653 h 747096"/>
                <a:gd name="connsiteX29" fmla="*/ 3722586 w 5306200"/>
                <a:gd name="connsiteY29" fmla="*/ 11537 h 747096"/>
                <a:gd name="connsiteX30" fmla="*/ 5306200 w 5306200"/>
                <a:gd name="connsiteY30" fmla="*/ 0 h 747096"/>
                <a:gd name="connsiteX31" fmla="*/ 5306200 w 5306200"/>
                <a:gd name="connsiteY31" fmla="*/ 744212 h 747096"/>
                <a:gd name="connsiteX32" fmla="*/ 3177408 w 5306200"/>
                <a:gd name="connsiteY32" fmla="*/ 747096 h 747096"/>
                <a:gd name="connsiteX33" fmla="*/ 2952413 w 5306200"/>
                <a:gd name="connsiteY33" fmla="*/ 747096 h 747096"/>
                <a:gd name="connsiteX34" fmla="*/ 2877415 w 5306200"/>
                <a:gd name="connsiteY34" fmla="*/ 747096 h 747096"/>
                <a:gd name="connsiteX35" fmla="*/ 2551462 w 5306200"/>
                <a:gd name="connsiteY35" fmla="*/ 741327 h 747096"/>
                <a:gd name="connsiteX36" fmla="*/ 2456272 w 5306200"/>
                <a:gd name="connsiteY36" fmla="*/ 735558 h 747096"/>
                <a:gd name="connsiteX37" fmla="*/ 2366851 w 5306200"/>
                <a:gd name="connsiteY37" fmla="*/ 729789 h 747096"/>
                <a:gd name="connsiteX38" fmla="*/ 2263008 w 5306200"/>
                <a:gd name="connsiteY38" fmla="*/ 724020 h 747096"/>
                <a:gd name="connsiteX39" fmla="*/ 2075512 w 5306200"/>
                <a:gd name="connsiteY39" fmla="*/ 706713 h 747096"/>
                <a:gd name="connsiteX40" fmla="*/ 1882248 w 5306200"/>
                <a:gd name="connsiteY40" fmla="*/ 686521 h 747096"/>
                <a:gd name="connsiteX41" fmla="*/ 1697637 w 5306200"/>
                <a:gd name="connsiteY41" fmla="*/ 669213 h 747096"/>
                <a:gd name="connsiteX42" fmla="*/ 1513026 w 5306200"/>
                <a:gd name="connsiteY42" fmla="*/ 649022 h 747096"/>
                <a:gd name="connsiteX43" fmla="*/ 1319762 w 5306200"/>
                <a:gd name="connsiteY43" fmla="*/ 631714 h 747096"/>
                <a:gd name="connsiteX44" fmla="*/ 1063038 w 5306200"/>
                <a:gd name="connsiteY44" fmla="*/ 602869 h 747096"/>
                <a:gd name="connsiteX45" fmla="*/ 538051 w 5306200"/>
                <a:gd name="connsiteY45" fmla="*/ 522102 h 747096"/>
                <a:gd name="connsiteX46" fmla="*/ 373632 w 5306200"/>
                <a:gd name="connsiteY46" fmla="*/ 496141 h 747096"/>
                <a:gd name="connsiteX47" fmla="*/ 188913 w 5306200"/>
                <a:gd name="connsiteY47" fmla="*/ 459567 h 747096"/>
                <a:gd name="connsiteX48" fmla="*/ 0 w 5306200"/>
                <a:gd name="connsiteY4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8630 w 5306200"/>
                <a:gd name="connsiteY7" fmla="*/ 242301 h 747096"/>
                <a:gd name="connsiteX8" fmla="*/ 644780 w 5306200"/>
                <a:gd name="connsiteY8" fmla="*/ 181726 h 747096"/>
                <a:gd name="connsiteX9" fmla="*/ 731315 w 5306200"/>
                <a:gd name="connsiteY9" fmla="*/ 161534 h 747096"/>
                <a:gd name="connsiteX10" fmla="*/ 803429 w 5306200"/>
                <a:gd name="connsiteY10" fmla="*/ 147111 h 747096"/>
                <a:gd name="connsiteX11" fmla="*/ 861120 w 5306200"/>
                <a:gd name="connsiteY11" fmla="*/ 138458 h 747096"/>
                <a:gd name="connsiteX12" fmla="*/ 953425 w 5306200"/>
                <a:gd name="connsiteY12" fmla="*/ 124035 h 747096"/>
                <a:gd name="connsiteX13" fmla="*/ 1045731 w 5306200"/>
                <a:gd name="connsiteY13" fmla="*/ 112497 h 747096"/>
                <a:gd name="connsiteX14" fmla="*/ 1120729 w 5306200"/>
                <a:gd name="connsiteY14" fmla="*/ 103843 h 747096"/>
                <a:gd name="connsiteX15" fmla="*/ 1187073 w 5306200"/>
                <a:gd name="connsiteY15" fmla="*/ 95189 h 747096"/>
                <a:gd name="connsiteX16" fmla="*/ 1285148 w 5306200"/>
                <a:gd name="connsiteY16" fmla="*/ 86536 h 747096"/>
                <a:gd name="connsiteX17" fmla="*/ 1417837 w 5306200"/>
                <a:gd name="connsiteY17" fmla="*/ 77882 h 747096"/>
                <a:gd name="connsiteX18" fmla="*/ 1616870 w 5306200"/>
                <a:gd name="connsiteY18" fmla="*/ 63460 h 747096"/>
                <a:gd name="connsiteX19" fmla="*/ 1836095 w 5306200"/>
                <a:gd name="connsiteY19" fmla="*/ 54806 h 747096"/>
                <a:gd name="connsiteX20" fmla="*/ 2038013 w 5306200"/>
                <a:gd name="connsiteY20" fmla="*/ 43268 h 747096"/>
                <a:gd name="connsiteX21" fmla="*/ 2213970 w 5306200"/>
                <a:gd name="connsiteY21" fmla="*/ 34614 h 747096"/>
                <a:gd name="connsiteX22" fmla="*/ 2441849 w 5306200"/>
                <a:gd name="connsiteY22" fmla="*/ 25960 h 747096"/>
                <a:gd name="connsiteX23" fmla="*/ 2764918 w 5306200"/>
                <a:gd name="connsiteY23" fmla="*/ 20191 h 747096"/>
                <a:gd name="connsiteX24" fmla="*/ 2900491 w 5306200"/>
                <a:gd name="connsiteY24" fmla="*/ 17307 h 747096"/>
                <a:gd name="connsiteX25" fmla="*/ 3027411 w 5306200"/>
                <a:gd name="connsiteY25" fmla="*/ 14422 h 747096"/>
                <a:gd name="connsiteX26" fmla="*/ 3157216 w 5306200"/>
                <a:gd name="connsiteY26" fmla="*/ 11538 h 747096"/>
                <a:gd name="connsiteX27" fmla="*/ 3336057 w 5306200"/>
                <a:gd name="connsiteY27" fmla="*/ 8653 h 747096"/>
                <a:gd name="connsiteX28" fmla="*/ 3506245 w 5306200"/>
                <a:gd name="connsiteY28" fmla="*/ 8653 h 747096"/>
                <a:gd name="connsiteX29" fmla="*/ 3722586 w 5306200"/>
                <a:gd name="connsiteY29" fmla="*/ 11537 h 747096"/>
                <a:gd name="connsiteX30" fmla="*/ 5306200 w 5306200"/>
                <a:gd name="connsiteY30" fmla="*/ 0 h 747096"/>
                <a:gd name="connsiteX31" fmla="*/ 5306200 w 5306200"/>
                <a:gd name="connsiteY31" fmla="*/ 744212 h 747096"/>
                <a:gd name="connsiteX32" fmla="*/ 3177408 w 5306200"/>
                <a:gd name="connsiteY32" fmla="*/ 747096 h 747096"/>
                <a:gd name="connsiteX33" fmla="*/ 2952413 w 5306200"/>
                <a:gd name="connsiteY33" fmla="*/ 747096 h 747096"/>
                <a:gd name="connsiteX34" fmla="*/ 2877415 w 5306200"/>
                <a:gd name="connsiteY34" fmla="*/ 747096 h 747096"/>
                <a:gd name="connsiteX35" fmla="*/ 2551462 w 5306200"/>
                <a:gd name="connsiteY35" fmla="*/ 741327 h 747096"/>
                <a:gd name="connsiteX36" fmla="*/ 2456272 w 5306200"/>
                <a:gd name="connsiteY36" fmla="*/ 735558 h 747096"/>
                <a:gd name="connsiteX37" fmla="*/ 2366851 w 5306200"/>
                <a:gd name="connsiteY37" fmla="*/ 729789 h 747096"/>
                <a:gd name="connsiteX38" fmla="*/ 2263008 w 5306200"/>
                <a:gd name="connsiteY38" fmla="*/ 724020 h 747096"/>
                <a:gd name="connsiteX39" fmla="*/ 2075512 w 5306200"/>
                <a:gd name="connsiteY39" fmla="*/ 706713 h 747096"/>
                <a:gd name="connsiteX40" fmla="*/ 1882248 w 5306200"/>
                <a:gd name="connsiteY40" fmla="*/ 686521 h 747096"/>
                <a:gd name="connsiteX41" fmla="*/ 1697637 w 5306200"/>
                <a:gd name="connsiteY41" fmla="*/ 669213 h 747096"/>
                <a:gd name="connsiteX42" fmla="*/ 1513026 w 5306200"/>
                <a:gd name="connsiteY42" fmla="*/ 649022 h 747096"/>
                <a:gd name="connsiteX43" fmla="*/ 1319762 w 5306200"/>
                <a:gd name="connsiteY43" fmla="*/ 631714 h 747096"/>
                <a:gd name="connsiteX44" fmla="*/ 1063038 w 5306200"/>
                <a:gd name="connsiteY44" fmla="*/ 602869 h 747096"/>
                <a:gd name="connsiteX45" fmla="*/ 538051 w 5306200"/>
                <a:gd name="connsiteY45" fmla="*/ 522102 h 747096"/>
                <a:gd name="connsiteX46" fmla="*/ 373632 w 5306200"/>
                <a:gd name="connsiteY46" fmla="*/ 496141 h 747096"/>
                <a:gd name="connsiteX47" fmla="*/ 188913 w 5306200"/>
                <a:gd name="connsiteY47" fmla="*/ 459567 h 747096"/>
                <a:gd name="connsiteX48" fmla="*/ 0 w 5306200"/>
                <a:gd name="connsiteY4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8630 w 5306200"/>
                <a:gd name="connsiteY7" fmla="*/ 242301 h 747096"/>
                <a:gd name="connsiteX8" fmla="*/ 644780 w 5306200"/>
                <a:gd name="connsiteY8" fmla="*/ 181726 h 747096"/>
                <a:gd name="connsiteX9" fmla="*/ 731315 w 5306200"/>
                <a:gd name="connsiteY9" fmla="*/ 161534 h 747096"/>
                <a:gd name="connsiteX10" fmla="*/ 803429 w 5306200"/>
                <a:gd name="connsiteY10" fmla="*/ 147111 h 747096"/>
                <a:gd name="connsiteX11" fmla="*/ 861120 w 5306200"/>
                <a:gd name="connsiteY11" fmla="*/ 138458 h 747096"/>
                <a:gd name="connsiteX12" fmla="*/ 953425 w 5306200"/>
                <a:gd name="connsiteY12" fmla="*/ 124035 h 747096"/>
                <a:gd name="connsiteX13" fmla="*/ 1045731 w 5306200"/>
                <a:gd name="connsiteY13" fmla="*/ 112497 h 747096"/>
                <a:gd name="connsiteX14" fmla="*/ 1120729 w 5306200"/>
                <a:gd name="connsiteY14" fmla="*/ 103843 h 747096"/>
                <a:gd name="connsiteX15" fmla="*/ 1187073 w 5306200"/>
                <a:gd name="connsiteY15" fmla="*/ 95189 h 747096"/>
                <a:gd name="connsiteX16" fmla="*/ 1285148 w 5306200"/>
                <a:gd name="connsiteY16" fmla="*/ 86536 h 747096"/>
                <a:gd name="connsiteX17" fmla="*/ 1417837 w 5306200"/>
                <a:gd name="connsiteY17" fmla="*/ 77882 h 747096"/>
                <a:gd name="connsiteX18" fmla="*/ 1616870 w 5306200"/>
                <a:gd name="connsiteY18" fmla="*/ 63460 h 747096"/>
                <a:gd name="connsiteX19" fmla="*/ 1836095 w 5306200"/>
                <a:gd name="connsiteY19" fmla="*/ 54806 h 747096"/>
                <a:gd name="connsiteX20" fmla="*/ 2038013 w 5306200"/>
                <a:gd name="connsiteY20" fmla="*/ 43268 h 747096"/>
                <a:gd name="connsiteX21" fmla="*/ 2213970 w 5306200"/>
                <a:gd name="connsiteY21" fmla="*/ 34614 h 747096"/>
                <a:gd name="connsiteX22" fmla="*/ 2441849 w 5306200"/>
                <a:gd name="connsiteY22" fmla="*/ 25960 h 747096"/>
                <a:gd name="connsiteX23" fmla="*/ 2764918 w 5306200"/>
                <a:gd name="connsiteY23" fmla="*/ 20191 h 747096"/>
                <a:gd name="connsiteX24" fmla="*/ 2900491 w 5306200"/>
                <a:gd name="connsiteY24" fmla="*/ 17307 h 747096"/>
                <a:gd name="connsiteX25" fmla="*/ 3027411 w 5306200"/>
                <a:gd name="connsiteY25" fmla="*/ 14422 h 747096"/>
                <a:gd name="connsiteX26" fmla="*/ 3157216 w 5306200"/>
                <a:gd name="connsiteY26" fmla="*/ 11538 h 747096"/>
                <a:gd name="connsiteX27" fmla="*/ 3336057 w 5306200"/>
                <a:gd name="connsiteY27" fmla="*/ 8653 h 747096"/>
                <a:gd name="connsiteX28" fmla="*/ 3506245 w 5306200"/>
                <a:gd name="connsiteY28" fmla="*/ 8653 h 747096"/>
                <a:gd name="connsiteX29" fmla="*/ 3722586 w 5306200"/>
                <a:gd name="connsiteY29" fmla="*/ 11537 h 747096"/>
                <a:gd name="connsiteX30" fmla="*/ 5306200 w 5306200"/>
                <a:gd name="connsiteY30" fmla="*/ 0 h 747096"/>
                <a:gd name="connsiteX31" fmla="*/ 5306200 w 5306200"/>
                <a:gd name="connsiteY31" fmla="*/ 744212 h 747096"/>
                <a:gd name="connsiteX32" fmla="*/ 3177408 w 5306200"/>
                <a:gd name="connsiteY32" fmla="*/ 747096 h 747096"/>
                <a:gd name="connsiteX33" fmla="*/ 2952413 w 5306200"/>
                <a:gd name="connsiteY33" fmla="*/ 747096 h 747096"/>
                <a:gd name="connsiteX34" fmla="*/ 2877415 w 5306200"/>
                <a:gd name="connsiteY34" fmla="*/ 747096 h 747096"/>
                <a:gd name="connsiteX35" fmla="*/ 2551462 w 5306200"/>
                <a:gd name="connsiteY35" fmla="*/ 741327 h 747096"/>
                <a:gd name="connsiteX36" fmla="*/ 2456272 w 5306200"/>
                <a:gd name="connsiteY36" fmla="*/ 735558 h 747096"/>
                <a:gd name="connsiteX37" fmla="*/ 2366851 w 5306200"/>
                <a:gd name="connsiteY37" fmla="*/ 729789 h 747096"/>
                <a:gd name="connsiteX38" fmla="*/ 2263008 w 5306200"/>
                <a:gd name="connsiteY38" fmla="*/ 724020 h 747096"/>
                <a:gd name="connsiteX39" fmla="*/ 2075512 w 5306200"/>
                <a:gd name="connsiteY39" fmla="*/ 706713 h 747096"/>
                <a:gd name="connsiteX40" fmla="*/ 1882248 w 5306200"/>
                <a:gd name="connsiteY40" fmla="*/ 686521 h 747096"/>
                <a:gd name="connsiteX41" fmla="*/ 1697637 w 5306200"/>
                <a:gd name="connsiteY41" fmla="*/ 669213 h 747096"/>
                <a:gd name="connsiteX42" fmla="*/ 1513026 w 5306200"/>
                <a:gd name="connsiteY42" fmla="*/ 649022 h 747096"/>
                <a:gd name="connsiteX43" fmla="*/ 1319762 w 5306200"/>
                <a:gd name="connsiteY43" fmla="*/ 631714 h 747096"/>
                <a:gd name="connsiteX44" fmla="*/ 1063038 w 5306200"/>
                <a:gd name="connsiteY44" fmla="*/ 602869 h 747096"/>
                <a:gd name="connsiteX45" fmla="*/ 538051 w 5306200"/>
                <a:gd name="connsiteY45" fmla="*/ 522102 h 747096"/>
                <a:gd name="connsiteX46" fmla="*/ 373632 w 5306200"/>
                <a:gd name="connsiteY46" fmla="*/ 496141 h 747096"/>
                <a:gd name="connsiteX47" fmla="*/ 188913 w 5306200"/>
                <a:gd name="connsiteY47" fmla="*/ 459567 h 747096"/>
                <a:gd name="connsiteX48" fmla="*/ 0 w 5306200"/>
                <a:gd name="connsiteY4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8630 w 5306200"/>
                <a:gd name="connsiteY7" fmla="*/ 242301 h 747096"/>
                <a:gd name="connsiteX8" fmla="*/ 644780 w 5306200"/>
                <a:gd name="connsiteY8" fmla="*/ 181726 h 747096"/>
                <a:gd name="connsiteX9" fmla="*/ 731315 w 5306200"/>
                <a:gd name="connsiteY9" fmla="*/ 161534 h 747096"/>
                <a:gd name="connsiteX10" fmla="*/ 803429 w 5306200"/>
                <a:gd name="connsiteY10" fmla="*/ 147111 h 747096"/>
                <a:gd name="connsiteX11" fmla="*/ 861120 w 5306200"/>
                <a:gd name="connsiteY11" fmla="*/ 138458 h 747096"/>
                <a:gd name="connsiteX12" fmla="*/ 953425 w 5306200"/>
                <a:gd name="connsiteY12" fmla="*/ 124035 h 747096"/>
                <a:gd name="connsiteX13" fmla="*/ 1045731 w 5306200"/>
                <a:gd name="connsiteY13" fmla="*/ 112497 h 747096"/>
                <a:gd name="connsiteX14" fmla="*/ 1120729 w 5306200"/>
                <a:gd name="connsiteY14" fmla="*/ 103843 h 747096"/>
                <a:gd name="connsiteX15" fmla="*/ 1187073 w 5306200"/>
                <a:gd name="connsiteY15" fmla="*/ 95189 h 747096"/>
                <a:gd name="connsiteX16" fmla="*/ 1285148 w 5306200"/>
                <a:gd name="connsiteY16" fmla="*/ 86536 h 747096"/>
                <a:gd name="connsiteX17" fmla="*/ 1417837 w 5306200"/>
                <a:gd name="connsiteY17" fmla="*/ 77882 h 747096"/>
                <a:gd name="connsiteX18" fmla="*/ 1616870 w 5306200"/>
                <a:gd name="connsiteY18" fmla="*/ 63460 h 747096"/>
                <a:gd name="connsiteX19" fmla="*/ 1836095 w 5306200"/>
                <a:gd name="connsiteY19" fmla="*/ 54806 h 747096"/>
                <a:gd name="connsiteX20" fmla="*/ 2038013 w 5306200"/>
                <a:gd name="connsiteY20" fmla="*/ 43268 h 747096"/>
                <a:gd name="connsiteX21" fmla="*/ 2213970 w 5306200"/>
                <a:gd name="connsiteY21" fmla="*/ 34614 h 747096"/>
                <a:gd name="connsiteX22" fmla="*/ 2441849 w 5306200"/>
                <a:gd name="connsiteY22" fmla="*/ 25960 h 747096"/>
                <a:gd name="connsiteX23" fmla="*/ 2764918 w 5306200"/>
                <a:gd name="connsiteY23" fmla="*/ 20191 h 747096"/>
                <a:gd name="connsiteX24" fmla="*/ 2900491 w 5306200"/>
                <a:gd name="connsiteY24" fmla="*/ 17307 h 747096"/>
                <a:gd name="connsiteX25" fmla="*/ 3027411 w 5306200"/>
                <a:gd name="connsiteY25" fmla="*/ 14422 h 747096"/>
                <a:gd name="connsiteX26" fmla="*/ 3157216 w 5306200"/>
                <a:gd name="connsiteY26" fmla="*/ 11538 h 747096"/>
                <a:gd name="connsiteX27" fmla="*/ 3336057 w 5306200"/>
                <a:gd name="connsiteY27" fmla="*/ 8653 h 747096"/>
                <a:gd name="connsiteX28" fmla="*/ 3506245 w 5306200"/>
                <a:gd name="connsiteY28" fmla="*/ 8653 h 747096"/>
                <a:gd name="connsiteX29" fmla="*/ 3722586 w 5306200"/>
                <a:gd name="connsiteY29" fmla="*/ 11537 h 747096"/>
                <a:gd name="connsiteX30" fmla="*/ 5306200 w 5306200"/>
                <a:gd name="connsiteY30" fmla="*/ 0 h 747096"/>
                <a:gd name="connsiteX31" fmla="*/ 5306200 w 5306200"/>
                <a:gd name="connsiteY31" fmla="*/ 744212 h 747096"/>
                <a:gd name="connsiteX32" fmla="*/ 3177408 w 5306200"/>
                <a:gd name="connsiteY32" fmla="*/ 747096 h 747096"/>
                <a:gd name="connsiteX33" fmla="*/ 2952413 w 5306200"/>
                <a:gd name="connsiteY33" fmla="*/ 747096 h 747096"/>
                <a:gd name="connsiteX34" fmla="*/ 2877415 w 5306200"/>
                <a:gd name="connsiteY34" fmla="*/ 747096 h 747096"/>
                <a:gd name="connsiteX35" fmla="*/ 2551462 w 5306200"/>
                <a:gd name="connsiteY35" fmla="*/ 741327 h 747096"/>
                <a:gd name="connsiteX36" fmla="*/ 2456272 w 5306200"/>
                <a:gd name="connsiteY36" fmla="*/ 735558 h 747096"/>
                <a:gd name="connsiteX37" fmla="*/ 2366851 w 5306200"/>
                <a:gd name="connsiteY37" fmla="*/ 729789 h 747096"/>
                <a:gd name="connsiteX38" fmla="*/ 2263008 w 5306200"/>
                <a:gd name="connsiteY38" fmla="*/ 724020 h 747096"/>
                <a:gd name="connsiteX39" fmla="*/ 2075512 w 5306200"/>
                <a:gd name="connsiteY39" fmla="*/ 706713 h 747096"/>
                <a:gd name="connsiteX40" fmla="*/ 1882248 w 5306200"/>
                <a:gd name="connsiteY40" fmla="*/ 686521 h 747096"/>
                <a:gd name="connsiteX41" fmla="*/ 1697637 w 5306200"/>
                <a:gd name="connsiteY41" fmla="*/ 669213 h 747096"/>
                <a:gd name="connsiteX42" fmla="*/ 1513026 w 5306200"/>
                <a:gd name="connsiteY42" fmla="*/ 649022 h 747096"/>
                <a:gd name="connsiteX43" fmla="*/ 1319762 w 5306200"/>
                <a:gd name="connsiteY43" fmla="*/ 631714 h 747096"/>
                <a:gd name="connsiteX44" fmla="*/ 1063038 w 5306200"/>
                <a:gd name="connsiteY44" fmla="*/ 602869 h 747096"/>
                <a:gd name="connsiteX45" fmla="*/ 538051 w 5306200"/>
                <a:gd name="connsiteY45" fmla="*/ 522102 h 747096"/>
                <a:gd name="connsiteX46" fmla="*/ 373632 w 5306200"/>
                <a:gd name="connsiteY46" fmla="*/ 496141 h 747096"/>
                <a:gd name="connsiteX47" fmla="*/ 192723 w 5306200"/>
                <a:gd name="connsiteY47" fmla="*/ 467187 h 747096"/>
                <a:gd name="connsiteX48" fmla="*/ 0 w 5306200"/>
                <a:gd name="connsiteY4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8630 w 5306200"/>
                <a:gd name="connsiteY7" fmla="*/ 242301 h 747096"/>
                <a:gd name="connsiteX8" fmla="*/ 644780 w 5306200"/>
                <a:gd name="connsiteY8" fmla="*/ 181726 h 747096"/>
                <a:gd name="connsiteX9" fmla="*/ 731315 w 5306200"/>
                <a:gd name="connsiteY9" fmla="*/ 161534 h 747096"/>
                <a:gd name="connsiteX10" fmla="*/ 803429 w 5306200"/>
                <a:gd name="connsiteY10" fmla="*/ 147111 h 747096"/>
                <a:gd name="connsiteX11" fmla="*/ 861120 w 5306200"/>
                <a:gd name="connsiteY11" fmla="*/ 138458 h 747096"/>
                <a:gd name="connsiteX12" fmla="*/ 953425 w 5306200"/>
                <a:gd name="connsiteY12" fmla="*/ 124035 h 747096"/>
                <a:gd name="connsiteX13" fmla="*/ 1045731 w 5306200"/>
                <a:gd name="connsiteY13" fmla="*/ 112497 h 747096"/>
                <a:gd name="connsiteX14" fmla="*/ 1120729 w 5306200"/>
                <a:gd name="connsiteY14" fmla="*/ 103843 h 747096"/>
                <a:gd name="connsiteX15" fmla="*/ 1187073 w 5306200"/>
                <a:gd name="connsiteY15" fmla="*/ 95189 h 747096"/>
                <a:gd name="connsiteX16" fmla="*/ 1285148 w 5306200"/>
                <a:gd name="connsiteY16" fmla="*/ 86536 h 747096"/>
                <a:gd name="connsiteX17" fmla="*/ 1417837 w 5306200"/>
                <a:gd name="connsiteY17" fmla="*/ 77882 h 747096"/>
                <a:gd name="connsiteX18" fmla="*/ 1616870 w 5306200"/>
                <a:gd name="connsiteY18" fmla="*/ 63460 h 747096"/>
                <a:gd name="connsiteX19" fmla="*/ 1836095 w 5306200"/>
                <a:gd name="connsiteY19" fmla="*/ 54806 h 747096"/>
                <a:gd name="connsiteX20" fmla="*/ 2038013 w 5306200"/>
                <a:gd name="connsiteY20" fmla="*/ 43268 h 747096"/>
                <a:gd name="connsiteX21" fmla="*/ 2213970 w 5306200"/>
                <a:gd name="connsiteY21" fmla="*/ 34614 h 747096"/>
                <a:gd name="connsiteX22" fmla="*/ 2441849 w 5306200"/>
                <a:gd name="connsiteY22" fmla="*/ 25960 h 747096"/>
                <a:gd name="connsiteX23" fmla="*/ 2764918 w 5306200"/>
                <a:gd name="connsiteY23" fmla="*/ 20191 h 747096"/>
                <a:gd name="connsiteX24" fmla="*/ 2900491 w 5306200"/>
                <a:gd name="connsiteY24" fmla="*/ 17307 h 747096"/>
                <a:gd name="connsiteX25" fmla="*/ 3027411 w 5306200"/>
                <a:gd name="connsiteY25" fmla="*/ 14422 h 747096"/>
                <a:gd name="connsiteX26" fmla="*/ 3157216 w 5306200"/>
                <a:gd name="connsiteY26" fmla="*/ 11538 h 747096"/>
                <a:gd name="connsiteX27" fmla="*/ 3336057 w 5306200"/>
                <a:gd name="connsiteY27" fmla="*/ 8653 h 747096"/>
                <a:gd name="connsiteX28" fmla="*/ 3506245 w 5306200"/>
                <a:gd name="connsiteY28" fmla="*/ 8653 h 747096"/>
                <a:gd name="connsiteX29" fmla="*/ 3722586 w 5306200"/>
                <a:gd name="connsiteY29" fmla="*/ 11537 h 747096"/>
                <a:gd name="connsiteX30" fmla="*/ 5306200 w 5306200"/>
                <a:gd name="connsiteY30" fmla="*/ 0 h 747096"/>
                <a:gd name="connsiteX31" fmla="*/ 5306200 w 5306200"/>
                <a:gd name="connsiteY31" fmla="*/ 744212 h 747096"/>
                <a:gd name="connsiteX32" fmla="*/ 3177408 w 5306200"/>
                <a:gd name="connsiteY32" fmla="*/ 747096 h 747096"/>
                <a:gd name="connsiteX33" fmla="*/ 2952413 w 5306200"/>
                <a:gd name="connsiteY33" fmla="*/ 747096 h 747096"/>
                <a:gd name="connsiteX34" fmla="*/ 2877415 w 5306200"/>
                <a:gd name="connsiteY34" fmla="*/ 747096 h 747096"/>
                <a:gd name="connsiteX35" fmla="*/ 2551462 w 5306200"/>
                <a:gd name="connsiteY35" fmla="*/ 741327 h 747096"/>
                <a:gd name="connsiteX36" fmla="*/ 2456272 w 5306200"/>
                <a:gd name="connsiteY36" fmla="*/ 735558 h 747096"/>
                <a:gd name="connsiteX37" fmla="*/ 2366851 w 5306200"/>
                <a:gd name="connsiteY37" fmla="*/ 729789 h 747096"/>
                <a:gd name="connsiteX38" fmla="*/ 2263008 w 5306200"/>
                <a:gd name="connsiteY38" fmla="*/ 724020 h 747096"/>
                <a:gd name="connsiteX39" fmla="*/ 2075512 w 5306200"/>
                <a:gd name="connsiteY39" fmla="*/ 706713 h 747096"/>
                <a:gd name="connsiteX40" fmla="*/ 1882248 w 5306200"/>
                <a:gd name="connsiteY40" fmla="*/ 686521 h 747096"/>
                <a:gd name="connsiteX41" fmla="*/ 1697637 w 5306200"/>
                <a:gd name="connsiteY41" fmla="*/ 669213 h 747096"/>
                <a:gd name="connsiteX42" fmla="*/ 1513026 w 5306200"/>
                <a:gd name="connsiteY42" fmla="*/ 652832 h 747096"/>
                <a:gd name="connsiteX43" fmla="*/ 1319762 w 5306200"/>
                <a:gd name="connsiteY43" fmla="*/ 631714 h 747096"/>
                <a:gd name="connsiteX44" fmla="*/ 1063038 w 5306200"/>
                <a:gd name="connsiteY44" fmla="*/ 602869 h 747096"/>
                <a:gd name="connsiteX45" fmla="*/ 538051 w 5306200"/>
                <a:gd name="connsiteY45" fmla="*/ 522102 h 747096"/>
                <a:gd name="connsiteX46" fmla="*/ 373632 w 5306200"/>
                <a:gd name="connsiteY46" fmla="*/ 496141 h 747096"/>
                <a:gd name="connsiteX47" fmla="*/ 192723 w 5306200"/>
                <a:gd name="connsiteY47" fmla="*/ 467187 h 747096"/>
                <a:gd name="connsiteX48" fmla="*/ 0 w 5306200"/>
                <a:gd name="connsiteY4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4780 w 5306200"/>
                <a:gd name="connsiteY8" fmla="*/ 181726 h 747096"/>
                <a:gd name="connsiteX9" fmla="*/ 731315 w 5306200"/>
                <a:gd name="connsiteY9" fmla="*/ 161534 h 747096"/>
                <a:gd name="connsiteX10" fmla="*/ 803429 w 5306200"/>
                <a:gd name="connsiteY10" fmla="*/ 147111 h 747096"/>
                <a:gd name="connsiteX11" fmla="*/ 861120 w 5306200"/>
                <a:gd name="connsiteY11" fmla="*/ 138458 h 747096"/>
                <a:gd name="connsiteX12" fmla="*/ 953425 w 5306200"/>
                <a:gd name="connsiteY12" fmla="*/ 124035 h 747096"/>
                <a:gd name="connsiteX13" fmla="*/ 1045731 w 5306200"/>
                <a:gd name="connsiteY13" fmla="*/ 112497 h 747096"/>
                <a:gd name="connsiteX14" fmla="*/ 1120729 w 5306200"/>
                <a:gd name="connsiteY14" fmla="*/ 103843 h 747096"/>
                <a:gd name="connsiteX15" fmla="*/ 1187073 w 5306200"/>
                <a:gd name="connsiteY15" fmla="*/ 95189 h 747096"/>
                <a:gd name="connsiteX16" fmla="*/ 1285148 w 5306200"/>
                <a:gd name="connsiteY16" fmla="*/ 86536 h 747096"/>
                <a:gd name="connsiteX17" fmla="*/ 1417837 w 5306200"/>
                <a:gd name="connsiteY17" fmla="*/ 77882 h 747096"/>
                <a:gd name="connsiteX18" fmla="*/ 1616870 w 5306200"/>
                <a:gd name="connsiteY18" fmla="*/ 63460 h 747096"/>
                <a:gd name="connsiteX19" fmla="*/ 1836095 w 5306200"/>
                <a:gd name="connsiteY19" fmla="*/ 54806 h 747096"/>
                <a:gd name="connsiteX20" fmla="*/ 2038013 w 5306200"/>
                <a:gd name="connsiteY20" fmla="*/ 43268 h 747096"/>
                <a:gd name="connsiteX21" fmla="*/ 2213970 w 5306200"/>
                <a:gd name="connsiteY21" fmla="*/ 34614 h 747096"/>
                <a:gd name="connsiteX22" fmla="*/ 2441849 w 5306200"/>
                <a:gd name="connsiteY22" fmla="*/ 25960 h 747096"/>
                <a:gd name="connsiteX23" fmla="*/ 2764918 w 5306200"/>
                <a:gd name="connsiteY23" fmla="*/ 20191 h 747096"/>
                <a:gd name="connsiteX24" fmla="*/ 2900491 w 5306200"/>
                <a:gd name="connsiteY24" fmla="*/ 17307 h 747096"/>
                <a:gd name="connsiteX25" fmla="*/ 3027411 w 5306200"/>
                <a:gd name="connsiteY25" fmla="*/ 14422 h 747096"/>
                <a:gd name="connsiteX26" fmla="*/ 3157216 w 5306200"/>
                <a:gd name="connsiteY26" fmla="*/ 11538 h 747096"/>
                <a:gd name="connsiteX27" fmla="*/ 3336057 w 5306200"/>
                <a:gd name="connsiteY27" fmla="*/ 8653 h 747096"/>
                <a:gd name="connsiteX28" fmla="*/ 3506245 w 5306200"/>
                <a:gd name="connsiteY28" fmla="*/ 8653 h 747096"/>
                <a:gd name="connsiteX29" fmla="*/ 3722586 w 5306200"/>
                <a:gd name="connsiteY29" fmla="*/ 11537 h 747096"/>
                <a:gd name="connsiteX30" fmla="*/ 5306200 w 5306200"/>
                <a:gd name="connsiteY30" fmla="*/ 0 h 747096"/>
                <a:gd name="connsiteX31" fmla="*/ 5306200 w 5306200"/>
                <a:gd name="connsiteY31" fmla="*/ 744212 h 747096"/>
                <a:gd name="connsiteX32" fmla="*/ 3177408 w 5306200"/>
                <a:gd name="connsiteY32" fmla="*/ 747096 h 747096"/>
                <a:gd name="connsiteX33" fmla="*/ 2952413 w 5306200"/>
                <a:gd name="connsiteY33" fmla="*/ 747096 h 747096"/>
                <a:gd name="connsiteX34" fmla="*/ 2877415 w 5306200"/>
                <a:gd name="connsiteY34" fmla="*/ 747096 h 747096"/>
                <a:gd name="connsiteX35" fmla="*/ 2551462 w 5306200"/>
                <a:gd name="connsiteY35" fmla="*/ 741327 h 747096"/>
                <a:gd name="connsiteX36" fmla="*/ 2456272 w 5306200"/>
                <a:gd name="connsiteY36" fmla="*/ 735558 h 747096"/>
                <a:gd name="connsiteX37" fmla="*/ 2366851 w 5306200"/>
                <a:gd name="connsiteY37" fmla="*/ 729789 h 747096"/>
                <a:gd name="connsiteX38" fmla="*/ 2263008 w 5306200"/>
                <a:gd name="connsiteY38" fmla="*/ 724020 h 747096"/>
                <a:gd name="connsiteX39" fmla="*/ 2075512 w 5306200"/>
                <a:gd name="connsiteY39" fmla="*/ 706713 h 747096"/>
                <a:gd name="connsiteX40" fmla="*/ 1882248 w 5306200"/>
                <a:gd name="connsiteY40" fmla="*/ 686521 h 747096"/>
                <a:gd name="connsiteX41" fmla="*/ 1697637 w 5306200"/>
                <a:gd name="connsiteY41" fmla="*/ 669213 h 747096"/>
                <a:gd name="connsiteX42" fmla="*/ 1513026 w 5306200"/>
                <a:gd name="connsiteY42" fmla="*/ 652832 h 747096"/>
                <a:gd name="connsiteX43" fmla="*/ 1319762 w 5306200"/>
                <a:gd name="connsiteY43" fmla="*/ 631714 h 747096"/>
                <a:gd name="connsiteX44" fmla="*/ 1063038 w 5306200"/>
                <a:gd name="connsiteY44" fmla="*/ 602869 h 747096"/>
                <a:gd name="connsiteX45" fmla="*/ 538051 w 5306200"/>
                <a:gd name="connsiteY45" fmla="*/ 522102 h 747096"/>
                <a:gd name="connsiteX46" fmla="*/ 373632 w 5306200"/>
                <a:gd name="connsiteY46" fmla="*/ 496141 h 747096"/>
                <a:gd name="connsiteX47" fmla="*/ 192723 w 5306200"/>
                <a:gd name="connsiteY47" fmla="*/ 467187 h 747096"/>
                <a:gd name="connsiteX48" fmla="*/ 0 w 5306200"/>
                <a:gd name="connsiteY4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31315 w 5306200"/>
                <a:gd name="connsiteY9" fmla="*/ 161534 h 747096"/>
                <a:gd name="connsiteX10" fmla="*/ 803429 w 5306200"/>
                <a:gd name="connsiteY10" fmla="*/ 147111 h 747096"/>
                <a:gd name="connsiteX11" fmla="*/ 861120 w 5306200"/>
                <a:gd name="connsiteY11" fmla="*/ 138458 h 747096"/>
                <a:gd name="connsiteX12" fmla="*/ 953425 w 5306200"/>
                <a:gd name="connsiteY12" fmla="*/ 124035 h 747096"/>
                <a:gd name="connsiteX13" fmla="*/ 1045731 w 5306200"/>
                <a:gd name="connsiteY13" fmla="*/ 112497 h 747096"/>
                <a:gd name="connsiteX14" fmla="*/ 1120729 w 5306200"/>
                <a:gd name="connsiteY14" fmla="*/ 103843 h 747096"/>
                <a:gd name="connsiteX15" fmla="*/ 1187073 w 5306200"/>
                <a:gd name="connsiteY15" fmla="*/ 95189 h 747096"/>
                <a:gd name="connsiteX16" fmla="*/ 1285148 w 5306200"/>
                <a:gd name="connsiteY16" fmla="*/ 86536 h 747096"/>
                <a:gd name="connsiteX17" fmla="*/ 1417837 w 5306200"/>
                <a:gd name="connsiteY17" fmla="*/ 77882 h 747096"/>
                <a:gd name="connsiteX18" fmla="*/ 1616870 w 5306200"/>
                <a:gd name="connsiteY18" fmla="*/ 63460 h 747096"/>
                <a:gd name="connsiteX19" fmla="*/ 1836095 w 5306200"/>
                <a:gd name="connsiteY19" fmla="*/ 54806 h 747096"/>
                <a:gd name="connsiteX20" fmla="*/ 2038013 w 5306200"/>
                <a:gd name="connsiteY20" fmla="*/ 43268 h 747096"/>
                <a:gd name="connsiteX21" fmla="*/ 2213970 w 5306200"/>
                <a:gd name="connsiteY21" fmla="*/ 34614 h 747096"/>
                <a:gd name="connsiteX22" fmla="*/ 2441849 w 5306200"/>
                <a:gd name="connsiteY22" fmla="*/ 25960 h 747096"/>
                <a:gd name="connsiteX23" fmla="*/ 2764918 w 5306200"/>
                <a:gd name="connsiteY23" fmla="*/ 20191 h 747096"/>
                <a:gd name="connsiteX24" fmla="*/ 2900491 w 5306200"/>
                <a:gd name="connsiteY24" fmla="*/ 17307 h 747096"/>
                <a:gd name="connsiteX25" fmla="*/ 3027411 w 5306200"/>
                <a:gd name="connsiteY25" fmla="*/ 14422 h 747096"/>
                <a:gd name="connsiteX26" fmla="*/ 3157216 w 5306200"/>
                <a:gd name="connsiteY26" fmla="*/ 11538 h 747096"/>
                <a:gd name="connsiteX27" fmla="*/ 3336057 w 5306200"/>
                <a:gd name="connsiteY27" fmla="*/ 8653 h 747096"/>
                <a:gd name="connsiteX28" fmla="*/ 3506245 w 5306200"/>
                <a:gd name="connsiteY28" fmla="*/ 8653 h 747096"/>
                <a:gd name="connsiteX29" fmla="*/ 3722586 w 5306200"/>
                <a:gd name="connsiteY29" fmla="*/ 11537 h 747096"/>
                <a:gd name="connsiteX30" fmla="*/ 5306200 w 5306200"/>
                <a:gd name="connsiteY30" fmla="*/ 0 h 747096"/>
                <a:gd name="connsiteX31" fmla="*/ 5306200 w 5306200"/>
                <a:gd name="connsiteY31" fmla="*/ 744212 h 747096"/>
                <a:gd name="connsiteX32" fmla="*/ 3177408 w 5306200"/>
                <a:gd name="connsiteY32" fmla="*/ 747096 h 747096"/>
                <a:gd name="connsiteX33" fmla="*/ 2952413 w 5306200"/>
                <a:gd name="connsiteY33" fmla="*/ 747096 h 747096"/>
                <a:gd name="connsiteX34" fmla="*/ 2877415 w 5306200"/>
                <a:gd name="connsiteY34" fmla="*/ 747096 h 747096"/>
                <a:gd name="connsiteX35" fmla="*/ 2551462 w 5306200"/>
                <a:gd name="connsiteY35" fmla="*/ 741327 h 747096"/>
                <a:gd name="connsiteX36" fmla="*/ 2456272 w 5306200"/>
                <a:gd name="connsiteY36" fmla="*/ 735558 h 747096"/>
                <a:gd name="connsiteX37" fmla="*/ 2366851 w 5306200"/>
                <a:gd name="connsiteY37" fmla="*/ 729789 h 747096"/>
                <a:gd name="connsiteX38" fmla="*/ 2263008 w 5306200"/>
                <a:gd name="connsiteY38" fmla="*/ 724020 h 747096"/>
                <a:gd name="connsiteX39" fmla="*/ 2075512 w 5306200"/>
                <a:gd name="connsiteY39" fmla="*/ 706713 h 747096"/>
                <a:gd name="connsiteX40" fmla="*/ 1882248 w 5306200"/>
                <a:gd name="connsiteY40" fmla="*/ 686521 h 747096"/>
                <a:gd name="connsiteX41" fmla="*/ 1697637 w 5306200"/>
                <a:gd name="connsiteY41" fmla="*/ 669213 h 747096"/>
                <a:gd name="connsiteX42" fmla="*/ 1513026 w 5306200"/>
                <a:gd name="connsiteY42" fmla="*/ 652832 h 747096"/>
                <a:gd name="connsiteX43" fmla="*/ 1319762 w 5306200"/>
                <a:gd name="connsiteY43" fmla="*/ 631714 h 747096"/>
                <a:gd name="connsiteX44" fmla="*/ 1063038 w 5306200"/>
                <a:gd name="connsiteY44" fmla="*/ 602869 h 747096"/>
                <a:gd name="connsiteX45" fmla="*/ 538051 w 5306200"/>
                <a:gd name="connsiteY45" fmla="*/ 522102 h 747096"/>
                <a:gd name="connsiteX46" fmla="*/ 373632 w 5306200"/>
                <a:gd name="connsiteY46" fmla="*/ 496141 h 747096"/>
                <a:gd name="connsiteX47" fmla="*/ 192723 w 5306200"/>
                <a:gd name="connsiteY47" fmla="*/ 467187 h 747096"/>
                <a:gd name="connsiteX48" fmla="*/ 0 w 5306200"/>
                <a:gd name="connsiteY4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31315 w 5306200"/>
                <a:gd name="connsiteY9" fmla="*/ 142484 h 747096"/>
                <a:gd name="connsiteX10" fmla="*/ 803429 w 5306200"/>
                <a:gd name="connsiteY10" fmla="*/ 147111 h 747096"/>
                <a:gd name="connsiteX11" fmla="*/ 861120 w 5306200"/>
                <a:gd name="connsiteY11" fmla="*/ 138458 h 747096"/>
                <a:gd name="connsiteX12" fmla="*/ 953425 w 5306200"/>
                <a:gd name="connsiteY12" fmla="*/ 124035 h 747096"/>
                <a:gd name="connsiteX13" fmla="*/ 1045731 w 5306200"/>
                <a:gd name="connsiteY13" fmla="*/ 112497 h 747096"/>
                <a:gd name="connsiteX14" fmla="*/ 1120729 w 5306200"/>
                <a:gd name="connsiteY14" fmla="*/ 103843 h 747096"/>
                <a:gd name="connsiteX15" fmla="*/ 1187073 w 5306200"/>
                <a:gd name="connsiteY15" fmla="*/ 95189 h 747096"/>
                <a:gd name="connsiteX16" fmla="*/ 1285148 w 5306200"/>
                <a:gd name="connsiteY16" fmla="*/ 86536 h 747096"/>
                <a:gd name="connsiteX17" fmla="*/ 1417837 w 5306200"/>
                <a:gd name="connsiteY17" fmla="*/ 77882 h 747096"/>
                <a:gd name="connsiteX18" fmla="*/ 1616870 w 5306200"/>
                <a:gd name="connsiteY18" fmla="*/ 63460 h 747096"/>
                <a:gd name="connsiteX19" fmla="*/ 1836095 w 5306200"/>
                <a:gd name="connsiteY19" fmla="*/ 54806 h 747096"/>
                <a:gd name="connsiteX20" fmla="*/ 2038013 w 5306200"/>
                <a:gd name="connsiteY20" fmla="*/ 43268 h 747096"/>
                <a:gd name="connsiteX21" fmla="*/ 2213970 w 5306200"/>
                <a:gd name="connsiteY21" fmla="*/ 34614 h 747096"/>
                <a:gd name="connsiteX22" fmla="*/ 2441849 w 5306200"/>
                <a:gd name="connsiteY22" fmla="*/ 25960 h 747096"/>
                <a:gd name="connsiteX23" fmla="*/ 2764918 w 5306200"/>
                <a:gd name="connsiteY23" fmla="*/ 20191 h 747096"/>
                <a:gd name="connsiteX24" fmla="*/ 2900491 w 5306200"/>
                <a:gd name="connsiteY24" fmla="*/ 17307 h 747096"/>
                <a:gd name="connsiteX25" fmla="*/ 3027411 w 5306200"/>
                <a:gd name="connsiteY25" fmla="*/ 14422 h 747096"/>
                <a:gd name="connsiteX26" fmla="*/ 3157216 w 5306200"/>
                <a:gd name="connsiteY26" fmla="*/ 11538 h 747096"/>
                <a:gd name="connsiteX27" fmla="*/ 3336057 w 5306200"/>
                <a:gd name="connsiteY27" fmla="*/ 8653 h 747096"/>
                <a:gd name="connsiteX28" fmla="*/ 3506245 w 5306200"/>
                <a:gd name="connsiteY28" fmla="*/ 8653 h 747096"/>
                <a:gd name="connsiteX29" fmla="*/ 3722586 w 5306200"/>
                <a:gd name="connsiteY29" fmla="*/ 11537 h 747096"/>
                <a:gd name="connsiteX30" fmla="*/ 5306200 w 5306200"/>
                <a:gd name="connsiteY30" fmla="*/ 0 h 747096"/>
                <a:gd name="connsiteX31" fmla="*/ 5306200 w 5306200"/>
                <a:gd name="connsiteY31" fmla="*/ 744212 h 747096"/>
                <a:gd name="connsiteX32" fmla="*/ 3177408 w 5306200"/>
                <a:gd name="connsiteY32" fmla="*/ 747096 h 747096"/>
                <a:gd name="connsiteX33" fmla="*/ 2952413 w 5306200"/>
                <a:gd name="connsiteY33" fmla="*/ 747096 h 747096"/>
                <a:gd name="connsiteX34" fmla="*/ 2877415 w 5306200"/>
                <a:gd name="connsiteY34" fmla="*/ 747096 h 747096"/>
                <a:gd name="connsiteX35" fmla="*/ 2551462 w 5306200"/>
                <a:gd name="connsiteY35" fmla="*/ 741327 h 747096"/>
                <a:gd name="connsiteX36" fmla="*/ 2456272 w 5306200"/>
                <a:gd name="connsiteY36" fmla="*/ 735558 h 747096"/>
                <a:gd name="connsiteX37" fmla="*/ 2366851 w 5306200"/>
                <a:gd name="connsiteY37" fmla="*/ 729789 h 747096"/>
                <a:gd name="connsiteX38" fmla="*/ 2263008 w 5306200"/>
                <a:gd name="connsiteY38" fmla="*/ 724020 h 747096"/>
                <a:gd name="connsiteX39" fmla="*/ 2075512 w 5306200"/>
                <a:gd name="connsiteY39" fmla="*/ 706713 h 747096"/>
                <a:gd name="connsiteX40" fmla="*/ 1882248 w 5306200"/>
                <a:gd name="connsiteY40" fmla="*/ 686521 h 747096"/>
                <a:gd name="connsiteX41" fmla="*/ 1697637 w 5306200"/>
                <a:gd name="connsiteY41" fmla="*/ 669213 h 747096"/>
                <a:gd name="connsiteX42" fmla="*/ 1513026 w 5306200"/>
                <a:gd name="connsiteY42" fmla="*/ 652832 h 747096"/>
                <a:gd name="connsiteX43" fmla="*/ 1319762 w 5306200"/>
                <a:gd name="connsiteY43" fmla="*/ 631714 h 747096"/>
                <a:gd name="connsiteX44" fmla="*/ 1063038 w 5306200"/>
                <a:gd name="connsiteY44" fmla="*/ 602869 h 747096"/>
                <a:gd name="connsiteX45" fmla="*/ 538051 w 5306200"/>
                <a:gd name="connsiteY45" fmla="*/ 522102 h 747096"/>
                <a:gd name="connsiteX46" fmla="*/ 373632 w 5306200"/>
                <a:gd name="connsiteY46" fmla="*/ 496141 h 747096"/>
                <a:gd name="connsiteX47" fmla="*/ 192723 w 5306200"/>
                <a:gd name="connsiteY47" fmla="*/ 467187 h 747096"/>
                <a:gd name="connsiteX48" fmla="*/ 0 w 5306200"/>
                <a:gd name="connsiteY4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31315 w 5306200"/>
                <a:gd name="connsiteY9" fmla="*/ 142484 h 747096"/>
                <a:gd name="connsiteX10" fmla="*/ 861120 w 5306200"/>
                <a:gd name="connsiteY10" fmla="*/ 138458 h 747096"/>
                <a:gd name="connsiteX11" fmla="*/ 953425 w 5306200"/>
                <a:gd name="connsiteY11" fmla="*/ 124035 h 747096"/>
                <a:gd name="connsiteX12" fmla="*/ 1045731 w 5306200"/>
                <a:gd name="connsiteY12" fmla="*/ 112497 h 747096"/>
                <a:gd name="connsiteX13" fmla="*/ 1120729 w 5306200"/>
                <a:gd name="connsiteY13" fmla="*/ 103843 h 747096"/>
                <a:gd name="connsiteX14" fmla="*/ 1187073 w 5306200"/>
                <a:gd name="connsiteY14" fmla="*/ 95189 h 747096"/>
                <a:gd name="connsiteX15" fmla="*/ 1285148 w 5306200"/>
                <a:gd name="connsiteY15" fmla="*/ 86536 h 747096"/>
                <a:gd name="connsiteX16" fmla="*/ 1417837 w 5306200"/>
                <a:gd name="connsiteY16" fmla="*/ 77882 h 747096"/>
                <a:gd name="connsiteX17" fmla="*/ 1616870 w 5306200"/>
                <a:gd name="connsiteY17" fmla="*/ 63460 h 747096"/>
                <a:gd name="connsiteX18" fmla="*/ 1836095 w 5306200"/>
                <a:gd name="connsiteY18" fmla="*/ 54806 h 747096"/>
                <a:gd name="connsiteX19" fmla="*/ 2038013 w 5306200"/>
                <a:gd name="connsiteY19" fmla="*/ 43268 h 747096"/>
                <a:gd name="connsiteX20" fmla="*/ 2213970 w 5306200"/>
                <a:gd name="connsiteY20" fmla="*/ 34614 h 747096"/>
                <a:gd name="connsiteX21" fmla="*/ 2441849 w 5306200"/>
                <a:gd name="connsiteY21" fmla="*/ 25960 h 747096"/>
                <a:gd name="connsiteX22" fmla="*/ 2764918 w 5306200"/>
                <a:gd name="connsiteY22" fmla="*/ 20191 h 747096"/>
                <a:gd name="connsiteX23" fmla="*/ 2900491 w 5306200"/>
                <a:gd name="connsiteY23" fmla="*/ 17307 h 747096"/>
                <a:gd name="connsiteX24" fmla="*/ 3027411 w 5306200"/>
                <a:gd name="connsiteY24" fmla="*/ 14422 h 747096"/>
                <a:gd name="connsiteX25" fmla="*/ 3157216 w 5306200"/>
                <a:gd name="connsiteY25" fmla="*/ 11538 h 747096"/>
                <a:gd name="connsiteX26" fmla="*/ 3336057 w 5306200"/>
                <a:gd name="connsiteY26" fmla="*/ 8653 h 747096"/>
                <a:gd name="connsiteX27" fmla="*/ 3506245 w 5306200"/>
                <a:gd name="connsiteY27" fmla="*/ 8653 h 747096"/>
                <a:gd name="connsiteX28" fmla="*/ 3722586 w 5306200"/>
                <a:gd name="connsiteY28" fmla="*/ 11537 h 747096"/>
                <a:gd name="connsiteX29" fmla="*/ 5306200 w 5306200"/>
                <a:gd name="connsiteY29" fmla="*/ 0 h 747096"/>
                <a:gd name="connsiteX30" fmla="*/ 5306200 w 5306200"/>
                <a:gd name="connsiteY30" fmla="*/ 744212 h 747096"/>
                <a:gd name="connsiteX31" fmla="*/ 3177408 w 5306200"/>
                <a:gd name="connsiteY31" fmla="*/ 747096 h 747096"/>
                <a:gd name="connsiteX32" fmla="*/ 2952413 w 5306200"/>
                <a:gd name="connsiteY32" fmla="*/ 747096 h 747096"/>
                <a:gd name="connsiteX33" fmla="*/ 2877415 w 5306200"/>
                <a:gd name="connsiteY33" fmla="*/ 747096 h 747096"/>
                <a:gd name="connsiteX34" fmla="*/ 2551462 w 5306200"/>
                <a:gd name="connsiteY34" fmla="*/ 741327 h 747096"/>
                <a:gd name="connsiteX35" fmla="*/ 2456272 w 5306200"/>
                <a:gd name="connsiteY35" fmla="*/ 735558 h 747096"/>
                <a:gd name="connsiteX36" fmla="*/ 2366851 w 5306200"/>
                <a:gd name="connsiteY36" fmla="*/ 729789 h 747096"/>
                <a:gd name="connsiteX37" fmla="*/ 2263008 w 5306200"/>
                <a:gd name="connsiteY37" fmla="*/ 724020 h 747096"/>
                <a:gd name="connsiteX38" fmla="*/ 2075512 w 5306200"/>
                <a:gd name="connsiteY38" fmla="*/ 706713 h 747096"/>
                <a:gd name="connsiteX39" fmla="*/ 1882248 w 5306200"/>
                <a:gd name="connsiteY39" fmla="*/ 686521 h 747096"/>
                <a:gd name="connsiteX40" fmla="*/ 1697637 w 5306200"/>
                <a:gd name="connsiteY40" fmla="*/ 669213 h 747096"/>
                <a:gd name="connsiteX41" fmla="*/ 1513026 w 5306200"/>
                <a:gd name="connsiteY41" fmla="*/ 652832 h 747096"/>
                <a:gd name="connsiteX42" fmla="*/ 1319762 w 5306200"/>
                <a:gd name="connsiteY42" fmla="*/ 631714 h 747096"/>
                <a:gd name="connsiteX43" fmla="*/ 1063038 w 5306200"/>
                <a:gd name="connsiteY43" fmla="*/ 602869 h 747096"/>
                <a:gd name="connsiteX44" fmla="*/ 538051 w 5306200"/>
                <a:gd name="connsiteY44" fmla="*/ 522102 h 747096"/>
                <a:gd name="connsiteX45" fmla="*/ 373632 w 5306200"/>
                <a:gd name="connsiteY45" fmla="*/ 496141 h 747096"/>
                <a:gd name="connsiteX46" fmla="*/ 192723 w 5306200"/>
                <a:gd name="connsiteY46" fmla="*/ 467187 h 747096"/>
                <a:gd name="connsiteX47" fmla="*/ 0 w 5306200"/>
                <a:gd name="connsiteY47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31315 w 5306200"/>
                <a:gd name="connsiteY9" fmla="*/ 142484 h 747096"/>
                <a:gd name="connsiteX10" fmla="*/ 864930 w 5306200"/>
                <a:gd name="connsiteY10" fmla="*/ 119408 h 747096"/>
                <a:gd name="connsiteX11" fmla="*/ 953425 w 5306200"/>
                <a:gd name="connsiteY11" fmla="*/ 124035 h 747096"/>
                <a:gd name="connsiteX12" fmla="*/ 1045731 w 5306200"/>
                <a:gd name="connsiteY12" fmla="*/ 112497 h 747096"/>
                <a:gd name="connsiteX13" fmla="*/ 1120729 w 5306200"/>
                <a:gd name="connsiteY13" fmla="*/ 103843 h 747096"/>
                <a:gd name="connsiteX14" fmla="*/ 1187073 w 5306200"/>
                <a:gd name="connsiteY14" fmla="*/ 95189 h 747096"/>
                <a:gd name="connsiteX15" fmla="*/ 1285148 w 5306200"/>
                <a:gd name="connsiteY15" fmla="*/ 86536 h 747096"/>
                <a:gd name="connsiteX16" fmla="*/ 1417837 w 5306200"/>
                <a:gd name="connsiteY16" fmla="*/ 77882 h 747096"/>
                <a:gd name="connsiteX17" fmla="*/ 1616870 w 5306200"/>
                <a:gd name="connsiteY17" fmla="*/ 63460 h 747096"/>
                <a:gd name="connsiteX18" fmla="*/ 1836095 w 5306200"/>
                <a:gd name="connsiteY18" fmla="*/ 54806 h 747096"/>
                <a:gd name="connsiteX19" fmla="*/ 2038013 w 5306200"/>
                <a:gd name="connsiteY19" fmla="*/ 43268 h 747096"/>
                <a:gd name="connsiteX20" fmla="*/ 2213970 w 5306200"/>
                <a:gd name="connsiteY20" fmla="*/ 34614 h 747096"/>
                <a:gd name="connsiteX21" fmla="*/ 2441849 w 5306200"/>
                <a:gd name="connsiteY21" fmla="*/ 25960 h 747096"/>
                <a:gd name="connsiteX22" fmla="*/ 2764918 w 5306200"/>
                <a:gd name="connsiteY22" fmla="*/ 20191 h 747096"/>
                <a:gd name="connsiteX23" fmla="*/ 2900491 w 5306200"/>
                <a:gd name="connsiteY23" fmla="*/ 17307 h 747096"/>
                <a:gd name="connsiteX24" fmla="*/ 3027411 w 5306200"/>
                <a:gd name="connsiteY24" fmla="*/ 14422 h 747096"/>
                <a:gd name="connsiteX25" fmla="*/ 3157216 w 5306200"/>
                <a:gd name="connsiteY25" fmla="*/ 11538 h 747096"/>
                <a:gd name="connsiteX26" fmla="*/ 3336057 w 5306200"/>
                <a:gd name="connsiteY26" fmla="*/ 8653 h 747096"/>
                <a:gd name="connsiteX27" fmla="*/ 3506245 w 5306200"/>
                <a:gd name="connsiteY27" fmla="*/ 8653 h 747096"/>
                <a:gd name="connsiteX28" fmla="*/ 3722586 w 5306200"/>
                <a:gd name="connsiteY28" fmla="*/ 11537 h 747096"/>
                <a:gd name="connsiteX29" fmla="*/ 5306200 w 5306200"/>
                <a:gd name="connsiteY29" fmla="*/ 0 h 747096"/>
                <a:gd name="connsiteX30" fmla="*/ 5306200 w 5306200"/>
                <a:gd name="connsiteY30" fmla="*/ 744212 h 747096"/>
                <a:gd name="connsiteX31" fmla="*/ 3177408 w 5306200"/>
                <a:gd name="connsiteY31" fmla="*/ 747096 h 747096"/>
                <a:gd name="connsiteX32" fmla="*/ 2952413 w 5306200"/>
                <a:gd name="connsiteY32" fmla="*/ 747096 h 747096"/>
                <a:gd name="connsiteX33" fmla="*/ 2877415 w 5306200"/>
                <a:gd name="connsiteY33" fmla="*/ 747096 h 747096"/>
                <a:gd name="connsiteX34" fmla="*/ 2551462 w 5306200"/>
                <a:gd name="connsiteY34" fmla="*/ 741327 h 747096"/>
                <a:gd name="connsiteX35" fmla="*/ 2456272 w 5306200"/>
                <a:gd name="connsiteY35" fmla="*/ 735558 h 747096"/>
                <a:gd name="connsiteX36" fmla="*/ 2366851 w 5306200"/>
                <a:gd name="connsiteY36" fmla="*/ 729789 h 747096"/>
                <a:gd name="connsiteX37" fmla="*/ 2263008 w 5306200"/>
                <a:gd name="connsiteY37" fmla="*/ 724020 h 747096"/>
                <a:gd name="connsiteX38" fmla="*/ 2075512 w 5306200"/>
                <a:gd name="connsiteY38" fmla="*/ 706713 h 747096"/>
                <a:gd name="connsiteX39" fmla="*/ 1882248 w 5306200"/>
                <a:gd name="connsiteY39" fmla="*/ 686521 h 747096"/>
                <a:gd name="connsiteX40" fmla="*/ 1697637 w 5306200"/>
                <a:gd name="connsiteY40" fmla="*/ 669213 h 747096"/>
                <a:gd name="connsiteX41" fmla="*/ 1513026 w 5306200"/>
                <a:gd name="connsiteY41" fmla="*/ 652832 h 747096"/>
                <a:gd name="connsiteX42" fmla="*/ 1319762 w 5306200"/>
                <a:gd name="connsiteY42" fmla="*/ 631714 h 747096"/>
                <a:gd name="connsiteX43" fmla="*/ 1063038 w 5306200"/>
                <a:gd name="connsiteY43" fmla="*/ 602869 h 747096"/>
                <a:gd name="connsiteX44" fmla="*/ 538051 w 5306200"/>
                <a:gd name="connsiteY44" fmla="*/ 522102 h 747096"/>
                <a:gd name="connsiteX45" fmla="*/ 373632 w 5306200"/>
                <a:gd name="connsiteY45" fmla="*/ 496141 h 747096"/>
                <a:gd name="connsiteX46" fmla="*/ 192723 w 5306200"/>
                <a:gd name="connsiteY46" fmla="*/ 467187 h 747096"/>
                <a:gd name="connsiteX47" fmla="*/ 0 w 5306200"/>
                <a:gd name="connsiteY47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31315 w 5306200"/>
                <a:gd name="connsiteY9" fmla="*/ 142484 h 747096"/>
                <a:gd name="connsiteX10" fmla="*/ 864930 w 5306200"/>
                <a:gd name="connsiteY10" fmla="*/ 119408 h 747096"/>
                <a:gd name="connsiteX11" fmla="*/ 961045 w 5306200"/>
                <a:gd name="connsiteY11" fmla="*/ 97365 h 747096"/>
                <a:gd name="connsiteX12" fmla="*/ 1045731 w 5306200"/>
                <a:gd name="connsiteY12" fmla="*/ 112497 h 747096"/>
                <a:gd name="connsiteX13" fmla="*/ 1120729 w 5306200"/>
                <a:gd name="connsiteY13" fmla="*/ 103843 h 747096"/>
                <a:gd name="connsiteX14" fmla="*/ 1187073 w 5306200"/>
                <a:gd name="connsiteY14" fmla="*/ 95189 h 747096"/>
                <a:gd name="connsiteX15" fmla="*/ 1285148 w 5306200"/>
                <a:gd name="connsiteY15" fmla="*/ 86536 h 747096"/>
                <a:gd name="connsiteX16" fmla="*/ 1417837 w 5306200"/>
                <a:gd name="connsiteY16" fmla="*/ 77882 h 747096"/>
                <a:gd name="connsiteX17" fmla="*/ 1616870 w 5306200"/>
                <a:gd name="connsiteY17" fmla="*/ 63460 h 747096"/>
                <a:gd name="connsiteX18" fmla="*/ 1836095 w 5306200"/>
                <a:gd name="connsiteY18" fmla="*/ 54806 h 747096"/>
                <a:gd name="connsiteX19" fmla="*/ 2038013 w 5306200"/>
                <a:gd name="connsiteY19" fmla="*/ 43268 h 747096"/>
                <a:gd name="connsiteX20" fmla="*/ 2213970 w 5306200"/>
                <a:gd name="connsiteY20" fmla="*/ 34614 h 747096"/>
                <a:gd name="connsiteX21" fmla="*/ 2441849 w 5306200"/>
                <a:gd name="connsiteY21" fmla="*/ 25960 h 747096"/>
                <a:gd name="connsiteX22" fmla="*/ 2764918 w 5306200"/>
                <a:gd name="connsiteY22" fmla="*/ 20191 h 747096"/>
                <a:gd name="connsiteX23" fmla="*/ 2900491 w 5306200"/>
                <a:gd name="connsiteY23" fmla="*/ 17307 h 747096"/>
                <a:gd name="connsiteX24" fmla="*/ 3027411 w 5306200"/>
                <a:gd name="connsiteY24" fmla="*/ 14422 h 747096"/>
                <a:gd name="connsiteX25" fmla="*/ 3157216 w 5306200"/>
                <a:gd name="connsiteY25" fmla="*/ 11538 h 747096"/>
                <a:gd name="connsiteX26" fmla="*/ 3336057 w 5306200"/>
                <a:gd name="connsiteY26" fmla="*/ 8653 h 747096"/>
                <a:gd name="connsiteX27" fmla="*/ 3506245 w 5306200"/>
                <a:gd name="connsiteY27" fmla="*/ 8653 h 747096"/>
                <a:gd name="connsiteX28" fmla="*/ 3722586 w 5306200"/>
                <a:gd name="connsiteY28" fmla="*/ 11537 h 747096"/>
                <a:gd name="connsiteX29" fmla="*/ 5306200 w 5306200"/>
                <a:gd name="connsiteY29" fmla="*/ 0 h 747096"/>
                <a:gd name="connsiteX30" fmla="*/ 5306200 w 5306200"/>
                <a:gd name="connsiteY30" fmla="*/ 744212 h 747096"/>
                <a:gd name="connsiteX31" fmla="*/ 3177408 w 5306200"/>
                <a:gd name="connsiteY31" fmla="*/ 747096 h 747096"/>
                <a:gd name="connsiteX32" fmla="*/ 2952413 w 5306200"/>
                <a:gd name="connsiteY32" fmla="*/ 747096 h 747096"/>
                <a:gd name="connsiteX33" fmla="*/ 2877415 w 5306200"/>
                <a:gd name="connsiteY33" fmla="*/ 747096 h 747096"/>
                <a:gd name="connsiteX34" fmla="*/ 2551462 w 5306200"/>
                <a:gd name="connsiteY34" fmla="*/ 741327 h 747096"/>
                <a:gd name="connsiteX35" fmla="*/ 2456272 w 5306200"/>
                <a:gd name="connsiteY35" fmla="*/ 735558 h 747096"/>
                <a:gd name="connsiteX36" fmla="*/ 2366851 w 5306200"/>
                <a:gd name="connsiteY36" fmla="*/ 729789 h 747096"/>
                <a:gd name="connsiteX37" fmla="*/ 2263008 w 5306200"/>
                <a:gd name="connsiteY37" fmla="*/ 724020 h 747096"/>
                <a:gd name="connsiteX38" fmla="*/ 2075512 w 5306200"/>
                <a:gd name="connsiteY38" fmla="*/ 706713 h 747096"/>
                <a:gd name="connsiteX39" fmla="*/ 1882248 w 5306200"/>
                <a:gd name="connsiteY39" fmla="*/ 686521 h 747096"/>
                <a:gd name="connsiteX40" fmla="*/ 1697637 w 5306200"/>
                <a:gd name="connsiteY40" fmla="*/ 669213 h 747096"/>
                <a:gd name="connsiteX41" fmla="*/ 1513026 w 5306200"/>
                <a:gd name="connsiteY41" fmla="*/ 652832 h 747096"/>
                <a:gd name="connsiteX42" fmla="*/ 1319762 w 5306200"/>
                <a:gd name="connsiteY42" fmla="*/ 631714 h 747096"/>
                <a:gd name="connsiteX43" fmla="*/ 1063038 w 5306200"/>
                <a:gd name="connsiteY43" fmla="*/ 602869 h 747096"/>
                <a:gd name="connsiteX44" fmla="*/ 538051 w 5306200"/>
                <a:gd name="connsiteY44" fmla="*/ 522102 h 747096"/>
                <a:gd name="connsiteX45" fmla="*/ 373632 w 5306200"/>
                <a:gd name="connsiteY45" fmla="*/ 496141 h 747096"/>
                <a:gd name="connsiteX46" fmla="*/ 192723 w 5306200"/>
                <a:gd name="connsiteY46" fmla="*/ 467187 h 747096"/>
                <a:gd name="connsiteX47" fmla="*/ 0 w 5306200"/>
                <a:gd name="connsiteY47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31315 w 5306200"/>
                <a:gd name="connsiteY9" fmla="*/ 142484 h 747096"/>
                <a:gd name="connsiteX10" fmla="*/ 864930 w 5306200"/>
                <a:gd name="connsiteY10" fmla="*/ 119408 h 747096"/>
                <a:gd name="connsiteX11" fmla="*/ 961045 w 5306200"/>
                <a:gd name="connsiteY11" fmla="*/ 97365 h 747096"/>
                <a:gd name="connsiteX12" fmla="*/ 1041921 w 5306200"/>
                <a:gd name="connsiteY12" fmla="*/ 97257 h 747096"/>
                <a:gd name="connsiteX13" fmla="*/ 1120729 w 5306200"/>
                <a:gd name="connsiteY13" fmla="*/ 103843 h 747096"/>
                <a:gd name="connsiteX14" fmla="*/ 1187073 w 5306200"/>
                <a:gd name="connsiteY14" fmla="*/ 95189 h 747096"/>
                <a:gd name="connsiteX15" fmla="*/ 1285148 w 5306200"/>
                <a:gd name="connsiteY15" fmla="*/ 86536 h 747096"/>
                <a:gd name="connsiteX16" fmla="*/ 1417837 w 5306200"/>
                <a:gd name="connsiteY16" fmla="*/ 77882 h 747096"/>
                <a:gd name="connsiteX17" fmla="*/ 1616870 w 5306200"/>
                <a:gd name="connsiteY17" fmla="*/ 63460 h 747096"/>
                <a:gd name="connsiteX18" fmla="*/ 1836095 w 5306200"/>
                <a:gd name="connsiteY18" fmla="*/ 54806 h 747096"/>
                <a:gd name="connsiteX19" fmla="*/ 2038013 w 5306200"/>
                <a:gd name="connsiteY19" fmla="*/ 43268 h 747096"/>
                <a:gd name="connsiteX20" fmla="*/ 2213970 w 5306200"/>
                <a:gd name="connsiteY20" fmla="*/ 34614 h 747096"/>
                <a:gd name="connsiteX21" fmla="*/ 2441849 w 5306200"/>
                <a:gd name="connsiteY21" fmla="*/ 25960 h 747096"/>
                <a:gd name="connsiteX22" fmla="*/ 2764918 w 5306200"/>
                <a:gd name="connsiteY22" fmla="*/ 20191 h 747096"/>
                <a:gd name="connsiteX23" fmla="*/ 2900491 w 5306200"/>
                <a:gd name="connsiteY23" fmla="*/ 17307 h 747096"/>
                <a:gd name="connsiteX24" fmla="*/ 3027411 w 5306200"/>
                <a:gd name="connsiteY24" fmla="*/ 14422 h 747096"/>
                <a:gd name="connsiteX25" fmla="*/ 3157216 w 5306200"/>
                <a:gd name="connsiteY25" fmla="*/ 11538 h 747096"/>
                <a:gd name="connsiteX26" fmla="*/ 3336057 w 5306200"/>
                <a:gd name="connsiteY26" fmla="*/ 8653 h 747096"/>
                <a:gd name="connsiteX27" fmla="*/ 3506245 w 5306200"/>
                <a:gd name="connsiteY27" fmla="*/ 8653 h 747096"/>
                <a:gd name="connsiteX28" fmla="*/ 3722586 w 5306200"/>
                <a:gd name="connsiteY28" fmla="*/ 11537 h 747096"/>
                <a:gd name="connsiteX29" fmla="*/ 5306200 w 5306200"/>
                <a:gd name="connsiteY29" fmla="*/ 0 h 747096"/>
                <a:gd name="connsiteX30" fmla="*/ 5306200 w 5306200"/>
                <a:gd name="connsiteY30" fmla="*/ 744212 h 747096"/>
                <a:gd name="connsiteX31" fmla="*/ 3177408 w 5306200"/>
                <a:gd name="connsiteY31" fmla="*/ 747096 h 747096"/>
                <a:gd name="connsiteX32" fmla="*/ 2952413 w 5306200"/>
                <a:gd name="connsiteY32" fmla="*/ 747096 h 747096"/>
                <a:gd name="connsiteX33" fmla="*/ 2877415 w 5306200"/>
                <a:gd name="connsiteY33" fmla="*/ 747096 h 747096"/>
                <a:gd name="connsiteX34" fmla="*/ 2551462 w 5306200"/>
                <a:gd name="connsiteY34" fmla="*/ 741327 h 747096"/>
                <a:gd name="connsiteX35" fmla="*/ 2456272 w 5306200"/>
                <a:gd name="connsiteY35" fmla="*/ 735558 h 747096"/>
                <a:gd name="connsiteX36" fmla="*/ 2366851 w 5306200"/>
                <a:gd name="connsiteY36" fmla="*/ 729789 h 747096"/>
                <a:gd name="connsiteX37" fmla="*/ 2263008 w 5306200"/>
                <a:gd name="connsiteY37" fmla="*/ 724020 h 747096"/>
                <a:gd name="connsiteX38" fmla="*/ 2075512 w 5306200"/>
                <a:gd name="connsiteY38" fmla="*/ 706713 h 747096"/>
                <a:gd name="connsiteX39" fmla="*/ 1882248 w 5306200"/>
                <a:gd name="connsiteY39" fmla="*/ 686521 h 747096"/>
                <a:gd name="connsiteX40" fmla="*/ 1697637 w 5306200"/>
                <a:gd name="connsiteY40" fmla="*/ 669213 h 747096"/>
                <a:gd name="connsiteX41" fmla="*/ 1513026 w 5306200"/>
                <a:gd name="connsiteY41" fmla="*/ 652832 h 747096"/>
                <a:gd name="connsiteX42" fmla="*/ 1319762 w 5306200"/>
                <a:gd name="connsiteY42" fmla="*/ 631714 h 747096"/>
                <a:gd name="connsiteX43" fmla="*/ 1063038 w 5306200"/>
                <a:gd name="connsiteY43" fmla="*/ 602869 h 747096"/>
                <a:gd name="connsiteX44" fmla="*/ 538051 w 5306200"/>
                <a:gd name="connsiteY44" fmla="*/ 522102 h 747096"/>
                <a:gd name="connsiteX45" fmla="*/ 373632 w 5306200"/>
                <a:gd name="connsiteY45" fmla="*/ 496141 h 747096"/>
                <a:gd name="connsiteX46" fmla="*/ 192723 w 5306200"/>
                <a:gd name="connsiteY46" fmla="*/ 467187 h 747096"/>
                <a:gd name="connsiteX47" fmla="*/ 0 w 5306200"/>
                <a:gd name="connsiteY47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31315 w 5306200"/>
                <a:gd name="connsiteY9" fmla="*/ 142484 h 747096"/>
                <a:gd name="connsiteX10" fmla="*/ 864930 w 5306200"/>
                <a:gd name="connsiteY10" fmla="*/ 119408 h 747096"/>
                <a:gd name="connsiteX11" fmla="*/ 961045 w 5306200"/>
                <a:gd name="connsiteY11" fmla="*/ 97365 h 747096"/>
                <a:gd name="connsiteX12" fmla="*/ 1041921 w 5306200"/>
                <a:gd name="connsiteY12" fmla="*/ 97257 h 747096"/>
                <a:gd name="connsiteX13" fmla="*/ 1128349 w 5306200"/>
                <a:gd name="connsiteY13" fmla="*/ 88603 h 747096"/>
                <a:gd name="connsiteX14" fmla="*/ 1187073 w 5306200"/>
                <a:gd name="connsiteY14" fmla="*/ 95189 h 747096"/>
                <a:gd name="connsiteX15" fmla="*/ 1285148 w 5306200"/>
                <a:gd name="connsiteY15" fmla="*/ 86536 h 747096"/>
                <a:gd name="connsiteX16" fmla="*/ 1417837 w 5306200"/>
                <a:gd name="connsiteY16" fmla="*/ 77882 h 747096"/>
                <a:gd name="connsiteX17" fmla="*/ 1616870 w 5306200"/>
                <a:gd name="connsiteY17" fmla="*/ 63460 h 747096"/>
                <a:gd name="connsiteX18" fmla="*/ 1836095 w 5306200"/>
                <a:gd name="connsiteY18" fmla="*/ 54806 h 747096"/>
                <a:gd name="connsiteX19" fmla="*/ 2038013 w 5306200"/>
                <a:gd name="connsiteY19" fmla="*/ 43268 h 747096"/>
                <a:gd name="connsiteX20" fmla="*/ 2213970 w 5306200"/>
                <a:gd name="connsiteY20" fmla="*/ 34614 h 747096"/>
                <a:gd name="connsiteX21" fmla="*/ 2441849 w 5306200"/>
                <a:gd name="connsiteY21" fmla="*/ 25960 h 747096"/>
                <a:gd name="connsiteX22" fmla="*/ 2764918 w 5306200"/>
                <a:gd name="connsiteY22" fmla="*/ 20191 h 747096"/>
                <a:gd name="connsiteX23" fmla="*/ 2900491 w 5306200"/>
                <a:gd name="connsiteY23" fmla="*/ 17307 h 747096"/>
                <a:gd name="connsiteX24" fmla="*/ 3027411 w 5306200"/>
                <a:gd name="connsiteY24" fmla="*/ 14422 h 747096"/>
                <a:gd name="connsiteX25" fmla="*/ 3157216 w 5306200"/>
                <a:gd name="connsiteY25" fmla="*/ 11538 h 747096"/>
                <a:gd name="connsiteX26" fmla="*/ 3336057 w 5306200"/>
                <a:gd name="connsiteY26" fmla="*/ 8653 h 747096"/>
                <a:gd name="connsiteX27" fmla="*/ 3506245 w 5306200"/>
                <a:gd name="connsiteY27" fmla="*/ 8653 h 747096"/>
                <a:gd name="connsiteX28" fmla="*/ 3722586 w 5306200"/>
                <a:gd name="connsiteY28" fmla="*/ 11537 h 747096"/>
                <a:gd name="connsiteX29" fmla="*/ 5306200 w 5306200"/>
                <a:gd name="connsiteY29" fmla="*/ 0 h 747096"/>
                <a:gd name="connsiteX30" fmla="*/ 5306200 w 5306200"/>
                <a:gd name="connsiteY30" fmla="*/ 744212 h 747096"/>
                <a:gd name="connsiteX31" fmla="*/ 3177408 w 5306200"/>
                <a:gd name="connsiteY31" fmla="*/ 747096 h 747096"/>
                <a:gd name="connsiteX32" fmla="*/ 2952413 w 5306200"/>
                <a:gd name="connsiteY32" fmla="*/ 747096 h 747096"/>
                <a:gd name="connsiteX33" fmla="*/ 2877415 w 5306200"/>
                <a:gd name="connsiteY33" fmla="*/ 747096 h 747096"/>
                <a:gd name="connsiteX34" fmla="*/ 2551462 w 5306200"/>
                <a:gd name="connsiteY34" fmla="*/ 741327 h 747096"/>
                <a:gd name="connsiteX35" fmla="*/ 2456272 w 5306200"/>
                <a:gd name="connsiteY35" fmla="*/ 735558 h 747096"/>
                <a:gd name="connsiteX36" fmla="*/ 2366851 w 5306200"/>
                <a:gd name="connsiteY36" fmla="*/ 729789 h 747096"/>
                <a:gd name="connsiteX37" fmla="*/ 2263008 w 5306200"/>
                <a:gd name="connsiteY37" fmla="*/ 724020 h 747096"/>
                <a:gd name="connsiteX38" fmla="*/ 2075512 w 5306200"/>
                <a:gd name="connsiteY38" fmla="*/ 706713 h 747096"/>
                <a:gd name="connsiteX39" fmla="*/ 1882248 w 5306200"/>
                <a:gd name="connsiteY39" fmla="*/ 686521 h 747096"/>
                <a:gd name="connsiteX40" fmla="*/ 1697637 w 5306200"/>
                <a:gd name="connsiteY40" fmla="*/ 669213 h 747096"/>
                <a:gd name="connsiteX41" fmla="*/ 1513026 w 5306200"/>
                <a:gd name="connsiteY41" fmla="*/ 652832 h 747096"/>
                <a:gd name="connsiteX42" fmla="*/ 1319762 w 5306200"/>
                <a:gd name="connsiteY42" fmla="*/ 631714 h 747096"/>
                <a:gd name="connsiteX43" fmla="*/ 1063038 w 5306200"/>
                <a:gd name="connsiteY43" fmla="*/ 602869 h 747096"/>
                <a:gd name="connsiteX44" fmla="*/ 538051 w 5306200"/>
                <a:gd name="connsiteY44" fmla="*/ 522102 h 747096"/>
                <a:gd name="connsiteX45" fmla="*/ 373632 w 5306200"/>
                <a:gd name="connsiteY45" fmla="*/ 496141 h 747096"/>
                <a:gd name="connsiteX46" fmla="*/ 192723 w 5306200"/>
                <a:gd name="connsiteY46" fmla="*/ 467187 h 747096"/>
                <a:gd name="connsiteX47" fmla="*/ 0 w 5306200"/>
                <a:gd name="connsiteY47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31315 w 5306200"/>
                <a:gd name="connsiteY9" fmla="*/ 142484 h 747096"/>
                <a:gd name="connsiteX10" fmla="*/ 864930 w 5306200"/>
                <a:gd name="connsiteY10" fmla="*/ 119408 h 747096"/>
                <a:gd name="connsiteX11" fmla="*/ 961045 w 5306200"/>
                <a:gd name="connsiteY11" fmla="*/ 97365 h 747096"/>
                <a:gd name="connsiteX12" fmla="*/ 1041921 w 5306200"/>
                <a:gd name="connsiteY12" fmla="*/ 97257 h 747096"/>
                <a:gd name="connsiteX13" fmla="*/ 1128349 w 5306200"/>
                <a:gd name="connsiteY13" fmla="*/ 88603 h 747096"/>
                <a:gd name="connsiteX14" fmla="*/ 1194693 w 5306200"/>
                <a:gd name="connsiteY14" fmla="*/ 83759 h 747096"/>
                <a:gd name="connsiteX15" fmla="*/ 1285148 w 5306200"/>
                <a:gd name="connsiteY15" fmla="*/ 86536 h 747096"/>
                <a:gd name="connsiteX16" fmla="*/ 1417837 w 5306200"/>
                <a:gd name="connsiteY16" fmla="*/ 77882 h 747096"/>
                <a:gd name="connsiteX17" fmla="*/ 1616870 w 5306200"/>
                <a:gd name="connsiteY17" fmla="*/ 63460 h 747096"/>
                <a:gd name="connsiteX18" fmla="*/ 1836095 w 5306200"/>
                <a:gd name="connsiteY18" fmla="*/ 54806 h 747096"/>
                <a:gd name="connsiteX19" fmla="*/ 2038013 w 5306200"/>
                <a:gd name="connsiteY19" fmla="*/ 43268 h 747096"/>
                <a:gd name="connsiteX20" fmla="*/ 2213970 w 5306200"/>
                <a:gd name="connsiteY20" fmla="*/ 34614 h 747096"/>
                <a:gd name="connsiteX21" fmla="*/ 2441849 w 5306200"/>
                <a:gd name="connsiteY21" fmla="*/ 25960 h 747096"/>
                <a:gd name="connsiteX22" fmla="*/ 2764918 w 5306200"/>
                <a:gd name="connsiteY22" fmla="*/ 20191 h 747096"/>
                <a:gd name="connsiteX23" fmla="*/ 2900491 w 5306200"/>
                <a:gd name="connsiteY23" fmla="*/ 17307 h 747096"/>
                <a:gd name="connsiteX24" fmla="*/ 3027411 w 5306200"/>
                <a:gd name="connsiteY24" fmla="*/ 14422 h 747096"/>
                <a:gd name="connsiteX25" fmla="*/ 3157216 w 5306200"/>
                <a:gd name="connsiteY25" fmla="*/ 11538 h 747096"/>
                <a:gd name="connsiteX26" fmla="*/ 3336057 w 5306200"/>
                <a:gd name="connsiteY26" fmla="*/ 8653 h 747096"/>
                <a:gd name="connsiteX27" fmla="*/ 3506245 w 5306200"/>
                <a:gd name="connsiteY27" fmla="*/ 8653 h 747096"/>
                <a:gd name="connsiteX28" fmla="*/ 3722586 w 5306200"/>
                <a:gd name="connsiteY28" fmla="*/ 11537 h 747096"/>
                <a:gd name="connsiteX29" fmla="*/ 5306200 w 5306200"/>
                <a:gd name="connsiteY29" fmla="*/ 0 h 747096"/>
                <a:gd name="connsiteX30" fmla="*/ 5306200 w 5306200"/>
                <a:gd name="connsiteY30" fmla="*/ 744212 h 747096"/>
                <a:gd name="connsiteX31" fmla="*/ 3177408 w 5306200"/>
                <a:gd name="connsiteY31" fmla="*/ 747096 h 747096"/>
                <a:gd name="connsiteX32" fmla="*/ 2952413 w 5306200"/>
                <a:gd name="connsiteY32" fmla="*/ 747096 h 747096"/>
                <a:gd name="connsiteX33" fmla="*/ 2877415 w 5306200"/>
                <a:gd name="connsiteY33" fmla="*/ 747096 h 747096"/>
                <a:gd name="connsiteX34" fmla="*/ 2551462 w 5306200"/>
                <a:gd name="connsiteY34" fmla="*/ 741327 h 747096"/>
                <a:gd name="connsiteX35" fmla="*/ 2456272 w 5306200"/>
                <a:gd name="connsiteY35" fmla="*/ 735558 h 747096"/>
                <a:gd name="connsiteX36" fmla="*/ 2366851 w 5306200"/>
                <a:gd name="connsiteY36" fmla="*/ 729789 h 747096"/>
                <a:gd name="connsiteX37" fmla="*/ 2263008 w 5306200"/>
                <a:gd name="connsiteY37" fmla="*/ 724020 h 747096"/>
                <a:gd name="connsiteX38" fmla="*/ 2075512 w 5306200"/>
                <a:gd name="connsiteY38" fmla="*/ 706713 h 747096"/>
                <a:gd name="connsiteX39" fmla="*/ 1882248 w 5306200"/>
                <a:gd name="connsiteY39" fmla="*/ 686521 h 747096"/>
                <a:gd name="connsiteX40" fmla="*/ 1697637 w 5306200"/>
                <a:gd name="connsiteY40" fmla="*/ 669213 h 747096"/>
                <a:gd name="connsiteX41" fmla="*/ 1513026 w 5306200"/>
                <a:gd name="connsiteY41" fmla="*/ 652832 h 747096"/>
                <a:gd name="connsiteX42" fmla="*/ 1319762 w 5306200"/>
                <a:gd name="connsiteY42" fmla="*/ 631714 h 747096"/>
                <a:gd name="connsiteX43" fmla="*/ 1063038 w 5306200"/>
                <a:gd name="connsiteY43" fmla="*/ 602869 h 747096"/>
                <a:gd name="connsiteX44" fmla="*/ 538051 w 5306200"/>
                <a:gd name="connsiteY44" fmla="*/ 522102 h 747096"/>
                <a:gd name="connsiteX45" fmla="*/ 373632 w 5306200"/>
                <a:gd name="connsiteY45" fmla="*/ 496141 h 747096"/>
                <a:gd name="connsiteX46" fmla="*/ 192723 w 5306200"/>
                <a:gd name="connsiteY46" fmla="*/ 467187 h 747096"/>
                <a:gd name="connsiteX47" fmla="*/ 0 w 5306200"/>
                <a:gd name="connsiteY47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31315 w 5306200"/>
                <a:gd name="connsiteY9" fmla="*/ 142484 h 747096"/>
                <a:gd name="connsiteX10" fmla="*/ 857310 w 5306200"/>
                <a:gd name="connsiteY10" fmla="*/ 107978 h 747096"/>
                <a:gd name="connsiteX11" fmla="*/ 961045 w 5306200"/>
                <a:gd name="connsiteY11" fmla="*/ 97365 h 747096"/>
                <a:gd name="connsiteX12" fmla="*/ 1041921 w 5306200"/>
                <a:gd name="connsiteY12" fmla="*/ 97257 h 747096"/>
                <a:gd name="connsiteX13" fmla="*/ 1128349 w 5306200"/>
                <a:gd name="connsiteY13" fmla="*/ 88603 h 747096"/>
                <a:gd name="connsiteX14" fmla="*/ 1194693 w 5306200"/>
                <a:gd name="connsiteY14" fmla="*/ 83759 h 747096"/>
                <a:gd name="connsiteX15" fmla="*/ 1285148 w 5306200"/>
                <a:gd name="connsiteY15" fmla="*/ 86536 h 747096"/>
                <a:gd name="connsiteX16" fmla="*/ 1417837 w 5306200"/>
                <a:gd name="connsiteY16" fmla="*/ 77882 h 747096"/>
                <a:gd name="connsiteX17" fmla="*/ 1616870 w 5306200"/>
                <a:gd name="connsiteY17" fmla="*/ 63460 h 747096"/>
                <a:gd name="connsiteX18" fmla="*/ 1836095 w 5306200"/>
                <a:gd name="connsiteY18" fmla="*/ 54806 h 747096"/>
                <a:gd name="connsiteX19" fmla="*/ 2038013 w 5306200"/>
                <a:gd name="connsiteY19" fmla="*/ 43268 h 747096"/>
                <a:gd name="connsiteX20" fmla="*/ 2213970 w 5306200"/>
                <a:gd name="connsiteY20" fmla="*/ 34614 h 747096"/>
                <a:gd name="connsiteX21" fmla="*/ 2441849 w 5306200"/>
                <a:gd name="connsiteY21" fmla="*/ 25960 h 747096"/>
                <a:gd name="connsiteX22" fmla="*/ 2764918 w 5306200"/>
                <a:gd name="connsiteY22" fmla="*/ 20191 h 747096"/>
                <a:gd name="connsiteX23" fmla="*/ 2900491 w 5306200"/>
                <a:gd name="connsiteY23" fmla="*/ 17307 h 747096"/>
                <a:gd name="connsiteX24" fmla="*/ 3027411 w 5306200"/>
                <a:gd name="connsiteY24" fmla="*/ 14422 h 747096"/>
                <a:gd name="connsiteX25" fmla="*/ 3157216 w 5306200"/>
                <a:gd name="connsiteY25" fmla="*/ 11538 h 747096"/>
                <a:gd name="connsiteX26" fmla="*/ 3336057 w 5306200"/>
                <a:gd name="connsiteY26" fmla="*/ 8653 h 747096"/>
                <a:gd name="connsiteX27" fmla="*/ 3506245 w 5306200"/>
                <a:gd name="connsiteY27" fmla="*/ 8653 h 747096"/>
                <a:gd name="connsiteX28" fmla="*/ 3722586 w 5306200"/>
                <a:gd name="connsiteY28" fmla="*/ 11537 h 747096"/>
                <a:gd name="connsiteX29" fmla="*/ 5306200 w 5306200"/>
                <a:gd name="connsiteY29" fmla="*/ 0 h 747096"/>
                <a:gd name="connsiteX30" fmla="*/ 5306200 w 5306200"/>
                <a:gd name="connsiteY30" fmla="*/ 744212 h 747096"/>
                <a:gd name="connsiteX31" fmla="*/ 3177408 w 5306200"/>
                <a:gd name="connsiteY31" fmla="*/ 747096 h 747096"/>
                <a:gd name="connsiteX32" fmla="*/ 2952413 w 5306200"/>
                <a:gd name="connsiteY32" fmla="*/ 747096 h 747096"/>
                <a:gd name="connsiteX33" fmla="*/ 2877415 w 5306200"/>
                <a:gd name="connsiteY33" fmla="*/ 747096 h 747096"/>
                <a:gd name="connsiteX34" fmla="*/ 2551462 w 5306200"/>
                <a:gd name="connsiteY34" fmla="*/ 741327 h 747096"/>
                <a:gd name="connsiteX35" fmla="*/ 2456272 w 5306200"/>
                <a:gd name="connsiteY35" fmla="*/ 735558 h 747096"/>
                <a:gd name="connsiteX36" fmla="*/ 2366851 w 5306200"/>
                <a:gd name="connsiteY36" fmla="*/ 729789 h 747096"/>
                <a:gd name="connsiteX37" fmla="*/ 2263008 w 5306200"/>
                <a:gd name="connsiteY37" fmla="*/ 724020 h 747096"/>
                <a:gd name="connsiteX38" fmla="*/ 2075512 w 5306200"/>
                <a:gd name="connsiteY38" fmla="*/ 706713 h 747096"/>
                <a:gd name="connsiteX39" fmla="*/ 1882248 w 5306200"/>
                <a:gd name="connsiteY39" fmla="*/ 686521 h 747096"/>
                <a:gd name="connsiteX40" fmla="*/ 1697637 w 5306200"/>
                <a:gd name="connsiteY40" fmla="*/ 669213 h 747096"/>
                <a:gd name="connsiteX41" fmla="*/ 1513026 w 5306200"/>
                <a:gd name="connsiteY41" fmla="*/ 652832 h 747096"/>
                <a:gd name="connsiteX42" fmla="*/ 1319762 w 5306200"/>
                <a:gd name="connsiteY42" fmla="*/ 631714 h 747096"/>
                <a:gd name="connsiteX43" fmla="*/ 1063038 w 5306200"/>
                <a:gd name="connsiteY43" fmla="*/ 602869 h 747096"/>
                <a:gd name="connsiteX44" fmla="*/ 538051 w 5306200"/>
                <a:gd name="connsiteY44" fmla="*/ 522102 h 747096"/>
                <a:gd name="connsiteX45" fmla="*/ 373632 w 5306200"/>
                <a:gd name="connsiteY45" fmla="*/ 496141 h 747096"/>
                <a:gd name="connsiteX46" fmla="*/ 192723 w 5306200"/>
                <a:gd name="connsiteY46" fmla="*/ 467187 h 747096"/>
                <a:gd name="connsiteX47" fmla="*/ 0 w 5306200"/>
                <a:gd name="connsiteY47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269789 w 5306200"/>
                <a:gd name="connsiteY6" fmla="*/ 302877 h 747096"/>
                <a:gd name="connsiteX7" fmla="*/ 444820 w 5306200"/>
                <a:gd name="connsiteY7" fmla="*/ 223251 h 747096"/>
                <a:gd name="connsiteX8" fmla="*/ 640970 w 5306200"/>
                <a:gd name="connsiteY8" fmla="*/ 158866 h 747096"/>
                <a:gd name="connsiteX9" fmla="*/ 754175 w 5306200"/>
                <a:gd name="connsiteY9" fmla="*/ 134864 h 747096"/>
                <a:gd name="connsiteX10" fmla="*/ 857310 w 5306200"/>
                <a:gd name="connsiteY10" fmla="*/ 107978 h 747096"/>
                <a:gd name="connsiteX11" fmla="*/ 961045 w 5306200"/>
                <a:gd name="connsiteY11" fmla="*/ 97365 h 747096"/>
                <a:gd name="connsiteX12" fmla="*/ 1041921 w 5306200"/>
                <a:gd name="connsiteY12" fmla="*/ 97257 h 747096"/>
                <a:gd name="connsiteX13" fmla="*/ 1128349 w 5306200"/>
                <a:gd name="connsiteY13" fmla="*/ 88603 h 747096"/>
                <a:gd name="connsiteX14" fmla="*/ 1194693 w 5306200"/>
                <a:gd name="connsiteY14" fmla="*/ 83759 h 747096"/>
                <a:gd name="connsiteX15" fmla="*/ 1285148 w 5306200"/>
                <a:gd name="connsiteY15" fmla="*/ 86536 h 747096"/>
                <a:gd name="connsiteX16" fmla="*/ 1417837 w 5306200"/>
                <a:gd name="connsiteY16" fmla="*/ 77882 h 747096"/>
                <a:gd name="connsiteX17" fmla="*/ 1616870 w 5306200"/>
                <a:gd name="connsiteY17" fmla="*/ 63460 h 747096"/>
                <a:gd name="connsiteX18" fmla="*/ 1836095 w 5306200"/>
                <a:gd name="connsiteY18" fmla="*/ 54806 h 747096"/>
                <a:gd name="connsiteX19" fmla="*/ 2038013 w 5306200"/>
                <a:gd name="connsiteY19" fmla="*/ 43268 h 747096"/>
                <a:gd name="connsiteX20" fmla="*/ 2213970 w 5306200"/>
                <a:gd name="connsiteY20" fmla="*/ 34614 h 747096"/>
                <a:gd name="connsiteX21" fmla="*/ 2441849 w 5306200"/>
                <a:gd name="connsiteY21" fmla="*/ 25960 h 747096"/>
                <a:gd name="connsiteX22" fmla="*/ 2764918 w 5306200"/>
                <a:gd name="connsiteY22" fmla="*/ 20191 h 747096"/>
                <a:gd name="connsiteX23" fmla="*/ 2900491 w 5306200"/>
                <a:gd name="connsiteY23" fmla="*/ 17307 h 747096"/>
                <a:gd name="connsiteX24" fmla="*/ 3027411 w 5306200"/>
                <a:gd name="connsiteY24" fmla="*/ 14422 h 747096"/>
                <a:gd name="connsiteX25" fmla="*/ 3157216 w 5306200"/>
                <a:gd name="connsiteY25" fmla="*/ 11538 h 747096"/>
                <a:gd name="connsiteX26" fmla="*/ 3336057 w 5306200"/>
                <a:gd name="connsiteY26" fmla="*/ 8653 h 747096"/>
                <a:gd name="connsiteX27" fmla="*/ 3506245 w 5306200"/>
                <a:gd name="connsiteY27" fmla="*/ 8653 h 747096"/>
                <a:gd name="connsiteX28" fmla="*/ 3722586 w 5306200"/>
                <a:gd name="connsiteY28" fmla="*/ 11537 h 747096"/>
                <a:gd name="connsiteX29" fmla="*/ 5306200 w 5306200"/>
                <a:gd name="connsiteY29" fmla="*/ 0 h 747096"/>
                <a:gd name="connsiteX30" fmla="*/ 5306200 w 5306200"/>
                <a:gd name="connsiteY30" fmla="*/ 744212 h 747096"/>
                <a:gd name="connsiteX31" fmla="*/ 3177408 w 5306200"/>
                <a:gd name="connsiteY31" fmla="*/ 747096 h 747096"/>
                <a:gd name="connsiteX32" fmla="*/ 2952413 w 5306200"/>
                <a:gd name="connsiteY32" fmla="*/ 747096 h 747096"/>
                <a:gd name="connsiteX33" fmla="*/ 2877415 w 5306200"/>
                <a:gd name="connsiteY33" fmla="*/ 747096 h 747096"/>
                <a:gd name="connsiteX34" fmla="*/ 2551462 w 5306200"/>
                <a:gd name="connsiteY34" fmla="*/ 741327 h 747096"/>
                <a:gd name="connsiteX35" fmla="*/ 2456272 w 5306200"/>
                <a:gd name="connsiteY35" fmla="*/ 735558 h 747096"/>
                <a:gd name="connsiteX36" fmla="*/ 2366851 w 5306200"/>
                <a:gd name="connsiteY36" fmla="*/ 729789 h 747096"/>
                <a:gd name="connsiteX37" fmla="*/ 2263008 w 5306200"/>
                <a:gd name="connsiteY37" fmla="*/ 724020 h 747096"/>
                <a:gd name="connsiteX38" fmla="*/ 2075512 w 5306200"/>
                <a:gd name="connsiteY38" fmla="*/ 706713 h 747096"/>
                <a:gd name="connsiteX39" fmla="*/ 1882248 w 5306200"/>
                <a:gd name="connsiteY39" fmla="*/ 686521 h 747096"/>
                <a:gd name="connsiteX40" fmla="*/ 1697637 w 5306200"/>
                <a:gd name="connsiteY40" fmla="*/ 669213 h 747096"/>
                <a:gd name="connsiteX41" fmla="*/ 1513026 w 5306200"/>
                <a:gd name="connsiteY41" fmla="*/ 652832 h 747096"/>
                <a:gd name="connsiteX42" fmla="*/ 1319762 w 5306200"/>
                <a:gd name="connsiteY42" fmla="*/ 631714 h 747096"/>
                <a:gd name="connsiteX43" fmla="*/ 1063038 w 5306200"/>
                <a:gd name="connsiteY43" fmla="*/ 602869 h 747096"/>
                <a:gd name="connsiteX44" fmla="*/ 538051 w 5306200"/>
                <a:gd name="connsiteY44" fmla="*/ 522102 h 747096"/>
                <a:gd name="connsiteX45" fmla="*/ 373632 w 5306200"/>
                <a:gd name="connsiteY45" fmla="*/ 496141 h 747096"/>
                <a:gd name="connsiteX46" fmla="*/ 192723 w 5306200"/>
                <a:gd name="connsiteY46" fmla="*/ 467187 h 747096"/>
                <a:gd name="connsiteX47" fmla="*/ 0 w 5306200"/>
                <a:gd name="connsiteY47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754175 w 5306200"/>
                <a:gd name="connsiteY8" fmla="*/ 134864 h 747096"/>
                <a:gd name="connsiteX9" fmla="*/ 857310 w 5306200"/>
                <a:gd name="connsiteY9" fmla="*/ 107978 h 747096"/>
                <a:gd name="connsiteX10" fmla="*/ 961045 w 5306200"/>
                <a:gd name="connsiteY10" fmla="*/ 97365 h 747096"/>
                <a:gd name="connsiteX11" fmla="*/ 1041921 w 5306200"/>
                <a:gd name="connsiteY11" fmla="*/ 97257 h 747096"/>
                <a:gd name="connsiteX12" fmla="*/ 1128349 w 5306200"/>
                <a:gd name="connsiteY12" fmla="*/ 88603 h 747096"/>
                <a:gd name="connsiteX13" fmla="*/ 1194693 w 5306200"/>
                <a:gd name="connsiteY13" fmla="*/ 83759 h 747096"/>
                <a:gd name="connsiteX14" fmla="*/ 1285148 w 5306200"/>
                <a:gd name="connsiteY14" fmla="*/ 86536 h 747096"/>
                <a:gd name="connsiteX15" fmla="*/ 1417837 w 5306200"/>
                <a:gd name="connsiteY15" fmla="*/ 77882 h 747096"/>
                <a:gd name="connsiteX16" fmla="*/ 1616870 w 5306200"/>
                <a:gd name="connsiteY16" fmla="*/ 63460 h 747096"/>
                <a:gd name="connsiteX17" fmla="*/ 1836095 w 5306200"/>
                <a:gd name="connsiteY17" fmla="*/ 54806 h 747096"/>
                <a:gd name="connsiteX18" fmla="*/ 2038013 w 5306200"/>
                <a:gd name="connsiteY18" fmla="*/ 43268 h 747096"/>
                <a:gd name="connsiteX19" fmla="*/ 2213970 w 5306200"/>
                <a:gd name="connsiteY19" fmla="*/ 34614 h 747096"/>
                <a:gd name="connsiteX20" fmla="*/ 2441849 w 5306200"/>
                <a:gd name="connsiteY20" fmla="*/ 25960 h 747096"/>
                <a:gd name="connsiteX21" fmla="*/ 2764918 w 5306200"/>
                <a:gd name="connsiteY21" fmla="*/ 20191 h 747096"/>
                <a:gd name="connsiteX22" fmla="*/ 2900491 w 5306200"/>
                <a:gd name="connsiteY22" fmla="*/ 17307 h 747096"/>
                <a:gd name="connsiteX23" fmla="*/ 3027411 w 5306200"/>
                <a:gd name="connsiteY23" fmla="*/ 14422 h 747096"/>
                <a:gd name="connsiteX24" fmla="*/ 3157216 w 5306200"/>
                <a:gd name="connsiteY24" fmla="*/ 11538 h 747096"/>
                <a:gd name="connsiteX25" fmla="*/ 3336057 w 5306200"/>
                <a:gd name="connsiteY25" fmla="*/ 8653 h 747096"/>
                <a:gd name="connsiteX26" fmla="*/ 3506245 w 5306200"/>
                <a:gd name="connsiteY26" fmla="*/ 8653 h 747096"/>
                <a:gd name="connsiteX27" fmla="*/ 3722586 w 5306200"/>
                <a:gd name="connsiteY27" fmla="*/ 11537 h 747096"/>
                <a:gd name="connsiteX28" fmla="*/ 5306200 w 5306200"/>
                <a:gd name="connsiteY28" fmla="*/ 0 h 747096"/>
                <a:gd name="connsiteX29" fmla="*/ 5306200 w 5306200"/>
                <a:gd name="connsiteY29" fmla="*/ 744212 h 747096"/>
                <a:gd name="connsiteX30" fmla="*/ 3177408 w 5306200"/>
                <a:gd name="connsiteY30" fmla="*/ 747096 h 747096"/>
                <a:gd name="connsiteX31" fmla="*/ 2952413 w 5306200"/>
                <a:gd name="connsiteY31" fmla="*/ 747096 h 747096"/>
                <a:gd name="connsiteX32" fmla="*/ 2877415 w 5306200"/>
                <a:gd name="connsiteY32" fmla="*/ 747096 h 747096"/>
                <a:gd name="connsiteX33" fmla="*/ 2551462 w 5306200"/>
                <a:gd name="connsiteY33" fmla="*/ 741327 h 747096"/>
                <a:gd name="connsiteX34" fmla="*/ 2456272 w 5306200"/>
                <a:gd name="connsiteY34" fmla="*/ 735558 h 747096"/>
                <a:gd name="connsiteX35" fmla="*/ 2366851 w 5306200"/>
                <a:gd name="connsiteY35" fmla="*/ 729789 h 747096"/>
                <a:gd name="connsiteX36" fmla="*/ 2263008 w 5306200"/>
                <a:gd name="connsiteY36" fmla="*/ 724020 h 747096"/>
                <a:gd name="connsiteX37" fmla="*/ 2075512 w 5306200"/>
                <a:gd name="connsiteY37" fmla="*/ 706713 h 747096"/>
                <a:gd name="connsiteX38" fmla="*/ 1882248 w 5306200"/>
                <a:gd name="connsiteY38" fmla="*/ 686521 h 747096"/>
                <a:gd name="connsiteX39" fmla="*/ 1697637 w 5306200"/>
                <a:gd name="connsiteY39" fmla="*/ 669213 h 747096"/>
                <a:gd name="connsiteX40" fmla="*/ 1513026 w 5306200"/>
                <a:gd name="connsiteY40" fmla="*/ 652832 h 747096"/>
                <a:gd name="connsiteX41" fmla="*/ 1319762 w 5306200"/>
                <a:gd name="connsiteY41" fmla="*/ 631714 h 747096"/>
                <a:gd name="connsiteX42" fmla="*/ 1063038 w 5306200"/>
                <a:gd name="connsiteY42" fmla="*/ 602869 h 747096"/>
                <a:gd name="connsiteX43" fmla="*/ 538051 w 5306200"/>
                <a:gd name="connsiteY43" fmla="*/ 522102 h 747096"/>
                <a:gd name="connsiteX44" fmla="*/ 373632 w 5306200"/>
                <a:gd name="connsiteY44" fmla="*/ 496141 h 747096"/>
                <a:gd name="connsiteX45" fmla="*/ 192723 w 5306200"/>
                <a:gd name="connsiteY45" fmla="*/ 467187 h 747096"/>
                <a:gd name="connsiteX46" fmla="*/ 0 w 5306200"/>
                <a:gd name="connsiteY46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61045 w 5306200"/>
                <a:gd name="connsiteY9" fmla="*/ 97365 h 747096"/>
                <a:gd name="connsiteX10" fmla="*/ 1041921 w 5306200"/>
                <a:gd name="connsiteY10" fmla="*/ 97257 h 747096"/>
                <a:gd name="connsiteX11" fmla="*/ 1128349 w 5306200"/>
                <a:gd name="connsiteY11" fmla="*/ 88603 h 747096"/>
                <a:gd name="connsiteX12" fmla="*/ 1194693 w 5306200"/>
                <a:gd name="connsiteY12" fmla="*/ 83759 h 747096"/>
                <a:gd name="connsiteX13" fmla="*/ 1285148 w 5306200"/>
                <a:gd name="connsiteY13" fmla="*/ 86536 h 747096"/>
                <a:gd name="connsiteX14" fmla="*/ 1417837 w 5306200"/>
                <a:gd name="connsiteY14" fmla="*/ 77882 h 747096"/>
                <a:gd name="connsiteX15" fmla="*/ 1616870 w 5306200"/>
                <a:gd name="connsiteY15" fmla="*/ 63460 h 747096"/>
                <a:gd name="connsiteX16" fmla="*/ 1836095 w 5306200"/>
                <a:gd name="connsiteY16" fmla="*/ 54806 h 747096"/>
                <a:gd name="connsiteX17" fmla="*/ 2038013 w 5306200"/>
                <a:gd name="connsiteY17" fmla="*/ 43268 h 747096"/>
                <a:gd name="connsiteX18" fmla="*/ 2213970 w 5306200"/>
                <a:gd name="connsiteY18" fmla="*/ 34614 h 747096"/>
                <a:gd name="connsiteX19" fmla="*/ 2441849 w 5306200"/>
                <a:gd name="connsiteY19" fmla="*/ 25960 h 747096"/>
                <a:gd name="connsiteX20" fmla="*/ 2764918 w 5306200"/>
                <a:gd name="connsiteY20" fmla="*/ 20191 h 747096"/>
                <a:gd name="connsiteX21" fmla="*/ 2900491 w 5306200"/>
                <a:gd name="connsiteY21" fmla="*/ 17307 h 747096"/>
                <a:gd name="connsiteX22" fmla="*/ 3027411 w 5306200"/>
                <a:gd name="connsiteY22" fmla="*/ 14422 h 747096"/>
                <a:gd name="connsiteX23" fmla="*/ 3157216 w 5306200"/>
                <a:gd name="connsiteY23" fmla="*/ 11538 h 747096"/>
                <a:gd name="connsiteX24" fmla="*/ 3336057 w 5306200"/>
                <a:gd name="connsiteY24" fmla="*/ 8653 h 747096"/>
                <a:gd name="connsiteX25" fmla="*/ 3506245 w 5306200"/>
                <a:gd name="connsiteY25" fmla="*/ 8653 h 747096"/>
                <a:gd name="connsiteX26" fmla="*/ 3722586 w 5306200"/>
                <a:gd name="connsiteY26" fmla="*/ 11537 h 747096"/>
                <a:gd name="connsiteX27" fmla="*/ 5306200 w 5306200"/>
                <a:gd name="connsiteY27" fmla="*/ 0 h 747096"/>
                <a:gd name="connsiteX28" fmla="*/ 5306200 w 5306200"/>
                <a:gd name="connsiteY28" fmla="*/ 744212 h 747096"/>
                <a:gd name="connsiteX29" fmla="*/ 3177408 w 5306200"/>
                <a:gd name="connsiteY29" fmla="*/ 747096 h 747096"/>
                <a:gd name="connsiteX30" fmla="*/ 2952413 w 5306200"/>
                <a:gd name="connsiteY30" fmla="*/ 747096 h 747096"/>
                <a:gd name="connsiteX31" fmla="*/ 2877415 w 5306200"/>
                <a:gd name="connsiteY31" fmla="*/ 747096 h 747096"/>
                <a:gd name="connsiteX32" fmla="*/ 2551462 w 5306200"/>
                <a:gd name="connsiteY32" fmla="*/ 741327 h 747096"/>
                <a:gd name="connsiteX33" fmla="*/ 2456272 w 5306200"/>
                <a:gd name="connsiteY33" fmla="*/ 735558 h 747096"/>
                <a:gd name="connsiteX34" fmla="*/ 2366851 w 5306200"/>
                <a:gd name="connsiteY34" fmla="*/ 729789 h 747096"/>
                <a:gd name="connsiteX35" fmla="*/ 2263008 w 5306200"/>
                <a:gd name="connsiteY35" fmla="*/ 724020 h 747096"/>
                <a:gd name="connsiteX36" fmla="*/ 2075512 w 5306200"/>
                <a:gd name="connsiteY36" fmla="*/ 706713 h 747096"/>
                <a:gd name="connsiteX37" fmla="*/ 1882248 w 5306200"/>
                <a:gd name="connsiteY37" fmla="*/ 686521 h 747096"/>
                <a:gd name="connsiteX38" fmla="*/ 1697637 w 5306200"/>
                <a:gd name="connsiteY38" fmla="*/ 669213 h 747096"/>
                <a:gd name="connsiteX39" fmla="*/ 1513026 w 5306200"/>
                <a:gd name="connsiteY39" fmla="*/ 652832 h 747096"/>
                <a:gd name="connsiteX40" fmla="*/ 1319762 w 5306200"/>
                <a:gd name="connsiteY40" fmla="*/ 631714 h 747096"/>
                <a:gd name="connsiteX41" fmla="*/ 1063038 w 5306200"/>
                <a:gd name="connsiteY41" fmla="*/ 602869 h 747096"/>
                <a:gd name="connsiteX42" fmla="*/ 538051 w 5306200"/>
                <a:gd name="connsiteY42" fmla="*/ 522102 h 747096"/>
                <a:gd name="connsiteX43" fmla="*/ 373632 w 5306200"/>
                <a:gd name="connsiteY43" fmla="*/ 496141 h 747096"/>
                <a:gd name="connsiteX44" fmla="*/ 192723 w 5306200"/>
                <a:gd name="connsiteY44" fmla="*/ 467187 h 747096"/>
                <a:gd name="connsiteX45" fmla="*/ 0 w 5306200"/>
                <a:gd name="connsiteY45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61045 w 5306200"/>
                <a:gd name="connsiteY9" fmla="*/ 97365 h 747096"/>
                <a:gd name="connsiteX10" fmla="*/ 1128349 w 5306200"/>
                <a:gd name="connsiteY10" fmla="*/ 88603 h 747096"/>
                <a:gd name="connsiteX11" fmla="*/ 1194693 w 5306200"/>
                <a:gd name="connsiteY11" fmla="*/ 83759 h 747096"/>
                <a:gd name="connsiteX12" fmla="*/ 1285148 w 5306200"/>
                <a:gd name="connsiteY12" fmla="*/ 86536 h 747096"/>
                <a:gd name="connsiteX13" fmla="*/ 1417837 w 5306200"/>
                <a:gd name="connsiteY13" fmla="*/ 77882 h 747096"/>
                <a:gd name="connsiteX14" fmla="*/ 1616870 w 5306200"/>
                <a:gd name="connsiteY14" fmla="*/ 63460 h 747096"/>
                <a:gd name="connsiteX15" fmla="*/ 1836095 w 5306200"/>
                <a:gd name="connsiteY15" fmla="*/ 54806 h 747096"/>
                <a:gd name="connsiteX16" fmla="*/ 2038013 w 5306200"/>
                <a:gd name="connsiteY16" fmla="*/ 43268 h 747096"/>
                <a:gd name="connsiteX17" fmla="*/ 2213970 w 5306200"/>
                <a:gd name="connsiteY17" fmla="*/ 34614 h 747096"/>
                <a:gd name="connsiteX18" fmla="*/ 2441849 w 5306200"/>
                <a:gd name="connsiteY18" fmla="*/ 25960 h 747096"/>
                <a:gd name="connsiteX19" fmla="*/ 2764918 w 5306200"/>
                <a:gd name="connsiteY19" fmla="*/ 20191 h 747096"/>
                <a:gd name="connsiteX20" fmla="*/ 2900491 w 5306200"/>
                <a:gd name="connsiteY20" fmla="*/ 17307 h 747096"/>
                <a:gd name="connsiteX21" fmla="*/ 3027411 w 5306200"/>
                <a:gd name="connsiteY21" fmla="*/ 14422 h 747096"/>
                <a:gd name="connsiteX22" fmla="*/ 3157216 w 5306200"/>
                <a:gd name="connsiteY22" fmla="*/ 11538 h 747096"/>
                <a:gd name="connsiteX23" fmla="*/ 3336057 w 5306200"/>
                <a:gd name="connsiteY23" fmla="*/ 8653 h 747096"/>
                <a:gd name="connsiteX24" fmla="*/ 3506245 w 5306200"/>
                <a:gd name="connsiteY24" fmla="*/ 8653 h 747096"/>
                <a:gd name="connsiteX25" fmla="*/ 3722586 w 5306200"/>
                <a:gd name="connsiteY25" fmla="*/ 11537 h 747096"/>
                <a:gd name="connsiteX26" fmla="*/ 5306200 w 5306200"/>
                <a:gd name="connsiteY26" fmla="*/ 0 h 747096"/>
                <a:gd name="connsiteX27" fmla="*/ 5306200 w 5306200"/>
                <a:gd name="connsiteY27" fmla="*/ 744212 h 747096"/>
                <a:gd name="connsiteX28" fmla="*/ 3177408 w 5306200"/>
                <a:gd name="connsiteY28" fmla="*/ 747096 h 747096"/>
                <a:gd name="connsiteX29" fmla="*/ 2952413 w 5306200"/>
                <a:gd name="connsiteY29" fmla="*/ 747096 h 747096"/>
                <a:gd name="connsiteX30" fmla="*/ 2877415 w 5306200"/>
                <a:gd name="connsiteY30" fmla="*/ 747096 h 747096"/>
                <a:gd name="connsiteX31" fmla="*/ 2551462 w 5306200"/>
                <a:gd name="connsiteY31" fmla="*/ 741327 h 747096"/>
                <a:gd name="connsiteX32" fmla="*/ 2456272 w 5306200"/>
                <a:gd name="connsiteY32" fmla="*/ 735558 h 747096"/>
                <a:gd name="connsiteX33" fmla="*/ 2366851 w 5306200"/>
                <a:gd name="connsiteY33" fmla="*/ 729789 h 747096"/>
                <a:gd name="connsiteX34" fmla="*/ 2263008 w 5306200"/>
                <a:gd name="connsiteY34" fmla="*/ 724020 h 747096"/>
                <a:gd name="connsiteX35" fmla="*/ 2075512 w 5306200"/>
                <a:gd name="connsiteY35" fmla="*/ 706713 h 747096"/>
                <a:gd name="connsiteX36" fmla="*/ 1882248 w 5306200"/>
                <a:gd name="connsiteY36" fmla="*/ 686521 h 747096"/>
                <a:gd name="connsiteX37" fmla="*/ 1697637 w 5306200"/>
                <a:gd name="connsiteY37" fmla="*/ 669213 h 747096"/>
                <a:gd name="connsiteX38" fmla="*/ 1513026 w 5306200"/>
                <a:gd name="connsiteY38" fmla="*/ 652832 h 747096"/>
                <a:gd name="connsiteX39" fmla="*/ 1319762 w 5306200"/>
                <a:gd name="connsiteY39" fmla="*/ 631714 h 747096"/>
                <a:gd name="connsiteX40" fmla="*/ 1063038 w 5306200"/>
                <a:gd name="connsiteY40" fmla="*/ 602869 h 747096"/>
                <a:gd name="connsiteX41" fmla="*/ 538051 w 5306200"/>
                <a:gd name="connsiteY41" fmla="*/ 522102 h 747096"/>
                <a:gd name="connsiteX42" fmla="*/ 373632 w 5306200"/>
                <a:gd name="connsiteY42" fmla="*/ 496141 h 747096"/>
                <a:gd name="connsiteX43" fmla="*/ 192723 w 5306200"/>
                <a:gd name="connsiteY43" fmla="*/ 467187 h 747096"/>
                <a:gd name="connsiteX44" fmla="*/ 0 w 5306200"/>
                <a:gd name="connsiteY44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61045 w 5306200"/>
                <a:gd name="connsiteY9" fmla="*/ 97365 h 747096"/>
                <a:gd name="connsiteX10" fmla="*/ 1128349 w 5306200"/>
                <a:gd name="connsiteY10" fmla="*/ 88603 h 747096"/>
                <a:gd name="connsiteX11" fmla="*/ 1194693 w 5306200"/>
                <a:gd name="connsiteY11" fmla="*/ 83759 h 747096"/>
                <a:gd name="connsiteX12" fmla="*/ 1417837 w 5306200"/>
                <a:gd name="connsiteY12" fmla="*/ 77882 h 747096"/>
                <a:gd name="connsiteX13" fmla="*/ 1616870 w 5306200"/>
                <a:gd name="connsiteY13" fmla="*/ 63460 h 747096"/>
                <a:gd name="connsiteX14" fmla="*/ 1836095 w 5306200"/>
                <a:gd name="connsiteY14" fmla="*/ 54806 h 747096"/>
                <a:gd name="connsiteX15" fmla="*/ 2038013 w 5306200"/>
                <a:gd name="connsiteY15" fmla="*/ 43268 h 747096"/>
                <a:gd name="connsiteX16" fmla="*/ 2213970 w 5306200"/>
                <a:gd name="connsiteY16" fmla="*/ 34614 h 747096"/>
                <a:gd name="connsiteX17" fmla="*/ 2441849 w 5306200"/>
                <a:gd name="connsiteY17" fmla="*/ 25960 h 747096"/>
                <a:gd name="connsiteX18" fmla="*/ 2764918 w 5306200"/>
                <a:gd name="connsiteY18" fmla="*/ 20191 h 747096"/>
                <a:gd name="connsiteX19" fmla="*/ 2900491 w 5306200"/>
                <a:gd name="connsiteY19" fmla="*/ 17307 h 747096"/>
                <a:gd name="connsiteX20" fmla="*/ 3027411 w 5306200"/>
                <a:gd name="connsiteY20" fmla="*/ 14422 h 747096"/>
                <a:gd name="connsiteX21" fmla="*/ 3157216 w 5306200"/>
                <a:gd name="connsiteY21" fmla="*/ 11538 h 747096"/>
                <a:gd name="connsiteX22" fmla="*/ 3336057 w 5306200"/>
                <a:gd name="connsiteY22" fmla="*/ 8653 h 747096"/>
                <a:gd name="connsiteX23" fmla="*/ 3506245 w 5306200"/>
                <a:gd name="connsiteY23" fmla="*/ 8653 h 747096"/>
                <a:gd name="connsiteX24" fmla="*/ 3722586 w 5306200"/>
                <a:gd name="connsiteY24" fmla="*/ 11537 h 747096"/>
                <a:gd name="connsiteX25" fmla="*/ 5306200 w 5306200"/>
                <a:gd name="connsiteY25" fmla="*/ 0 h 747096"/>
                <a:gd name="connsiteX26" fmla="*/ 5306200 w 5306200"/>
                <a:gd name="connsiteY26" fmla="*/ 744212 h 747096"/>
                <a:gd name="connsiteX27" fmla="*/ 3177408 w 5306200"/>
                <a:gd name="connsiteY27" fmla="*/ 747096 h 747096"/>
                <a:gd name="connsiteX28" fmla="*/ 2952413 w 5306200"/>
                <a:gd name="connsiteY28" fmla="*/ 747096 h 747096"/>
                <a:gd name="connsiteX29" fmla="*/ 2877415 w 5306200"/>
                <a:gd name="connsiteY29" fmla="*/ 747096 h 747096"/>
                <a:gd name="connsiteX30" fmla="*/ 2551462 w 5306200"/>
                <a:gd name="connsiteY30" fmla="*/ 741327 h 747096"/>
                <a:gd name="connsiteX31" fmla="*/ 2456272 w 5306200"/>
                <a:gd name="connsiteY31" fmla="*/ 735558 h 747096"/>
                <a:gd name="connsiteX32" fmla="*/ 2366851 w 5306200"/>
                <a:gd name="connsiteY32" fmla="*/ 729789 h 747096"/>
                <a:gd name="connsiteX33" fmla="*/ 2263008 w 5306200"/>
                <a:gd name="connsiteY33" fmla="*/ 724020 h 747096"/>
                <a:gd name="connsiteX34" fmla="*/ 2075512 w 5306200"/>
                <a:gd name="connsiteY34" fmla="*/ 706713 h 747096"/>
                <a:gd name="connsiteX35" fmla="*/ 1882248 w 5306200"/>
                <a:gd name="connsiteY35" fmla="*/ 686521 h 747096"/>
                <a:gd name="connsiteX36" fmla="*/ 1697637 w 5306200"/>
                <a:gd name="connsiteY36" fmla="*/ 669213 h 747096"/>
                <a:gd name="connsiteX37" fmla="*/ 1513026 w 5306200"/>
                <a:gd name="connsiteY37" fmla="*/ 652832 h 747096"/>
                <a:gd name="connsiteX38" fmla="*/ 1319762 w 5306200"/>
                <a:gd name="connsiteY38" fmla="*/ 631714 h 747096"/>
                <a:gd name="connsiteX39" fmla="*/ 1063038 w 5306200"/>
                <a:gd name="connsiteY39" fmla="*/ 602869 h 747096"/>
                <a:gd name="connsiteX40" fmla="*/ 538051 w 5306200"/>
                <a:gd name="connsiteY40" fmla="*/ 522102 h 747096"/>
                <a:gd name="connsiteX41" fmla="*/ 373632 w 5306200"/>
                <a:gd name="connsiteY41" fmla="*/ 496141 h 747096"/>
                <a:gd name="connsiteX42" fmla="*/ 192723 w 5306200"/>
                <a:gd name="connsiteY42" fmla="*/ 467187 h 747096"/>
                <a:gd name="connsiteX43" fmla="*/ 0 w 5306200"/>
                <a:gd name="connsiteY43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61045 w 5306200"/>
                <a:gd name="connsiteY9" fmla="*/ 97365 h 747096"/>
                <a:gd name="connsiteX10" fmla="*/ 1128349 w 5306200"/>
                <a:gd name="connsiteY10" fmla="*/ 88603 h 747096"/>
                <a:gd name="connsiteX11" fmla="*/ 1194693 w 5306200"/>
                <a:gd name="connsiteY11" fmla="*/ 83759 h 747096"/>
                <a:gd name="connsiteX12" fmla="*/ 1616870 w 5306200"/>
                <a:gd name="connsiteY12" fmla="*/ 63460 h 747096"/>
                <a:gd name="connsiteX13" fmla="*/ 1836095 w 5306200"/>
                <a:gd name="connsiteY13" fmla="*/ 54806 h 747096"/>
                <a:gd name="connsiteX14" fmla="*/ 2038013 w 5306200"/>
                <a:gd name="connsiteY14" fmla="*/ 43268 h 747096"/>
                <a:gd name="connsiteX15" fmla="*/ 2213970 w 5306200"/>
                <a:gd name="connsiteY15" fmla="*/ 34614 h 747096"/>
                <a:gd name="connsiteX16" fmla="*/ 2441849 w 5306200"/>
                <a:gd name="connsiteY16" fmla="*/ 25960 h 747096"/>
                <a:gd name="connsiteX17" fmla="*/ 2764918 w 5306200"/>
                <a:gd name="connsiteY17" fmla="*/ 20191 h 747096"/>
                <a:gd name="connsiteX18" fmla="*/ 2900491 w 5306200"/>
                <a:gd name="connsiteY18" fmla="*/ 17307 h 747096"/>
                <a:gd name="connsiteX19" fmla="*/ 3027411 w 5306200"/>
                <a:gd name="connsiteY19" fmla="*/ 14422 h 747096"/>
                <a:gd name="connsiteX20" fmla="*/ 3157216 w 5306200"/>
                <a:gd name="connsiteY20" fmla="*/ 11538 h 747096"/>
                <a:gd name="connsiteX21" fmla="*/ 3336057 w 5306200"/>
                <a:gd name="connsiteY21" fmla="*/ 8653 h 747096"/>
                <a:gd name="connsiteX22" fmla="*/ 3506245 w 5306200"/>
                <a:gd name="connsiteY22" fmla="*/ 8653 h 747096"/>
                <a:gd name="connsiteX23" fmla="*/ 3722586 w 5306200"/>
                <a:gd name="connsiteY23" fmla="*/ 11537 h 747096"/>
                <a:gd name="connsiteX24" fmla="*/ 5306200 w 5306200"/>
                <a:gd name="connsiteY24" fmla="*/ 0 h 747096"/>
                <a:gd name="connsiteX25" fmla="*/ 5306200 w 5306200"/>
                <a:gd name="connsiteY25" fmla="*/ 744212 h 747096"/>
                <a:gd name="connsiteX26" fmla="*/ 3177408 w 5306200"/>
                <a:gd name="connsiteY26" fmla="*/ 747096 h 747096"/>
                <a:gd name="connsiteX27" fmla="*/ 2952413 w 5306200"/>
                <a:gd name="connsiteY27" fmla="*/ 747096 h 747096"/>
                <a:gd name="connsiteX28" fmla="*/ 2877415 w 5306200"/>
                <a:gd name="connsiteY28" fmla="*/ 747096 h 747096"/>
                <a:gd name="connsiteX29" fmla="*/ 2551462 w 5306200"/>
                <a:gd name="connsiteY29" fmla="*/ 741327 h 747096"/>
                <a:gd name="connsiteX30" fmla="*/ 2456272 w 5306200"/>
                <a:gd name="connsiteY30" fmla="*/ 735558 h 747096"/>
                <a:gd name="connsiteX31" fmla="*/ 2366851 w 5306200"/>
                <a:gd name="connsiteY31" fmla="*/ 729789 h 747096"/>
                <a:gd name="connsiteX32" fmla="*/ 2263008 w 5306200"/>
                <a:gd name="connsiteY32" fmla="*/ 724020 h 747096"/>
                <a:gd name="connsiteX33" fmla="*/ 2075512 w 5306200"/>
                <a:gd name="connsiteY33" fmla="*/ 706713 h 747096"/>
                <a:gd name="connsiteX34" fmla="*/ 1882248 w 5306200"/>
                <a:gd name="connsiteY34" fmla="*/ 686521 h 747096"/>
                <a:gd name="connsiteX35" fmla="*/ 1697637 w 5306200"/>
                <a:gd name="connsiteY35" fmla="*/ 669213 h 747096"/>
                <a:gd name="connsiteX36" fmla="*/ 1513026 w 5306200"/>
                <a:gd name="connsiteY36" fmla="*/ 652832 h 747096"/>
                <a:gd name="connsiteX37" fmla="*/ 1319762 w 5306200"/>
                <a:gd name="connsiteY37" fmla="*/ 631714 h 747096"/>
                <a:gd name="connsiteX38" fmla="*/ 1063038 w 5306200"/>
                <a:gd name="connsiteY38" fmla="*/ 602869 h 747096"/>
                <a:gd name="connsiteX39" fmla="*/ 538051 w 5306200"/>
                <a:gd name="connsiteY39" fmla="*/ 522102 h 747096"/>
                <a:gd name="connsiteX40" fmla="*/ 373632 w 5306200"/>
                <a:gd name="connsiteY40" fmla="*/ 496141 h 747096"/>
                <a:gd name="connsiteX41" fmla="*/ 192723 w 5306200"/>
                <a:gd name="connsiteY41" fmla="*/ 467187 h 747096"/>
                <a:gd name="connsiteX42" fmla="*/ 0 w 5306200"/>
                <a:gd name="connsiteY42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28349 w 5306200"/>
                <a:gd name="connsiteY10" fmla="*/ 88603 h 747096"/>
                <a:gd name="connsiteX11" fmla="*/ 1194693 w 5306200"/>
                <a:gd name="connsiteY11" fmla="*/ 83759 h 747096"/>
                <a:gd name="connsiteX12" fmla="*/ 1616870 w 5306200"/>
                <a:gd name="connsiteY12" fmla="*/ 63460 h 747096"/>
                <a:gd name="connsiteX13" fmla="*/ 1836095 w 5306200"/>
                <a:gd name="connsiteY13" fmla="*/ 54806 h 747096"/>
                <a:gd name="connsiteX14" fmla="*/ 2038013 w 5306200"/>
                <a:gd name="connsiteY14" fmla="*/ 43268 h 747096"/>
                <a:gd name="connsiteX15" fmla="*/ 2213970 w 5306200"/>
                <a:gd name="connsiteY15" fmla="*/ 34614 h 747096"/>
                <a:gd name="connsiteX16" fmla="*/ 2441849 w 5306200"/>
                <a:gd name="connsiteY16" fmla="*/ 25960 h 747096"/>
                <a:gd name="connsiteX17" fmla="*/ 2764918 w 5306200"/>
                <a:gd name="connsiteY17" fmla="*/ 20191 h 747096"/>
                <a:gd name="connsiteX18" fmla="*/ 2900491 w 5306200"/>
                <a:gd name="connsiteY18" fmla="*/ 17307 h 747096"/>
                <a:gd name="connsiteX19" fmla="*/ 3027411 w 5306200"/>
                <a:gd name="connsiteY19" fmla="*/ 14422 h 747096"/>
                <a:gd name="connsiteX20" fmla="*/ 3157216 w 5306200"/>
                <a:gd name="connsiteY20" fmla="*/ 11538 h 747096"/>
                <a:gd name="connsiteX21" fmla="*/ 3336057 w 5306200"/>
                <a:gd name="connsiteY21" fmla="*/ 8653 h 747096"/>
                <a:gd name="connsiteX22" fmla="*/ 3506245 w 5306200"/>
                <a:gd name="connsiteY22" fmla="*/ 8653 h 747096"/>
                <a:gd name="connsiteX23" fmla="*/ 3722586 w 5306200"/>
                <a:gd name="connsiteY23" fmla="*/ 11537 h 747096"/>
                <a:gd name="connsiteX24" fmla="*/ 5306200 w 5306200"/>
                <a:gd name="connsiteY24" fmla="*/ 0 h 747096"/>
                <a:gd name="connsiteX25" fmla="*/ 5306200 w 5306200"/>
                <a:gd name="connsiteY25" fmla="*/ 744212 h 747096"/>
                <a:gd name="connsiteX26" fmla="*/ 3177408 w 5306200"/>
                <a:gd name="connsiteY26" fmla="*/ 747096 h 747096"/>
                <a:gd name="connsiteX27" fmla="*/ 2952413 w 5306200"/>
                <a:gd name="connsiteY27" fmla="*/ 747096 h 747096"/>
                <a:gd name="connsiteX28" fmla="*/ 2877415 w 5306200"/>
                <a:gd name="connsiteY28" fmla="*/ 747096 h 747096"/>
                <a:gd name="connsiteX29" fmla="*/ 2551462 w 5306200"/>
                <a:gd name="connsiteY29" fmla="*/ 741327 h 747096"/>
                <a:gd name="connsiteX30" fmla="*/ 2456272 w 5306200"/>
                <a:gd name="connsiteY30" fmla="*/ 735558 h 747096"/>
                <a:gd name="connsiteX31" fmla="*/ 2366851 w 5306200"/>
                <a:gd name="connsiteY31" fmla="*/ 729789 h 747096"/>
                <a:gd name="connsiteX32" fmla="*/ 2263008 w 5306200"/>
                <a:gd name="connsiteY32" fmla="*/ 724020 h 747096"/>
                <a:gd name="connsiteX33" fmla="*/ 2075512 w 5306200"/>
                <a:gd name="connsiteY33" fmla="*/ 706713 h 747096"/>
                <a:gd name="connsiteX34" fmla="*/ 1882248 w 5306200"/>
                <a:gd name="connsiteY34" fmla="*/ 686521 h 747096"/>
                <a:gd name="connsiteX35" fmla="*/ 1697637 w 5306200"/>
                <a:gd name="connsiteY35" fmla="*/ 669213 h 747096"/>
                <a:gd name="connsiteX36" fmla="*/ 1513026 w 5306200"/>
                <a:gd name="connsiteY36" fmla="*/ 652832 h 747096"/>
                <a:gd name="connsiteX37" fmla="*/ 1319762 w 5306200"/>
                <a:gd name="connsiteY37" fmla="*/ 631714 h 747096"/>
                <a:gd name="connsiteX38" fmla="*/ 1063038 w 5306200"/>
                <a:gd name="connsiteY38" fmla="*/ 602869 h 747096"/>
                <a:gd name="connsiteX39" fmla="*/ 538051 w 5306200"/>
                <a:gd name="connsiteY39" fmla="*/ 522102 h 747096"/>
                <a:gd name="connsiteX40" fmla="*/ 373632 w 5306200"/>
                <a:gd name="connsiteY40" fmla="*/ 496141 h 747096"/>
                <a:gd name="connsiteX41" fmla="*/ 192723 w 5306200"/>
                <a:gd name="connsiteY41" fmla="*/ 467187 h 747096"/>
                <a:gd name="connsiteX42" fmla="*/ 0 w 5306200"/>
                <a:gd name="connsiteY42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194693 w 5306200"/>
                <a:gd name="connsiteY11" fmla="*/ 83759 h 747096"/>
                <a:gd name="connsiteX12" fmla="*/ 1616870 w 5306200"/>
                <a:gd name="connsiteY12" fmla="*/ 63460 h 747096"/>
                <a:gd name="connsiteX13" fmla="*/ 1836095 w 5306200"/>
                <a:gd name="connsiteY13" fmla="*/ 54806 h 747096"/>
                <a:gd name="connsiteX14" fmla="*/ 2038013 w 5306200"/>
                <a:gd name="connsiteY14" fmla="*/ 43268 h 747096"/>
                <a:gd name="connsiteX15" fmla="*/ 2213970 w 5306200"/>
                <a:gd name="connsiteY15" fmla="*/ 34614 h 747096"/>
                <a:gd name="connsiteX16" fmla="*/ 2441849 w 5306200"/>
                <a:gd name="connsiteY16" fmla="*/ 25960 h 747096"/>
                <a:gd name="connsiteX17" fmla="*/ 2764918 w 5306200"/>
                <a:gd name="connsiteY17" fmla="*/ 20191 h 747096"/>
                <a:gd name="connsiteX18" fmla="*/ 2900491 w 5306200"/>
                <a:gd name="connsiteY18" fmla="*/ 17307 h 747096"/>
                <a:gd name="connsiteX19" fmla="*/ 3027411 w 5306200"/>
                <a:gd name="connsiteY19" fmla="*/ 14422 h 747096"/>
                <a:gd name="connsiteX20" fmla="*/ 3157216 w 5306200"/>
                <a:gd name="connsiteY20" fmla="*/ 11538 h 747096"/>
                <a:gd name="connsiteX21" fmla="*/ 3336057 w 5306200"/>
                <a:gd name="connsiteY21" fmla="*/ 8653 h 747096"/>
                <a:gd name="connsiteX22" fmla="*/ 3506245 w 5306200"/>
                <a:gd name="connsiteY22" fmla="*/ 8653 h 747096"/>
                <a:gd name="connsiteX23" fmla="*/ 3722586 w 5306200"/>
                <a:gd name="connsiteY23" fmla="*/ 11537 h 747096"/>
                <a:gd name="connsiteX24" fmla="*/ 5306200 w 5306200"/>
                <a:gd name="connsiteY24" fmla="*/ 0 h 747096"/>
                <a:gd name="connsiteX25" fmla="*/ 5306200 w 5306200"/>
                <a:gd name="connsiteY25" fmla="*/ 744212 h 747096"/>
                <a:gd name="connsiteX26" fmla="*/ 3177408 w 5306200"/>
                <a:gd name="connsiteY26" fmla="*/ 747096 h 747096"/>
                <a:gd name="connsiteX27" fmla="*/ 2952413 w 5306200"/>
                <a:gd name="connsiteY27" fmla="*/ 747096 h 747096"/>
                <a:gd name="connsiteX28" fmla="*/ 2877415 w 5306200"/>
                <a:gd name="connsiteY28" fmla="*/ 747096 h 747096"/>
                <a:gd name="connsiteX29" fmla="*/ 2551462 w 5306200"/>
                <a:gd name="connsiteY29" fmla="*/ 741327 h 747096"/>
                <a:gd name="connsiteX30" fmla="*/ 2456272 w 5306200"/>
                <a:gd name="connsiteY30" fmla="*/ 735558 h 747096"/>
                <a:gd name="connsiteX31" fmla="*/ 2366851 w 5306200"/>
                <a:gd name="connsiteY31" fmla="*/ 729789 h 747096"/>
                <a:gd name="connsiteX32" fmla="*/ 2263008 w 5306200"/>
                <a:gd name="connsiteY32" fmla="*/ 724020 h 747096"/>
                <a:gd name="connsiteX33" fmla="*/ 2075512 w 5306200"/>
                <a:gd name="connsiteY33" fmla="*/ 706713 h 747096"/>
                <a:gd name="connsiteX34" fmla="*/ 1882248 w 5306200"/>
                <a:gd name="connsiteY34" fmla="*/ 686521 h 747096"/>
                <a:gd name="connsiteX35" fmla="*/ 1697637 w 5306200"/>
                <a:gd name="connsiteY35" fmla="*/ 669213 h 747096"/>
                <a:gd name="connsiteX36" fmla="*/ 1513026 w 5306200"/>
                <a:gd name="connsiteY36" fmla="*/ 652832 h 747096"/>
                <a:gd name="connsiteX37" fmla="*/ 1319762 w 5306200"/>
                <a:gd name="connsiteY37" fmla="*/ 631714 h 747096"/>
                <a:gd name="connsiteX38" fmla="*/ 1063038 w 5306200"/>
                <a:gd name="connsiteY38" fmla="*/ 602869 h 747096"/>
                <a:gd name="connsiteX39" fmla="*/ 538051 w 5306200"/>
                <a:gd name="connsiteY39" fmla="*/ 522102 h 747096"/>
                <a:gd name="connsiteX40" fmla="*/ 373632 w 5306200"/>
                <a:gd name="connsiteY40" fmla="*/ 496141 h 747096"/>
                <a:gd name="connsiteX41" fmla="*/ 192723 w 5306200"/>
                <a:gd name="connsiteY41" fmla="*/ 467187 h 747096"/>
                <a:gd name="connsiteX42" fmla="*/ 0 w 5306200"/>
                <a:gd name="connsiteY42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16870 w 5306200"/>
                <a:gd name="connsiteY12" fmla="*/ 63460 h 747096"/>
                <a:gd name="connsiteX13" fmla="*/ 1836095 w 5306200"/>
                <a:gd name="connsiteY13" fmla="*/ 54806 h 747096"/>
                <a:gd name="connsiteX14" fmla="*/ 2038013 w 5306200"/>
                <a:gd name="connsiteY14" fmla="*/ 43268 h 747096"/>
                <a:gd name="connsiteX15" fmla="*/ 2213970 w 5306200"/>
                <a:gd name="connsiteY15" fmla="*/ 34614 h 747096"/>
                <a:gd name="connsiteX16" fmla="*/ 2441849 w 5306200"/>
                <a:gd name="connsiteY16" fmla="*/ 25960 h 747096"/>
                <a:gd name="connsiteX17" fmla="*/ 2764918 w 5306200"/>
                <a:gd name="connsiteY17" fmla="*/ 20191 h 747096"/>
                <a:gd name="connsiteX18" fmla="*/ 2900491 w 5306200"/>
                <a:gd name="connsiteY18" fmla="*/ 17307 h 747096"/>
                <a:gd name="connsiteX19" fmla="*/ 3027411 w 5306200"/>
                <a:gd name="connsiteY19" fmla="*/ 14422 h 747096"/>
                <a:gd name="connsiteX20" fmla="*/ 3157216 w 5306200"/>
                <a:gd name="connsiteY20" fmla="*/ 11538 h 747096"/>
                <a:gd name="connsiteX21" fmla="*/ 3336057 w 5306200"/>
                <a:gd name="connsiteY21" fmla="*/ 8653 h 747096"/>
                <a:gd name="connsiteX22" fmla="*/ 3506245 w 5306200"/>
                <a:gd name="connsiteY22" fmla="*/ 8653 h 747096"/>
                <a:gd name="connsiteX23" fmla="*/ 3722586 w 5306200"/>
                <a:gd name="connsiteY23" fmla="*/ 11537 h 747096"/>
                <a:gd name="connsiteX24" fmla="*/ 5306200 w 5306200"/>
                <a:gd name="connsiteY24" fmla="*/ 0 h 747096"/>
                <a:gd name="connsiteX25" fmla="*/ 5306200 w 5306200"/>
                <a:gd name="connsiteY25" fmla="*/ 744212 h 747096"/>
                <a:gd name="connsiteX26" fmla="*/ 3177408 w 5306200"/>
                <a:gd name="connsiteY26" fmla="*/ 747096 h 747096"/>
                <a:gd name="connsiteX27" fmla="*/ 2952413 w 5306200"/>
                <a:gd name="connsiteY27" fmla="*/ 747096 h 747096"/>
                <a:gd name="connsiteX28" fmla="*/ 2877415 w 5306200"/>
                <a:gd name="connsiteY28" fmla="*/ 747096 h 747096"/>
                <a:gd name="connsiteX29" fmla="*/ 2551462 w 5306200"/>
                <a:gd name="connsiteY29" fmla="*/ 741327 h 747096"/>
                <a:gd name="connsiteX30" fmla="*/ 2456272 w 5306200"/>
                <a:gd name="connsiteY30" fmla="*/ 735558 h 747096"/>
                <a:gd name="connsiteX31" fmla="*/ 2366851 w 5306200"/>
                <a:gd name="connsiteY31" fmla="*/ 729789 h 747096"/>
                <a:gd name="connsiteX32" fmla="*/ 2263008 w 5306200"/>
                <a:gd name="connsiteY32" fmla="*/ 724020 h 747096"/>
                <a:gd name="connsiteX33" fmla="*/ 2075512 w 5306200"/>
                <a:gd name="connsiteY33" fmla="*/ 706713 h 747096"/>
                <a:gd name="connsiteX34" fmla="*/ 1882248 w 5306200"/>
                <a:gd name="connsiteY34" fmla="*/ 686521 h 747096"/>
                <a:gd name="connsiteX35" fmla="*/ 1697637 w 5306200"/>
                <a:gd name="connsiteY35" fmla="*/ 669213 h 747096"/>
                <a:gd name="connsiteX36" fmla="*/ 1513026 w 5306200"/>
                <a:gd name="connsiteY36" fmla="*/ 652832 h 747096"/>
                <a:gd name="connsiteX37" fmla="*/ 1319762 w 5306200"/>
                <a:gd name="connsiteY37" fmla="*/ 631714 h 747096"/>
                <a:gd name="connsiteX38" fmla="*/ 1063038 w 5306200"/>
                <a:gd name="connsiteY38" fmla="*/ 602869 h 747096"/>
                <a:gd name="connsiteX39" fmla="*/ 538051 w 5306200"/>
                <a:gd name="connsiteY39" fmla="*/ 522102 h 747096"/>
                <a:gd name="connsiteX40" fmla="*/ 373632 w 5306200"/>
                <a:gd name="connsiteY40" fmla="*/ 496141 h 747096"/>
                <a:gd name="connsiteX41" fmla="*/ 192723 w 5306200"/>
                <a:gd name="connsiteY41" fmla="*/ 467187 h 747096"/>
                <a:gd name="connsiteX42" fmla="*/ 0 w 5306200"/>
                <a:gd name="connsiteY42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47350 w 5306200"/>
                <a:gd name="connsiteY12" fmla="*/ 29170 h 747096"/>
                <a:gd name="connsiteX13" fmla="*/ 1836095 w 5306200"/>
                <a:gd name="connsiteY13" fmla="*/ 54806 h 747096"/>
                <a:gd name="connsiteX14" fmla="*/ 2038013 w 5306200"/>
                <a:gd name="connsiteY14" fmla="*/ 43268 h 747096"/>
                <a:gd name="connsiteX15" fmla="*/ 2213970 w 5306200"/>
                <a:gd name="connsiteY15" fmla="*/ 34614 h 747096"/>
                <a:gd name="connsiteX16" fmla="*/ 2441849 w 5306200"/>
                <a:gd name="connsiteY16" fmla="*/ 25960 h 747096"/>
                <a:gd name="connsiteX17" fmla="*/ 2764918 w 5306200"/>
                <a:gd name="connsiteY17" fmla="*/ 20191 h 747096"/>
                <a:gd name="connsiteX18" fmla="*/ 2900491 w 5306200"/>
                <a:gd name="connsiteY18" fmla="*/ 17307 h 747096"/>
                <a:gd name="connsiteX19" fmla="*/ 3027411 w 5306200"/>
                <a:gd name="connsiteY19" fmla="*/ 14422 h 747096"/>
                <a:gd name="connsiteX20" fmla="*/ 3157216 w 5306200"/>
                <a:gd name="connsiteY20" fmla="*/ 11538 h 747096"/>
                <a:gd name="connsiteX21" fmla="*/ 3336057 w 5306200"/>
                <a:gd name="connsiteY21" fmla="*/ 8653 h 747096"/>
                <a:gd name="connsiteX22" fmla="*/ 3506245 w 5306200"/>
                <a:gd name="connsiteY22" fmla="*/ 8653 h 747096"/>
                <a:gd name="connsiteX23" fmla="*/ 3722586 w 5306200"/>
                <a:gd name="connsiteY23" fmla="*/ 11537 h 747096"/>
                <a:gd name="connsiteX24" fmla="*/ 5306200 w 5306200"/>
                <a:gd name="connsiteY24" fmla="*/ 0 h 747096"/>
                <a:gd name="connsiteX25" fmla="*/ 5306200 w 5306200"/>
                <a:gd name="connsiteY25" fmla="*/ 744212 h 747096"/>
                <a:gd name="connsiteX26" fmla="*/ 3177408 w 5306200"/>
                <a:gd name="connsiteY26" fmla="*/ 747096 h 747096"/>
                <a:gd name="connsiteX27" fmla="*/ 2952413 w 5306200"/>
                <a:gd name="connsiteY27" fmla="*/ 747096 h 747096"/>
                <a:gd name="connsiteX28" fmla="*/ 2877415 w 5306200"/>
                <a:gd name="connsiteY28" fmla="*/ 747096 h 747096"/>
                <a:gd name="connsiteX29" fmla="*/ 2551462 w 5306200"/>
                <a:gd name="connsiteY29" fmla="*/ 741327 h 747096"/>
                <a:gd name="connsiteX30" fmla="*/ 2456272 w 5306200"/>
                <a:gd name="connsiteY30" fmla="*/ 735558 h 747096"/>
                <a:gd name="connsiteX31" fmla="*/ 2366851 w 5306200"/>
                <a:gd name="connsiteY31" fmla="*/ 729789 h 747096"/>
                <a:gd name="connsiteX32" fmla="*/ 2263008 w 5306200"/>
                <a:gd name="connsiteY32" fmla="*/ 724020 h 747096"/>
                <a:gd name="connsiteX33" fmla="*/ 2075512 w 5306200"/>
                <a:gd name="connsiteY33" fmla="*/ 706713 h 747096"/>
                <a:gd name="connsiteX34" fmla="*/ 1882248 w 5306200"/>
                <a:gd name="connsiteY34" fmla="*/ 686521 h 747096"/>
                <a:gd name="connsiteX35" fmla="*/ 1697637 w 5306200"/>
                <a:gd name="connsiteY35" fmla="*/ 669213 h 747096"/>
                <a:gd name="connsiteX36" fmla="*/ 1513026 w 5306200"/>
                <a:gd name="connsiteY36" fmla="*/ 652832 h 747096"/>
                <a:gd name="connsiteX37" fmla="*/ 1319762 w 5306200"/>
                <a:gd name="connsiteY37" fmla="*/ 631714 h 747096"/>
                <a:gd name="connsiteX38" fmla="*/ 1063038 w 5306200"/>
                <a:gd name="connsiteY38" fmla="*/ 602869 h 747096"/>
                <a:gd name="connsiteX39" fmla="*/ 538051 w 5306200"/>
                <a:gd name="connsiteY39" fmla="*/ 522102 h 747096"/>
                <a:gd name="connsiteX40" fmla="*/ 373632 w 5306200"/>
                <a:gd name="connsiteY40" fmla="*/ 496141 h 747096"/>
                <a:gd name="connsiteX41" fmla="*/ 192723 w 5306200"/>
                <a:gd name="connsiteY41" fmla="*/ 467187 h 747096"/>
                <a:gd name="connsiteX42" fmla="*/ 0 w 5306200"/>
                <a:gd name="connsiteY42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47350 w 5306200"/>
                <a:gd name="connsiteY12" fmla="*/ 29170 h 747096"/>
                <a:gd name="connsiteX13" fmla="*/ 1870385 w 5306200"/>
                <a:gd name="connsiteY13" fmla="*/ 31946 h 747096"/>
                <a:gd name="connsiteX14" fmla="*/ 2038013 w 5306200"/>
                <a:gd name="connsiteY14" fmla="*/ 43268 h 747096"/>
                <a:gd name="connsiteX15" fmla="*/ 2213970 w 5306200"/>
                <a:gd name="connsiteY15" fmla="*/ 34614 h 747096"/>
                <a:gd name="connsiteX16" fmla="*/ 2441849 w 5306200"/>
                <a:gd name="connsiteY16" fmla="*/ 25960 h 747096"/>
                <a:gd name="connsiteX17" fmla="*/ 2764918 w 5306200"/>
                <a:gd name="connsiteY17" fmla="*/ 20191 h 747096"/>
                <a:gd name="connsiteX18" fmla="*/ 2900491 w 5306200"/>
                <a:gd name="connsiteY18" fmla="*/ 17307 h 747096"/>
                <a:gd name="connsiteX19" fmla="*/ 3027411 w 5306200"/>
                <a:gd name="connsiteY19" fmla="*/ 14422 h 747096"/>
                <a:gd name="connsiteX20" fmla="*/ 3157216 w 5306200"/>
                <a:gd name="connsiteY20" fmla="*/ 11538 h 747096"/>
                <a:gd name="connsiteX21" fmla="*/ 3336057 w 5306200"/>
                <a:gd name="connsiteY21" fmla="*/ 8653 h 747096"/>
                <a:gd name="connsiteX22" fmla="*/ 3506245 w 5306200"/>
                <a:gd name="connsiteY22" fmla="*/ 8653 h 747096"/>
                <a:gd name="connsiteX23" fmla="*/ 3722586 w 5306200"/>
                <a:gd name="connsiteY23" fmla="*/ 11537 h 747096"/>
                <a:gd name="connsiteX24" fmla="*/ 5306200 w 5306200"/>
                <a:gd name="connsiteY24" fmla="*/ 0 h 747096"/>
                <a:gd name="connsiteX25" fmla="*/ 5306200 w 5306200"/>
                <a:gd name="connsiteY25" fmla="*/ 744212 h 747096"/>
                <a:gd name="connsiteX26" fmla="*/ 3177408 w 5306200"/>
                <a:gd name="connsiteY26" fmla="*/ 747096 h 747096"/>
                <a:gd name="connsiteX27" fmla="*/ 2952413 w 5306200"/>
                <a:gd name="connsiteY27" fmla="*/ 747096 h 747096"/>
                <a:gd name="connsiteX28" fmla="*/ 2877415 w 5306200"/>
                <a:gd name="connsiteY28" fmla="*/ 747096 h 747096"/>
                <a:gd name="connsiteX29" fmla="*/ 2551462 w 5306200"/>
                <a:gd name="connsiteY29" fmla="*/ 741327 h 747096"/>
                <a:gd name="connsiteX30" fmla="*/ 2456272 w 5306200"/>
                <a:gd name="connsiteY30" fmla="*/ 735558 h 747096"/>
                <a:gd name="connsiteX31" fmla="*/ 2366851 w 5306200"/>
                <a:gd name="connsiteY31" fmla="*/ 729789 h 747096"/>
                <a:gd name="connsiteX32" fmla="*/ 2263008 w 5306200"/>
                <a:gd name="connsiteY32" fmla="*/ 724020 h 747096"/>
                <a:gd name="connsiteX33" fmla="*/ 2075512 w 5306200"/>
                <a:gd name="connsiteY33" fmla="*/ 706713 h 747096"/>
                <a:gd name="connsiteX34" fmla="*/ 1882248 w 5306200"/>
                <a:gd name="connsiteY34" fmla="*/ 686521 h 747096"/>
                <a:gd name="connsiteX35" fmla="*/ 1697637 w 5306200"/>
                <a:gd name="connsiteY35" fmla="*/ 669213 h 747096"/>
                <a:gd name="connsiteX36" fmla="*/ 1513026 w 5306200"/>
                <a:gd name="connsiteY36" fmla="*/ 652832 h 747096"/>
                <a:gd name="connsiteX37" fmla="*/ 1319762 w 5306200"/>
                <a:gd name="connsiteY37" fmla="*/ 631714 h 747096"/>
                <a:gd name="connsiteX38" fmla="*/ 1063038 w 5306200"/>
                <a:gd name="connsiteY38" fmla="*/ 602869 h 747096"/>
                <a:gd name="connsiteX39" fmla="*/ 538051 w 5306200"/>
                <a:gd name="connsiteY39" fmla="*/ 522102 h 747096"/>
                <a:gd name="connsiteX40" fmla="*/ 373632 w 5306200"/>
                <a:gd name="connsiteY40" fmla="*/ 496141 h 747096"/>
                <a:gd name="connsiteX41" fmla="*/ 192723 w 5306200"/>
                <a:gd name="connsiteY41" fmla="*/ 467187 h 747096"/>
                <a:gd name="connsiteX42" fmla="*/ 0 w 5306200"/>
                <a:gd name="connsiteY42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47350 w 5306200"/>
                <a:gd name="connsiteY12" fmla="*/ 29170 h 747096"/>
                <a:gd name="connsiteX13" fmla="*/ 1870385 w 5306200"/>
                <a:gd name="connsiteY13" fmla="*/ 31946 h 747096"/>
                <a:gd name="connsiteX14" fmla="*/ 2057063 w 5306200"/>
                <a:gd name="connsiteY14" fmla="*/ 31838 h 747096"/>
                <a:gd name="connsiteX15" fmla="*/ 2213970 w 5306200"/>
                <a:gd name="connsiteY15" fmla="*/ 34614 h 747096"/>
                <a:gd name="connsiteX16" fmla="*/ 2441849 w 5306200"/>
                <a:gd name="connsiteY16" fmla="*/ 25960 h 747096"/>
                <a:gd name="connsiteX17" fmla="*/ 2764918 w 5306200"/>
                <a:gd name="connsiteY17" fmla="*/ 20191 h 747096"/>
                <a:gd name="connsiteX18" fmla="*/ 2900491 w 5306200"/>
                <a:gd name="connsiteY18" fmla="*/ 17307 h 747096"/>
                <a:gd name="connsiteX19" fmla="*/ 3027411 w 5306200"/>
                <a:gd name="connsiteY19" fmla="*/ 14422 h 747096"/>
                <a:gd name="connsiteX20" fmla="*/ 3157216 w 5306200"/>
                <a:gd name="connsiteY20" fmla="*/ 11538 h 747096"/>
                <a:gd name="connsiteX21" fmla="*/ 3336057 w 5306200"/>
                <a:gd name="connsiteY21" fmla="*/ 8653 h 747096"/>
                <a:gd name="connsiteX22" fmla="*/ 3506245 w 5306200"/>
                <a:gd name="connsiteY22" fmla="*/ 8653 h 747096"/>
                <a:gd name="connsiteX23" fmla="*/ 3722586 w 5306200"/>
                <a:gd name="connsiteY23" fmla="*/ 11537 h 747096"/>
                <a:gd name="connsiteX24" fmla="*/ 5306200 w 5306200"/>
                <a:gd name="connsiteY24" fmla="*/ 0 h 747096"/>
                <a:gd name="connsiteX25" fmla="*/ 5306200 w 5306200"/>
                <a:gd name="connsiteY25" fmla="*/ 744212 h 747096"/>
                <a:gd name="connsiteX26" fmla="*/ 3177408 w 5306200"/>
                <a:gd name="connsiteY26" fmla="*/ 747096 h 747096"/>
                <a:gd name="connsiteX27" fmla="*/ 2952413 w 5306200"/>
                <a:gd name="connsiteY27" fmla="*/ 747096 h 747096"/>
                <a:gd name="connsiteX28" fmla="*/ 2877415 w 5306200"/>
                <a:gd name="connsiteY28" fmla="*/ 747096 h 747096"/>
                <a:gd name="connsiteX29" fmla="*/ 2551462 w 5306200"/>
                <a:gd name="connsiteY29" fmla="*/ 741327 h 747096"/>
                <a:gd name="connsiteX30" fmla="*/ 2456272 w 5306200"/>
                <a:gd name="connsiteY30" fmla="*/ 735558 h 747096"/>
                <a:gd name="connsiteX31" fmla="*/ 2366851 w 5306200"/>
                <a:gd name="connsiteY31" fmla="*/ 729789 h 747096"/>
                <a:gd name="connsiteX32" fmla="*/ 2263008 w 5306200"/>
                <a:gd name="connsiteY32" fmla="*/ 724020 h 747096"/>
                <a:gd name="connsiteX33" fmla="*/ 2075512 w 5306200"/>
                <a:gd name="connsiteY33" fmla="*/ 706713 h 747096"/>
                <a:gd name="connsiteX34" fmla="*/ 1882248 w 5306200"/>
                <a:gd name="connsiteY34" fmla="*/ 686521 h 747096"/>
                <a:gd name="connsiteX35" fmla="*/ 1697637 w 5306200"/>
                <a:gd name="connsiteY35" fmla="*/ 669213 h 747096"/>
                <a:gd name="connsiteX36" fmla="*/ 1513026 w 5306200"/>
                <a:gd name="connsiteY36" fmla="*/ 652832 h 747096"/>
                <a:gd name="connsiteX37" fmla="*/ 1319762 w 5306200"/>
                <a:gd name="connsiteY37" fmla="*/ 631714 h 747096"/>
                <a:gd name="connsiteX38" fmla="*/ 1063038 w 5306200"/>
                <a:gd name="connsiteY38" fmla="*/ 602869 h 747096"/>
                <a:gd name="connsiteX39" fmla="*/ 538051 w 5306200"/>
                <a:gd name="connsiteY39" fmla="*/ 522102 h 747096"/>
                <a:gd name="connsiteX40" fmla="*/ 373632 w 5306200"/>
                <a:gd name="connsiteY40" fmla="*/ 496141 h 747096"/>
                <a:gd name="connsiteX41" fmla="*/ 192723 w 5306200"/>
                <a:gd name="connsiteY41" fmla="*/ 467187 h 747096"/>
                <a:gd name="connsiteX42" fmla="*/ 0 w 5306200"/>
                <a:gd name="connsiteY42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47350 w 5306200"/>
                <a:gd name="connsiteY12" fmla="*/ 29170 h 747096"/>
                <a:gd name="connsiteX13" fmla="*/ 2057063 w 5306200"/>
                <a:gd name="connsiteY13" fmla="*/ 31838 h 747096"/>
                <a:gd name="connsiteX14" fmla="*/ 2213970 w 5306200"/>
                <a:gd name="connsiteY14" fmla="*/ 34614 h 747096"/>
                <a:gd name="connsiteX15" fmla="*/ 2441849 w 5306200"/>
                <a:gd name="connsiteY15" fmla="*/ 25960 h 747096"/>
                <a:gd name="connsiteX16" fmla="*/ 2764918 w 5306200"/>
                <a:gd name="connsiteY16" fmla="*/ 20191 h 747096"/>
                <a:gd name="connsiteX17" fmla="*/ 2900491 w 5306200"/>
                <a:gd name="connsiteY17" fmla="*/ 17307 h 747096"/>
                <a:gd name="connsiteX18" fmla="*/ 3027411 w 5306200"/>
                <a:gd name="connsiteY18" fmla="*/ 14422 h 747096"/>
                <a:gd name="connsiteX19" fmla="*/ 3157216 w 5306200"/>
                <a:gd name="connsiteY19" fmla="*/ 11538 h 747096"/>
                <a:gd name="connsiteX20" fmla="*/ 3336057 w 5306200"/>
                <a:gd name="connsiteY20" fmla="*/ 8653 h 747096"/>
                <a:gd name="connsiteX21" fmla="*/ 3506245 w 5306200"/>
                <a:gd name="connsiteY21" fmla="*/ 8653 h 747096"/>
                <a:gd name="connsiteX22" fmla="*/ 3722586 w 5306200"/>
                <a:gd name="connsiteY22" fmla="*/ 11537 h 747096"/>
                <a:gd name="connsiteX23" fmla="*/ 5306200 w 5306200"/>
                <a:gd name="connsiteY23" fmla="*/ 0 h 747096"/>
                <a:gd name="connsiteX24" fmla="*/ 5306200 w 5306200"/>
                <a:gd name="connsiteY24" fmla="*/ 744212 h 747096"/>
                <a:gd name="connsiteX25" fmla="*/ 3177408 w 5306200"/>
                <a:gd name="connsiteY25" fmla="*/ 747096 h 747096"/>
                <a:gd name="connsiteX26" fmla="*/ 2952413 w 5306200"/>
                <a:gd name="connsiteY26" fmla="*/ 747096 h 747096"/>
                <a:gd name="connsiteX27" fmla="*/ 2877415 w 5306200"/>
                <a:gd name="connsiteY27" fmla="*/ 747096 h 747096"/>
                <a:gd name="connsiteX28" fmla="*/ 2551462 w 5306200"/>
                <a:gd name="connsiteY28" fmla="*/ 741327 h 747096"/>
                <a:gd name="connsiteX29" fmla="*/ 2456272 w 5306200"/>
                <a:gd name="connsiteY29" fmla="*/ 735558 h 747096"/>
                <a:gd name="connsiteX30" fmla="*/ 2366851 w 5306200"/>
                <a:gd name="connsiteY30" fmla="*/ 729789 h 747096"/>
                <a:gd name="connsiteX31" fmla="*/ 2263008 w 5306200"/>
                <a:gd name="connsiteY31" fmla="*/ 724020 h 747096"/>
                <a:gd name="connsiteX32" fmla="*/ 2075512 w 5306200"/>
                <a:gd name="connsiteY32" fmla="*/ 706713 h 747096"/>
                <a:gd name="connsiteX33" fmla="*/ 1882248 w 5306200"/>
                <a:gd name="connsiteY33" fmla="*/ 686521 h 747096"/>
                <a:gd name="connsiteX34" fmla="*/ 1697637 w 5306200"/>
                <a:gd name="connsiteY34" fmla="*/ 669213 h 747096"/>
                <a:gd name="connsiteX35" fmla="*/ 1513026 w 5306200"/>
                <a:gd name="connsiteY35" fmla="*/ 652832 h 747096"/>
                <a:gd name="connsiteX36" fmla="*/ 1319762 w 5306200"/>
                <a:gd name="connsiteY36" fmla="*/ 631714 h 747096"/>
                <a:gd name="connsiteX37" fmla="*/ 1063038 w 5306200"/>
                <a:gd name="connsiteY37" fmla="*/ 602869 h 747096"/>
                <a:gd name="connsiteX38" fmla="*/ 538051 w 5306200"/>
                <a:gd name="connsiteY38" fmla="*/ 522102 h 747096"/>
                <a:gd name="connsiteX39" fmla="*/ 373632 w 5306200"/>
                <a:gd name="connsiteY39" fmla="*/ 496141 h 747096"/>
                <a:gd name="connsiteX40" fmla="*/ 192723 w 5306200"/>
                <a:gd name="connsiteY40" fmla="*/ 467187 h 747096"/>
                <a:gd name="connsiteX41" fmla="*/ 0 w 5306200"/>
                <a:gd name="connsiteY41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47350 w 5306200"/>
                <a:gd name="connsiteY12" fmla="*/ 29170 h 747096"/>
                <a:gd name="connsiteX13" fmla="*/ 2057063 w 5306200"/>
                <a:gd name="connsiteY13" fmla="*/ 31838 h 747096"/>
                <a:gd name="connsiteX14" fmla="*/ 2441849 w 5306200"/>
                <a:gd name="connsiteY14" fmla="*/ 25960 h 747096"/>
                <a:gd name="connsiteX15" fmla="*/ 2764918 w 5306200"/>
                <a:gd name="connsiteY15" fmla="*/ 20191 h 747096"/>
                <a:gd name="connsiteX16" fmla="*/ 2900491 w 5306200"/>
                <a:gd name="connsiteY16" fmla="*/ 17307 h 747096"/>
                <a:gd name="connsiteX17" fmla="*/ 3027411 w 5306200"/>
                <a:gd name="connsiteY17" fmla="*/ 14422 h 747096"/>
                <a:gd name="connsiteX18" fmla="*/ 3157216 w 5306200"/>
                <a:gd name="connsiteY18" fmla="*/ 11538 h 747096"/>
                <a:gd name="connsiteX19" fmla="*/ 3336057 w 5306200"/>
                <a:gd name="connsiteY19" fmla="*/ 8653 h 747096"/>
                <a:gd name="connsiteX20" fmla="*/ 3506245 w 5306200"/>
                <a:gd name="connsiteY20" fmla="*/ 8653 h 747096"/>
                <a:gd name="connsiteX21" fmla="*/ 3722586 w 5306200"/>
                <a:gd name="connsiteY21" fmla="*/ 11537 h 747096"/>
                <a:gd name="connsiteX22" fmla="*/ 5306200 w 5306200"/>
                <a:gd name="connsiteY22" fmla="*/ 0 h 747096"/>
                <a:gd name="connsiteX23" fmla="*/ 5306200 w 5306200"/>
                <a:gd name="connsiteY23" fmla="*/ 744212 h 747096"/>
                <a:gd name="connsiteX24" fmla="*/ 3177408 w 5306200"/>
                <a:gd name="connsiteY24" fmla="*/ 747096 h 747096"/>
                <a:gd name="connsiteX25" fmla="*/ 2952413 w 5306200"/>
                <a:gd name="connsiteY25" fmla="*/ 747096 h 747096"/>
                <a:gd name="connsiteX26" fmla="*/ 2877415 w 5306200"/>
                <a:gd name="connsiteY26" fmla="*/ 747096 h 747096"/>
                <a:gd name="connsiteX27" fmla="*/ 2551462 w 5306200"/>
                <a:gd name="connsiteY27" fmla="*/ 741327 h 747096"/>
                <a:gd name="connsiteX28" fmla="*/ 2456272 w 5306200"/>
                <a:gd name="connsiteY28" fmla="*/ 735558 h 747096"/>
                <a:gd name="connsiteX29" fmla="*/ 2366851 w 5306200"/>
                <a:gd name="connsiteY29" fmla="*/ 729789 h 747096"/>
                <a:gd name="connsiteX30" fmla="*/ 2263008 w 5306200"/>
                <a:gd name="connsiteY30" fmla="*/ 724020 h 747096"/>
                <a:gd name="connsiteX31" fmla="*/ 2075512 w 5306200"/>
                <a:gd name="connsiteY31" fmla="*/ 706713 h 747096"/>
                <a:gd name="connsiteX32" fmla="*/ 1882248 w 5306200"/>
                <a:gd name="connsiteY32" fmla="*/ 686521 h 747096"/>
                <a:gd name="connsiteX33" fmla="*/ 1697637 w 5306200"/>
                <a:gd name="connsiteY33" fmla="*/ 669213 h 747096"/>
                <a:gd name="connsiteX34" fmla="*/ 1513026 w 5306200"/>
                <a:gd name="connsiteY34" fmla="*/ 652832 h 747096"/>
                <a:gd name="connsiteX35" fmla="*/ 1319762 w 5306200"/>
                <a:gd name="connsiteY35" fmla="*/ 631714 h 747096"/>
                <a:gd name="connsiteX36" fmla="*/ 1063038 w 5306200"/>
                <a:gd name="connsiteY36" fmla="*/ 602869 h 747096"/>
                <a:gd name="connsiteX37" fmla="*/ 538051 w 5306200"/>
                <a:gd name="connsiteY37" fmla="*/ 522102 h 747096"/>
                <a:gd name="connsiteX38" fmla="*/ 373632 w 5306200"/>
                <a:gd name="connsiteY38" fmla="*/ 496141 h 747096"/>
                <a:gd name="connsiteX39" fmla="*/ 192723 w 5306200"/>
                <a:gd name="connsiteY39" fmla="*/ 467187 h 747096"/>
                <a:gd name="connsiteX40" fmla="*/ 0 w 5306200"/>
                <a:gd name="connsiteY40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57063 w 5306200"/>
                <a:gd name="connsiteY13" fmla="*/ 31838 h 747096"/>
                <a:gd name="connsiteX14" fmla="*/ 2441849 w 5306200"/>
                <a:gd name="connsiteY14" fmla="*/ 25960 h 747096"/>
                <a:gd name="connsiteX15" fmla="*/ 2764918 w 5306200"/>
                <a:gd name="connsiteY15" fmla="*/ 20191 h 747096"/>
                <a:gd name="connsiteX16" fmla="*/ 2900491 w 5306200"/>
                <a:gd name="connsiteY16" fmla="*/ 17307 h 747096"/>
                <a:gd name="connsiteX17" fmla="*/ 3027411 w 5306200"/>
                <a:gd name="connsiteY17" fmla="*/ 14422 h 747096"/>
                <a:gd name="connsiteX18" fmla="*/ 3157216 w 5306200"/>
                <a:gd name="connsiteY18" fmla="*/ 11538 h 747096"/>
                <a:gd name="connsiteX19" fmla="*/ 3336057 w 5306200"/>
                <a:gd name="connsiteY19" fmla="*/ 8653 h 747096"/>
                <a:gd name="connsiteX20" fmla="*/ 3506245 w 5306200"/>
                <a:gd name="connsiteY20" fmla="*/ 8653 h 747096"/>
                <a:gd name="connsiteX21" fmla="*/ 3722586 w 5306200"/>
                <a:gd name="connsiteY21" fmla="*/ 11537 h 747096"/>
                <a:gd name="connsiteX22" fmla="*/ 5306200 w 5306200"/>
                <a:gd name="connsiteY22" fmla="*/ 0 h 747096"/>
                <a:gd name="connsiteX23" fmla="*/ 5306200 w 5306200"/>
                <a:gd name="connsiteY23" fmla="*/ 744212 h 747096"/>
                <a:gd name="connsiteX24" fmla="*/ 3177408 w 5306200"/>
                <a:gd name="connsiteY24" fmla="*/ 747096 h 747096"/>
                <a:gd name="connsiteX25" fmla="*/ 2952413 w 5306200"/>
                <a:gd name="connsiteY25" fmla="*/ 747096 h 747096"/>
                <a:gd name="connsiteX26" fmla="*/ 2877415 w 5306200"/>
                <a:gd name="connsiteY26" fmla="*/ 747096 h 747096"/>
                <a:gd name="connsiteX27" fmla="*/ 2551462 w 5306200"/>
                <a:gd name="connsiteY27" fmla="*/ 741327 h 747096"/>
                <a:gd name="connsiteX28" fmla="*/ 2456272 w 5306200"/>
                <a:gd name="connsiteY28" fmla="*/ 735558 h 747096"/>
                <a:gd name="connsiteX29" fmla="*/ 2366851 w 5306200"/>
                <a:gd name="connsiteY29" fmla="*/ 729789 h 747096"/>
                <a:gd name="connsiteX30" fmla="*/ 2263008 w 5306200"/>
                <a:gd name="connsiteY30" fmla="*/ 724020 h 747096"/>
                <a:gd name="connsiteX31" fmla="*/ 2075512 w 5306200"/>
                <a:gd name="connsiteY31" fmla="*/ 706713 h 747096"/>
                <a:gd name="connsiteX32" fmla="*/ 1882248 w 5306200"/>
                <a:gd name="connsiteY32" fmla="*/ 686521 h 747096"/>
                <a:gd name="connsiteX33" fmla="*/ 1697637 w 5306200"/>
                <a:gd name="connsiteY33" fmla="*/ 669213 h 747096"/>
                <a:gd name="connsiteX34" fmla="*/ 1513026 w 5306200"/>
                <a:gd name="connsiteY34" fmla="*/ 652832 h 747096"/>
                <a:gd name="connsiteX35" fmla="*/ 1319762 w 5306200"/>
                <a:gd name="connsiteY35" fmla="*/ 631714 h 747096"/>
                <a:gd name="connsiteX36" fmla="*/ 1063038 w 5306200"/>
                <a:gd name="connsiteY36" fmla="*/ 602869 h 747096"/>
                <a:gd name="connsiteX37" fmla="*/ 538051 w 5306200"/>
                <a:gd name="connsiteY37" fmla="*/ 522102 h 747096"/>
                <a:gd name="connsiteX38" fmla="*/ 373632 w 5306200"/>
                <a:gd name="connsiteY38" fmla="*/ 496141 h 747096"/>
                <a:gd name="connsiteX39" fmla="*/ 192723 w 5306200"/>
                <a:gd name="connsiteY39" fmla="*/ 467187 h 747096"/>
                <a:gd name="connsiteX40" fmla="*/ 0 w 5306200"/>
                <a:gd name="connsiteY40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57063 w 5306200"/>
                <a:gd name="connsiteY13" fmla="*/ 31838 h 747096"/>
                <a:gd name="connsiteX14" fmla="*/ 2438039 w 5306200"/>
                <a:gd name="connsiteY14" fmla="*/ 14530 h 747096"/>
                <a:gd name="connsiteX15" fmla="*/ 2764918 w 5306200"/>
                <a:gd name="connsiteY15" fmla="*/ 20191 h 747096"/>
                <a:gd name="connsiteX16" fmla="*/ 2900491 w 5306200"/>
                <a:gd name="connsiteY16" fmla="*/ 17307 h 747096"/>
                <a:gd name="connsiteX17" fmla="*/ 3027411 w 5306200"/>
                <a:gd name="connsiteY17" fmla="*/ 14422 h 747096"/>
                <a:gd name="connsiteX18" fmla="*/ 3157216 w 5306200"/>
                <a:gd name="connsiteY18" fmla="*/ 11538 h 747096"/>
                <a:gd name="connsiteX19" fmla="*/ 3336057 w 5306200"/>
                <a:gd name="connsiteY19" fmla="*/ 8653 h 747096"/>
                <a:gd name="connsiteX20" fmla="*/ 3506245 w 5306200"/>
                <a:gd name="connsiteY20" fmla="*/ 8653 h 747096"/>
                <a:gd name="connsiteX21" fmla="*/ 3722586 w 5306200"/>
                <a:gd name="connsiteY21" fmla="*/ 11537 h 747096"/>
                <a:gd name="connsiteX22" fmla="*/ 5306200 w 5306200"/>
                <a:gd name="connsiteY22" fmla="*/ 0 h 747096"/>
                <a:gd name="connsiteX23" fmla="*/ 5306200 w 5306200"/>
                <a:gd name="connsiteY23" fmla="*/ 744212 h 747096"/>
                <a:gd name="connsiteX24" fmla="*/ 3177408 w 5306200"/>
                <a:gd name="connsiteY24" fmla="*/ 747096 h 747096"/>
                <a:gd name="connsiteX25" fmla="*/ 2952413 w 5306200"/>
                <a:gd name="connsiteY25" fmla="*/ 747096 h 747096"/>
                <a:gd name="connsiteX26" fmla="*/ 2877415 w 5306200"/>
                <a:gd name="connsiteY26" fmla="*/ 747096 h 747096"/>
                <a:gd name="connsiteX27" fmla="*/ 2551462 w 5306200"/>
                <a:gd name="connsiteY27" fmla="*/ 741327 h 747096"/>
                <a:gd name="connsiteX28" fmla="*/ 2456272 w 5306200"/>
                <a:gd name="connsiteY28" fmla="*/ 735558 h 747096"/>
                <a:gd name="connsiteX29" fmla="*/ 2366851 w 5306200"/>
                <a:gd name="connsiteY29" fmla="*/ 729789 h 747096"/>
                <a:gd name="connsiteX30" fmla="*/ 2263008 w 5306200"/>
                <a:gd name="connsiteY30" fmla="*/ 724020 h 747096"/>
                <a:gd name="connsiteX31" fmla="*/ 2075512 w 5306200"/>
                <a:gd name="connsiteY31" fmla="*/ 706713 h 747096"/>
                <a:gd name="connsiteX32" fmla="*/ 1882248 w 5306200"/>
                <a:gd name="connsiteY32" fmla="*/ 686521 h 747096"/>
                <a:gd name="connsiteX33" fmla="*/ 1697637 w 5306200"/>
                <a:gd name="connsiteY33" fmla="*/ 669213 h 747096"/>
                <a:gd name="connsiteX34" fmla="*/ 1513026 w 5306200"/>
                <a:gd name="connsiteY34" fmla="*/ 652832 h 747096"/>
                <a:gd name="connsiteX35" fmla="*/ 1319762 w 5306200"/>
                <a:gd name="connsiteY35" fmla="*/ 631714 h 747096"/>
                <a:gd name="connsiteX36" fmla="*/ 1063038 w 5306200"/>
                <a:gd name="connsiteY36" fmla="*/ 602869 h 747096"/>
                <a:gd name="connsiteX37" fmla="*/ 538051 w 5306200"/>
                <a:gd name="connsiteY37" fmla="*/ 522102 h 747096"/>
                <a:gd name="connsiteX38" fmla="*/ 373632 w 5306200"/>
                <a:gd name="connsiteY38" fmla="*/ 496141 h 747096"/>
                <a:gd name="connsiteX39" fmla="*/ 192723 w 5306200"/>
                <a:gd name="connsiteY39" fmla="*/ 467187 h 747096"/>
                <a:gd name="connsiteX40" fmla="*/ 0 w 5306200"/>
                <a:gd name="connsiteY40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2764918 w 5306200"/>
                <a:gd name="connsiteY15" fmla="*/ 20191 h 747096"/>
                <a:gd name="connsiteX16" fmla="*/ 2900491 w 5306200"/>
                <a:gd name="connsiteY16" fmla="*/ 17307 h 747096"/>
                <a:gd name="connsiteX17" fmla="*/ 3027411 w 5306200"/>
                <a:gd name="connsiteY17" fmla="*/ 14422 h 747096"/>
                <a:gd name="connsiteX18" fmla="*/ 3157216 w 5306200"/>
                <a:gd name="connsiteY18" fmla="*/ 11538 h 747096"/>
                <a:gd name="connsiteX19" fmla="*/ 3336057 w 5306200"/>
                <a:gd name="connsiteY19" fmla="*/ 8653 h 747096"/>
                <a:gd name="connsiteX20" fmla="*/ 3506245 w 5306200"/>
                <a:gd name="connsiteY20" fmla="*/ 8653 h 747096"/>
                <a:gd name="connsiteX21" fmla="*/ 3722586 w 5306200"/>
                <a:gd name="connsiteY21" fmla="*/ 11537 h 747096"/>
                <a:gd name="connsiteX22" fmla="*/ 5306200 w 5306200"/>
                <a:gd name="connsiteY22" fmla="*/ 0 h 747096"/>
                <a:gd name="connsiteX23" fmla="*/ 5306200 w 5306200"/>
                <a:gd name="connsiteY23" fmla="*/ 744212 h 747096"/>
                <a:gd name="connsiteX24" fmla="*/ 3177408 w 5306200"/>
                <a:gd name="connsiteY24" fmla="*/ 747096 h 747096"/>
                <a:gd name="connsiteX25" fmla="*/ 2952413 w 5306200"/>
                <a:gd name="connsiteY25" fmla="*/ 747096 h 747096"/>
                <a:gd name="connsiteX26" fmla="*/ 2877415 w 5306200"/>
                <a:gd name="connsiteY26" fmla="*/ 747096 h 747096"/>
                <a:gd name="connsiteX27" fmla="*/ 2551462 w 5306200"/>
                <a:gd name="connsiteY27" fmla="*/ 741327 h 747096"/>
                <a:gd name="connsiteX28" fmla="*/ 2456272 w 5306200"/>
                <a:gd name="connsiteY28" fmla="*/ 735558 h 747096"/>
                <a:gd name="connsiteX29" fmla="*/ 2366851 w 5306200"/>
                <a:gd name="connsiteY29" fmla="*/ 729789 h 747096"/>
                <a:gd name="connsiteX30" fmla="*/ 2263008 w 5306200"/>
                <a:gd name="connsiteY30" fmla="*/ 724020 h 747096"/>
                <a:gd name="connsiteX31" fmla="*/ 2075512 w 5306200"/>
                <a:gd name="connsiteY31" fmla="*/ 706713 h 747096"/>
                <a:gd name="connsiteX32" fmla="*/ 1882248 w 5306200"/>
                <a:gd name="connsiteY32" fmla="*/ 686521 h 747096"/>
                <a:gd name="connsiteX33" fmla="*/ 1697637 w 5306200"/>
                <a:gd name="connsiteY33" fmla="*/ 669213 h 747096"/>
                <a:gd name="connsiteX34" fmla="*/ 1513026 w 5306200"/>
                <a:gd name="connsiteY34" fmla="*/ 652832 h 747096"/>
                <a:gd name="connsiteX35" fmla="*/ 1319762 w 5306200"/>
                <a:gd name="connsiteY35" fmla="*/ 631714 h 747096"/>
                <a:gd name="connsiteX36" fmla="*/ 1063038 w 5306200"/>
                <a:gd name="connsiteY36" fmla="*/ 602869 h 747096"/>
                <a:gd name="connsiteX37" fmla="*/ 538051 w 5306200"/>
                <a:gd name="connsiteY37" fmla="*/ 522102 h 747096"/>
                <a:gd name="connsiteX38" fmla="*/ 373632 w 5306200"/>
                <a:gd name="connsiteY38" fmla="*/ 496141 h 747096"/>
                <a:gd name="connsiteX39" fmla="*/ 192723 w 5306200"/>
                <a:gd name="connsiteY39" fmla="*/ 467187 h 747096"/>
                <a:gd name="connsiteX40" fmla="*/ 0 w 5306200"/>
                <a:gd name="connsiteY40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2900491 w 5306200"/>
                <a:gd name="connsiteY15" fmla="*/ 17307 h 747096"/>
                <a:gd name="connsiteX16" fmla="*/ 3027411 w 5306200"/>
                <a:gd name="connsiteY16" fmla="*/ 14422 h 747096"/>
                <a:gd name="connsiteX17" fmla="*/ 3157216 w 5306200"/>
                <a:gd name="connsiteY17" fmla="*/ 11538 h 747096"/>
                <a:gd name="connsiteX18" fmla="*/ 3336057 w 5306200"/>
                <a:gd name="connsiteY18" fmla="*/ 8653 h 747096"/>
                <a:gd name="connsiteX19" fmla="*/ 3506245 w 5306200"/>
                <a:gd name="connsiteY19" fmla="*/ 8653 h 747096"/>
                <a:gd name="connsiteX20" fmla="*/ 3722586 w 5306200"/>
                <a:gd name="connsiteY20" fmla="*/ 11537 h 747096"/>
                <a:gd name="connsiteX21" fmla="*/ 5306200 w 5306200"/>
                <a:gd name="connsiteY21" fmla="*/ 0 h 747096"/>
                <a:gd name="connsiteX22" fmla="*/ 5306200 w 5306200"/>
                <a:gd name="connsiteY22" fmla="*/ 744212 h 747096"/>
                <a:gd name="connsiteX23" fmla="*/ 3177408 w 5306200"/>
                <a:gd name="connsiteY23" fmla="*/ 747096 h 747096"/>
                <a:gd name="connsiteX24" fmla="*/ 2952413 w 5306200"/>
                <a:gd name="connsiteY24" fmla="*/ 747096 h 747096"/>
                <a:gd name="connsiteX25" fmla="*/ 2877415 w 5306200"/>
                <a:gd name="connsiteY25" fmla="*/ 747096 h 747096"/>
                <a:gd name="connsiteX26" fmla="*/ 2551462 w 5306200"/>
                <a:gd name="connsiteY26" fmla="*/ 741327 h 747096"/>
                <a:gd name="connsiteX27" fmla="*/ 2456272 w 5306200"/>
                <a:gd name="connsiteY27" fmla="*/ 735558 h 747096"/>
                <a:gd name="connsiteX28" fmla="*/ 2366851 w 5306200"/>
                <a:gd name="connsiteY28" fmla="*/ 729789 h 747096"/>
                <a:gd name="connsiteX29" fmla="*/ 2263008 w 5306200"/>
                <a:gd name="connsiteY29" fmla="*/ 724020 h 747096"/>
                <a:gd name="connsiteX30" fmla="*/ 2075512 w 5306200"/>
                <a:gd name="connsiteY30" fmla="*/ 706713 h 747096"/>
                <a:gd name="connsiteX31" fmla="*/ 1882248 w 5306200"/>
                <a:gd name="connsiteY31" fmla="*/ 686521 h 747096"/>
                <a:gd name="connsiteX32" fmla="*/ 1697637 w 5306200"/>
                <a:gd name="connsiteY32" fmla="*/ 669213 h 747096"/>
                <a:gd name="connsiteX33" fmla="*/ 1513026 w 5306200"/>
                <a:gd name="connsiteY33" fmla="*/ 652832 h 747096"/>
                <a:gd name="connsiteX34" fmla="*/ 1319762 w 5306200"/>
                <a:gd name="connsiteY34" fmla="*/ 631714 h 747096"/>
                <a:gd name="connsiteX35" fmla="*/ 1063038 w 5306200"/>
                <a:gd name="connsiteY35" fmla="*/ 602869 h 747096"/>
                <a:gd name="connsiteX36" fmla="*/ 538051 w 5306200"/>
                <a:gd name="connsiteY36" fmla="*/ 522102 h 747096"/>
                <a:gd name="connsiteX37" fmla="*/ 373632 w 5306200"/>
                <a:gd name="connsiteY37" fmla="*/ 496141 h 747096"/>
                <a:gd name="connsiteX38" fmla="*/ 192723 w 5306200"/>
                <a:gd name="connsiteY38" fmla="*/ 467187 h 747096"/>
                <a:gd name="connsiteX39" fmla="*/ 0 w 5306200"/>
                <a:gd name="connsiteY39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27411 w 5306200"/>
                <a:gd name="connsiteY15" fmla="*/ 14422 h 747096"/>
                <a:gd name="connsiteX16" fmla="*/ 3157216 w 5306200"/>
                <a:gd name="connsiteY16" fmla="*/ 11538 h 747096"/>
                <a:gd name="connsiteX17" fmla="*/ 3336057 w 5306200"/>
                <a:gd name="connsiteY17" fmla="*/ 8653 h 747096"/>
                <a:gd name="connsiteX18" fmla="*/ 3506245 w 5306200"/>
                <a:gd name="connsiteY18" fmla="*/ 8653 h 747096"/>
                <a:gd name="connsiteX19" fmla="*/ 3722586 w 5306200"/>
                <a:gd name="connsiteY19" fmla="*/ 11537 h 747096"/>
                <a:gd name="connsiteX20" fmla="*/ 5306200 w 5306200"/>
                <a:gd name="connsiteY20" fmla="*/ 0 h 747096"/>
                <a:gd name="connsiteX21" fmla="*/ 5306200 w 5306200"/>
                <a:gd name="connsiteY21" fmla="*/ 744212 h 747096"/>
                <a:gd name="connsiteX22" fmla="*/ 3177408 w 5306200"/>
                <a:gd name="connsiteY22" fmla="*/ 747096 h 747096"/>
                <a:gd name="connsiteX23" fmla="*/ 2952413 w 5306200"/>
                <a:gd name="connsiteY23" fmla="*/ 747096 h 747096"/>
                <a:gd name="connsiteX24" fmla="*/ 2877415 w 5306200"/>
                <a:gd name="connsiteY24" fmla="*/ 747096 h 747096"/>
                <a:gd name="connsiteX25" fmla="*/ 2551462 w 5306200"/>
                <a:gd name="connsiteY25" fmla="*/ 741327 h 747096"/>
                <a:gd name="connsiteX26" fmla="*/ 2456272 w 5306200"/>
                <a:gd name="connsiteY26" fmla="*/ 735558 h 747096"/>
                <a:gd name="connsiteX27" fmla="*/ 2366851 w 5306200"/>
                <a:gd name="connsiteY27" fmla="*/ 729789 h 747096"/>
                <a:gd name="connsiteX28" fmla="*/ 2263008 w 5306200"/>
                <a:gd name="connsiteY28" fmla="*/ 724020 h 747096"/>
                <a:gd name="connsiteX29" fmla="*/ 2075512 w 5306200"/>
                <a:gd name="connsiteY29" fmla="*/ 706713 h 747096"/>
                <a:gd name="connsiteX30" fmla="*/ 1882248 w 5306200"/>
                <a:gd name="connsiteY30" fmla="*/ 686521 h 747096"/>
                <a:gd name="connsiteX31" fmla="*/ 1697637 w 5306200"/>
                <a:gd name="connsiteY31" fmla="*/ 669213 h 747096"/>
                <a:gd name="connsiteX32" fmla="*/ 1513026 w 5306200"/>
                <a:gd name="connsiteY32" fmla="*/ 652832 h 747096"/>
                <a:gd name="connsiteX33" fmla="*/ 1319762 w 5306200"/>
                <a:gd name="connsiteY33" fmla="*/ 631714 h 747096"/>
                <a:gd name="connsiteX34" fmla="*/ 1063038 w 5306200"/>
                <a:gd name="connsiteY34" fmla="*/ 602869 h 747096"/>
                <a:gd name="connsiteX35" fmla="*/ 538051 w 5306200"/>
                <a:gd name="connsiteY35" fmla="*/ 522102 h 747096"/>
                <a:gd name="connsiteX36" fmla="*/ 373632 w 5306200"/>
                <a:gd name="connsiteY36" fmla="*/ 496141 h 747096"/>
                <a:gd name="connsiteX37" fmla="*/ 192723 w 5306200"/>
                <a:gd name="connsiteY37" fmla="*/ 467187 h 747096"/>
                <a:gd name="connsiteX38" fmla="*/ 0 w 5306200"/>
                <a:gd name="connsiteY38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27411 w 5306200"/>
                <a:gd name="connsiteY15" fmla="*/ 14422 h 747096"/>
                <a:gd name="connsiteX16" fmla="*/ 3336057 w 5306200"/>
                <a:gd name="connsiteY16" fmla="*/ 8653 h 747096"/>
                <a:gd name="connsiteX17" fmla="*/ 3506245 w 5306200"/>
                <a:gd name="connsiteY17" fmla="*/ 8653 h 747096"/>
                <a:gd name="connsiteX18" fmla="*/ 3722586 w 5306200"/>
                <a:gd name="connsiteY18" fmla="*/ 11537 h 747096"/>
                <a:gd name="connsiteX19" fmla="*/ 5306200 w 5306200"/>
                <a:gd name="connsiteY19" fmla="*/ 0 h 747096"/>
                <a:gd name="connsiteX20" fmla="*/ 5306200 w 5306200"/>
                <a:gd name="connsiteY20" fmla="*/ 744212 h 747096"/>
                <a:gd name="connsiteX21" fmla="*/ 3177408 w 5306200"/>
                <a:gd name="connsiteY21" fmla="*/ 747096 h 747096"/>
                <a:gd name="connsiteX22" fmla="*/ 2952413 w 5306200"/>
                <a:gd name="connsiteY22" fmla="*/ 747096 h 747096"/>
                <a:gd name="connsiteX23" fmla="*/ 2877415 w 5306200"/>
                <a:gd name="connsiteY23" fmla="*/ 747096 h 747096"/>
                <a:gd name="connsiteX24" fmla="*/ 2551462 w 5306200"/>
                <a:gd name="connsiteY24" fmla="*/ 741327 h 747096"/>
                <a:gd name="connsiteX25" fmla="*/ 2456272 w 5306200"/>
                <a:gd name="connsiteY25" fmla="*/ 735558 h 747096"/>
                <a:gd name="connsiteX26" fmla="*/ 2366851 w 5306200"/>
                <a:gd name="connsiteY26" fmla="*/ 729789 h 747096"/>
                <a:gd name="connsiteX27" fmla="*/ 2263008 w 5306200"/>
                <a:gd name="connsiteY27" fmla="*/ 724020 h 747096"/>
                <a:gd name="connsiteX28" fmla="*/ 2075512 w 5306200"/>
                <a:gd name="connsiteY28" fmla="*/ 706713 h 747096"/>
                <a:gd name="connsiteX29" fmla="*/ 1882248 w 5306200"/>
                <a:gd name="connsiteY29" fmla="*/ 686521 h 747096"/>
                <a:gd name="connsiteX30" fmla="*/ 1697637 w 5306200"/>
                <a:gd name="connsiteY30" fmla="*/ 669213 h 747096"/>
                <a:gd name="connsiteX31" fmla="*/ 1513026 w 5306200"/>
                <a:gd name="connsiteY31" fmla="*/ 652832 h 747096"/>
                <a:gd name="connsiteX32" fmla="*/ 1319762 w 5306200"/>
                <a:gd name="connsiteY32" fmla="*/ 631714 h 747096"/>
                <a:gd name="connsiteX33" fmla="*/ 1063038 w 5306200"/>
                <a:gd name="connsiteY33" fmla="*/ 602869 h 747096"/>
                <a:gd name="connsiteX34" fmla="*/ 538051 w 5306200"/>
                <a:gd name="connsiteY34" fmla="*/ 522102 h 747096"/>
                <a:gd name="connsiteX35" fmla="*/ 373632 w 5306200"/>
                <a:gd name="connsiteY35" fmla="*/ 496141 h 747096"/>
                <a:gd name="connsiteX36" fmla="*/ 192723 w 5306200"/>
                <a:gd name="connsiteY36" fmla="*/ 467187 h 747096"/>
                <a:gd name="connsiteX37" fmla="*/ 0 w 5306200"/>
                <a:gd name="connsiteY37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27411 w 5306200"/>
                <a:gd name="connsiteY15" fmla="*/ 14422 h 747096"/>
                <a:gd name="connsiteX16" fmla="*/ 3506245 w 5306200"/>
                <a:gd name="connsiteY16" fmla="*/ 8653 h 747096"/>
                <a:gd name="connsiteX17" fmla="*/ 3722586 w 5306200"/>
                <a:gd name="connsiteY17" fmla="*/ 11537 h 747096"/>
                <a:gd name="connsiteX18" fmla="*/ 5306200 w 5306200"/>
                <a:gd name="connsiteY18" fmla="*/ 0 h 747096"/>
                <a:gd name="connsiteX19" fmla="*/ 5306200 w 5306200"/>
                <a:gd name="connsiteY19" fmla="*/ 744212 h 747096"/>
                <a:gd name="connsiteX20" fmla="*/ 3177408 w 5306200"/>
                <a:gd name="connsiteY20" fmla="*/ 747096 h 747096"/>
                <a:gd name="connsiteX21" fmla="*/ 2952413 w 5306200"/>
                <a:gd name="connsiteY21" fmla="*/ 747096 h 747096"/>
                <a:gd name="connsiteX22" fmla="*/ 2877415 w 5306200"/>
                <a:gd name="connsiteY22" fmla="*/ 747096 h 747096"/>
                <a:gd name="connsiteX23" fmla="*/ 2551462 w 5306200"/>
                <a:gd name="connsiteY23" fmla="*/ 741327 h 747096"/>
                <a:gd name="connsiteX24" fmla="*/ 2456272 w 5306200"/>
                <a:gd name="connsiteY24" fmla="*/ 735558 h 747096"/>
                <a:gd name="connsiteX25" fmla="*/ 2366851 w 5306200"/>
                <a:gd name="connsiteY25" fmla="*/ 729789 h 747096"/>
                <a:gd name="connsiteX26" fmla="*/ 2263008 w 5306200"/>
                <a:gd name="connsiteY26" fmla="*/ 724020 h 747096"/>
                <a:gd name="connsiteX27" fmla="*/ 2075512 w 5306200"/>
                <a:gd name="connsiteY27" fmla="*/ 706713 h 747096"/>
                <a:gd name="connsiteX28" fmla="*/ 1882248 w 5306200"/>
                <a:gd name="connsiteY28" fmla="*/ 686521 h 747096"/>
                <a:gd name="connsiteX29" fmla="*/ 1697637 w 5306200"/>
                <a:gd name="connsiteY29" fmla="*/ 669213 h 747096"/>
                <a:gd name="connsiteX30" fmla="*/ 1513026 w 5306200"/>
                <a:gd name="connsiteY30" fmla="*/ 652832 h 747096"/>
                <a:gd name="connsiteX31" fmla="*/ 1319762 w 5306200"/>
                <a:gd name="connsiteY31" fmla="*/ 631714 h 747096"/>
                <a:gd name="connsiteX32" fmla="*/ 1063038 w 5306200"/>
                <a:gd name="connsiteY32" fmla="*/ 602869 h 747096"/>
                <a:gd name="connsiteX33" fmla="*/ 538051 w 5306200"/>
                <a:gd name="connsiteY33" fmla="*/ 522102 h 747096"/>
                <a:gd name="connsiteX34" fmla="*/ 373632 w 5306200"/>
                <a:gd name="connsiteY34" fmla="*/ 496141 h 747096"/>
                <a:gd name="connsiteX35" fmla="*/ 192723 w 5306200"/>
                <a:gd name="connsiteY35" fmla="*/ 467187 h 747096"/>
                <a:gd name="connsiteX36" fmla="*/ 0 w 5306200"/>
                <a:gd name="connsiteY36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27411 w 5306200"/>
                <a:gd name="connsiteY15" fmla="*/ 14422 h 747096"/>
                <a:gd name="connsiteX16" fmla="*/ 3722586 w 5306200"/>
                <a:gd name="connsiteY16" fmla="*/ 1153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551462 w 5306200"/>
                <a:gd name="connsiteY22" fmla="*/ 741327 h 747096"/>
                <a:gd name="connsiteX23" fmla="*/ 2456272 w 5306200"/>
                <a:gd name="connsiteY23" fmla="*/ 735558 h 747096"/>
                <a:gd name="connsiteX24" fmla="*/ 2366851 w 5306200"/>
                <a:gd name="connsiteY24" fmla="*/ 729789 h 747096"/>
                <a:gd name="connsiteX25" fmla="*/ 2263008 w 5306200"/>
                <a:gd name="connsiteY25" fmla="*/ 724020 h 747096"/>
                <a:gd name="connsiteX26" fmla="*/ 2075512 w 5306200"/>
                <a:gd name="connsiteY26" fmla="*/ 706713 h 747096"/>
                <a:gd name="connsiteX27" fmla="*/ 1882248 w 5306200"/>
                <a:gd name="connsiteY27" fmla="*/ 686521 h 747096"/>
                <a:gd name="connsiteX28" fmla="*/ 1697637 w 5306200"/>
                <a:gd name="connsiteY28" fmla="*/ 669213 h 747096"/>
                <a:gd name="connsiteX29" fmla="*/ 1513026 w 5306200"/>
                <a:gd name="connsiteY29" fmla="*/ 652832 h 747096"/>
                <a:gd name="connsiteX30" fmla="*/ 1319762 w 5306200"/>
                <a:gd name="connsiteY30" fmla="*/ 631714 h 747096"/>
                <a:gd name="connsiteX31" fmla="*/ 1063038 w 5306200"/>
                <a:gd name="connsiteY31" fmla="*/ 602869 h 747096"/>
                <a:gd name="connsiteX32" fmla="*/ 538051 w 5306200"/>
                <a:gd name="connsiteY32" fmla="*/ 522102 h 747096"/>
                <a:gd name="connsiteX33" fmla="*/ 373632 w 5306200"/>
                <a:gd name="connsiteY33" fmla="*/ 496141 h 747096"/>
                <a:gd name="connsiteX34" fmla="*/ 192723 w 5306200"/>
                <a:gd name="connsiteY34" fmla="*/ 467187 h 747096"/>
                <a:gd name="connsiteX35" fmla="*/ 0 w 5306200"/>
                <a:gd name="connsiteY35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27411 w 5306200"/>
                <a:gd name="connsiteY15" fmla="*/ 14422 h 747096"/>
                <a:gd name="connsiteX16" fmla="*/ 3707346 w 5306200"/>
                <a:gd name="connsiteY16" fmla="*/ 391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551462 w 5306200"/>
                <a:gd name="connsiteY22" fmla="*/ 741327 h 747096"/>
                <a:gd name="connsiteX23" fmla="*/ 2456272 w 5306200"/>
                <a:gd name="connsiteY23" fmla="*/ 735558 h 747096"/>
                <a:gd name="connsiteX24" fmla="*/ 2366851 w 5306200"/>
                <a:gd name="connsiteY24" fmla="*/ 729789 h 747096"/>
                <a:gd name="connsiteX25" fmla="*/ 2263008 w 5306200"/>
                <a:gd name="connsiteY25" fmla="*/ 724020 h 747096"/>
                <a:gd name="connsiteX26" fmla="*/ 2075512 w 5306200"/>
                <a:gd name="connsiteY26" fmla="*/ 706713 h 747096"/>
                <a:gd name="connsiteX27" fmla="*/ 1882248 w 5306200"/>
                <a:gd name="connsiteY27" fmla="*/ 686521 h 747096"/>
                <a:gd name="connsiteX28" fmla="*/ 1697637 w 5306200"/>
                <a:gd name="connsiteY28" fmla="*/ 669213 h 747096"/>
                <a:gd name="connsiteX29" fmla="*/ 1513026 w 5306200"/>
                <a:gd name="connsiteY29" fmla="*/ 652832 h 747096"/>
                <a:gd name="connsiteX30" fmla="*/ 1319762 w 5306200"/>
                <a:gd name="connsiteY30" fmla="*/ 631714 h 747096"/>
                <a:gd name="connsiteX31" fmla="*/ 1063038 w 5306200"/>
                <a:gd name="connsiteY31" fmla="*/ 602869 h 747096"/>
                <a:gd name="connsiteX32" fmla="*/ 538051 w 5306200"/>
                <a:gd name="connsiteY32" fmla="*/ 522102 h 747096"/>
                <a:gd name="connsiteX33" fmla="*/ 373632 w 5306200"/>
                <a:gd name="connsiteY33" fmla="*/ 496141 h 747096"/>
                <a:gd name="connsiteX34" fmla="*/ 192723 w 5306200"/>
                <a:gd name="connsiteY34" fmla="*/ 467187 h 747096"/>
                <a:gd name="connsiteX35" fmla="*/ 0 w 5306200"/>
                <a:gd name="connsiteY35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04551 w 5306200"/>
                <a:gd name="connsiteY15" fmla="*/ 14422 h 747096"/>
                <a:gd name="connsiteX16" fmla="*/ 3707346 w 5306200"/>
                <a:gd name="connsiteY16" fmla="*/ 391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551462 w 5306200"/>
                <a:gd name="connsiteY22" fmla="*/ 741327 h 747096"/>
                <a:gd name="connsiteX23" fmla="*/ 2456272 w 5306200"/>
                <a:gd name="connsiteY23" fmla="*/ 735558 h 747096"/>
                <a:gd name="connsiteX24" fmla="*/ 2366851 w 5306200"/>
                <a:gd name="connsiteY24" fmla="*/ 729789 h 747096"/>
                <a:gd name="connsiteX25" fmla="*/ 2263008 w 5306200"/>
                <a:gd name="connsiteY25" fmla="*/ 724020 h 747096"/>
                <a:gd name="connsiteX26" fmla="*/ 2075512 w 5306200"/>
                <a:gd name="connsiteY26" fmla="*/ 706713 h 747096"/>
                <a:gd name="connsiteX27" fmla="*/ 1882248 w 5306200"/>
                <a:gd name="connsiteY27" fmla="*/ 686521 h 747096"/>
                <a:gd name="connsiteX28" fmla="*/ 1697637 w 5306200"/>
                <a:gd name="connsiteY28" fmla="*/ 669213 h 747096"/>
                <a:gd name="connsiteX29" fmla="*/ 1513026 w 5306200"/>
                <a:gd name="connsiteY29" fmla="*/ 652832 h 747096"/>
                <a:gd name="connsiteX30" fmla="*/ 1319762 w 5306200"/>
                <a:gd name="connsiteY30" fmla="*/ 631714 h 747096"/>
                <a:gd name="connsiteX31" fmla="*/ 1063038 w 5306200"/>
                <a:gd name="connsiteY31" fmla="*/ 602869 h 747096"/>
                <a:gd name="connsiteX32" fmla="*/ 538051 w 5306200"/>
                <a:gd name="connsiteY32" fmla="*/ 522102 h 747096"/>
                <a:gd name="connsiteX33" fmla="*/ 373632 w 5306200"/>
                <a:gd name="connsiteY33" fmla="*/ 496141 h 747096"/>
                <a:gd name="connsiteX34" fmla="*/ 192723 w 5306200"/>
                <a:gd name="connsiteY34" fmla="*/ 467187 h 747096"/>
                <a:gd name="connsiteX35" fmla="*/ 0 w 5306200"/>
                <a:gd name="connsiteY35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00540 w 5306200"/>
                <a:gd name="connsiteY15" fmla="*/ 10412 h 747096"/>
                <a:gd name="connsiteX16" fmla="*/ 3707346 w 5306200"/>
                <a:gd name="connsiteY16" fmla="*/ 391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551462 w 5306200"/>
                <a:gd name="connsiteY22" fmla="*/ 741327 h 747096"/>
                <a:gd name="connsiteX23" fmla="*/ 2456272 w 5306200"/>
                <a:gd name="connsiteY23" fmla="*/ 735558 h 747096"/>
                <a:gd name="connsiteX24" fmla="*/ 2366851 w 5306200"/>
                <a:gd name="connsiteY24" fmla="*/ 729789 h 747096"/>
                <a:gd name="connsiteX25" fmla="*/ 2263008 w 5306200"/>
                <a:gd name="connsiteY25" fmla="*/ 724020 h 747096"/>
                <a:gd name="connsiteX26" fmla="*/ 2075512 w 5306200"/>
                <a:gd name="connsiteY26" fmla="*/ 706713 h 747096"/>
                <a:gd name="connsiteX27" fmla="*/ 1882248 w 5306200"/>
                <a:gd name="connsiteY27" fmla="*/ 686521 h 747096"/>
                <a:gd name="connsiteX28" fmla="*/ 1697637 w 5306200"/>
                <a:gd name="connsiteY28" fmla="*/ 669213 h 747096"/>
                <a:gd name="connsiteX29" fmla="*/ 1513026 w 5306200"/>
                <a:gd name="connsiteY29" fmla="*/ 652832 h 747096"/>
                <a:gd name="connsiteX30" fmla="*/ 1319762 w 5306200"/>
                <a:gd name="connsiteY30" fmla="*/ 631714 h 747096"/>
                <a:gd name="connsiteX31" fmla="*/ 1063038 w 5306200"/>
                <a:gd name="connsiteY31" fmla="*/ 602869 h 747096"/>
                <a:gd name="connsiteX32" fmla="*/ 538051 w 5306200"/>
                <a:gd name="connsiteY32" fmla="*/ 522102 h 747096"/>
                <a:gd name="connsiteX33" fmla="*/ 373632 w 5306200"/>
                <a:gd name="connsiteY33" fmla="*/ 496141 h 747096"/>
                <a:gd name="connsiteX34" fmla="*/ 192723 w 5306200"/>
                <a:gd name="connsiteY34" fmla="*/ 467187 h 747096"/>
                <a:gd name="connsiteX35" fmla="*/ 0 w 5306200"/>
                <a:gd name="connsiteY35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00540 w 5306200"/>
                <a:gd name="connsiteY15" fmla="*/ 10412 h 747096"/>
                <a:gd name="connsiteX16" fmla="*/ 3707346 w 5306200"/>
                <a:gd name="connsiteY16" fmla="*/ 391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456272 w 5306200"/>
                <a:gd name="connsiteY22" fmla="*/ 735558 h 747096"/>
                <a:gd name="connsiteX23" fmla="*/ 2366851 w 5306200"/>
                <a:gd name="connsiteY23" fmla="*/ 729789 h 747096"/>
                <a:gd name="connsiteX24" fmla="*/ 2263008 w 5306200"/>
                <a:gd name="connsiteY24" fmla="*/ 724020 h 747096"/>
                <a:gd name="connsiteX25" fmla="*/ 2075512 w 5306200"/>
                <a:gd name="connsiteY25" fmla="*/ 706713 h 747096"/>
                <a:gd name="connsiteX26" fmla="*/ 1882248 w 5306200"/>
                <a:gd name="connsiteY26" fmla="*/ 686521 h 747096"/>
                <a:gd name="connsiteX27" fmla="*/ 1697637 w 5306200"/>
                <a:gd name="connsiteY27" fmla="*/ 669213 h 747096"/>
                <a:gd name="connsiteX28" fmla="*/ 1513026 w 5306200"/>
                <a:gd name="connsiteY28" fmla="*/ 652832 h 747096"/>
                <a:gd name="connsiteX29" fmla="*/ 1319762 w 5306200"/>
                <a:gd name="connsiteY29" fmla="*/ 631714 h 747096"/>
                <a:gd name="connsiteX30" fmla="*/ 1063038 w 5306200"/>
                <a:gd name="connsiteY30" fmla="*/ 602869 h 747096"/>
                <a:gd name="connsiteX31" fmla="*/ 538051 w 5306200"/>
                <a:gd name="connsiteY31" fmla="*/ 522102 h 747096"/>
                <a:gd name="connsiteX32" fmla="*/ 373632 w 5306200"/>
                <a:gd name="connsiteY32" fmla="*/ 496141 h 747096"/>
                <a:gd name="connsiteX33" fmla="*/ 192723 w 5306200"/>
                <a:gd name="connsiteY33" fmla="*/ 467187 h 747096"/>
                <a:gd name="connsiteX34" fmla="*/ 0 w 5306200"/>
                <a:gd name="connsiteY34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00540 w 5306200"/>
                <a:gd name="connsiteY15" fmla="*/ 10412 h 747096"/>
                <a:gd name="connsiteX16" fmla="*/ 3707346 w 5306200"/>
                <a:gd name="connsiteY16" fmla="*/ 391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456272 w 5306200"/>
                <a:gd name="connsiteY22" fmla="*/ 735558 h 747096"/>
                <a:gd name="connsiteX23" fmla="*/ 2263008 w 5306200"/>
                <a:gd name="connsiteY23" fmla="*/ 724020 h 747096"/>
                <a:gd name="connsiteX24" fmla="*/ 2075512 w 5306200"/>
                <a:gd name="connsiteY24" fmla="*/ 706713 h 747096"/>
                <a:gd name="connsiteX25" fmla="*/ 1882248 w 5306200"/>
                <a:gd name="connsiteY25" fmla="*/ 686521 h 747096"/>
                <a:gd name="connsiteX26" fmla="*/ 1697637 w 5306200"/>
                <a:gd name="connsiteY26" fmla="*/ 669213 h 747096"/>
                <a:gd name="connsiteX27" fmla="*/ 1513026 w 5306200"/>
                <a:gd name="connsiteY27" fmla="*/ 652832 h 747096"/>
                <a:gd name="connsiteX28" fmla="*/ 1319762 w 5306200"/>
                <a:gd name="connsiteY28" fmla="*/ 631714 h 747096"/>
                <a:gd name="connsiteX29" fmla="*/ 1063038 w 5306200"/>
                <a:gd name="connsiteY29" fmla="*/ 602869 h 747096"/>
                <a:gd name="connsiteX30" fmla="*/ 538051 w 5306200"/>
                <a:gd name="connsiteY30" fmla="*/ 522102 h 747096"/>
                <a:gd name="connsiteX31" fmla="*/ 373632 w 5306200"/>
                <a:gd name="connsiteY31" fmla="*/ 496141 h 747096"/>
                <a:gd name="connsiteX32" fmla="*/ 192723 w 5306200"/>
                <a:gd name="connsiteY32" fmla="*/ 467187 h 747096"/>
                <a:gd name="connsiteX33" fmla="*/ 0 w 5306200"/>
                <a:gd name="connsiteY33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00540 w 5306200"/>
                <a:gd name="connsiteY15" fmla="*/ 10412 h 747096"/>
                <a:gd name="connsiteX16" fmla="*/ 3707346 w 5306200"/>
                <a:gd name="connsiteY16" fmla="*/ 391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456272 w 5306200"/>
                <a:gd name="connsiteY22" fmla="*/ 735558 h 747096"/>
                <a:gd name="connsiteX23" fmla="*/ 2263008 w 5306200"/>
                <a:gd name="connsiteY23" fmla="*/ 724020 h 747096"/>
                <a:gd name="connsiteX24" fmla="*/ 1882248 w 5306200"/>
                <a:gd name="connsiteY24" fmla="*/ 686521 h 747096"/>
                <a:gd name="connsiteX25" fmla="*/ 1697637 w 5306200"/>
                <a:gd name="connsiteY25" fmla="*/ 669213 h 747096"/>
                <a:gd name="connsiteX26" fmla="*/ 1513026 w 5306200"/>
                <a:gd name="connsiteY26" fmla="*/ 652832 h 747096"/>
                <a:gd name="connsiteX27" fmla="*/ 1319762 w 5306200"/>
                <a:gd name="connsiteY27" fmla="*/ 631714 h 747096"/>
                <a:gd name="connsiteX28" fmla="*/ 1063038 w 5306200"/>
                <a:gd name="connsiteY28" fmla="*/ 602869 h 747096"/>
                <a:gd name="connsiteX29" fmla="*/ 538051 w 5306200"/>
                <a:gd name="connsiteY29" fmla="*/ 522102 h 747096"/>
                <a:gd name="connsiteX30" fmla="*/ 373632 w 5306200"/>
                <a:gd name="connsiteY30" fmla="*/ 496141 h 747096"/>
                <a:gd name="connsiteX31" fmla="*/ 192723 w 5306200"/>
                <a:gd name="connsiteY31" fmla="*/ 467187 h 747096"/>
                <a:gd name="connsiteX32" fmla="*/ 0 w 5306200"/>
                <a:gd name="connsiteY32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00540 w 5306200"/>
                <a:gd name="connsiteY15" fmla="*/ 10412 h 747096"/>
                <a:gd name="connsiteX16" fmla="*/ 3707346 w 5306200"/>
                <a:gd name="connsiteY16" fmla="*/ 391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456272 w 5306200"/>
                <a:gd name="connsiteY22" fmla="*/ 735558 h 747096"/>
                <a:gd name="connsiteX23" fmla="*/ 2178787 w 5306200"/>
                <a:gd name="connsiteY23" fmla="*/ 720010 h 747096"/>
                <a:gd name="connsiteX24" fmla="*/ 1882248 w 5306200"/>
                <a:gd name="connsiteY24" fmla="*/ 686521 h 747096"/>
                <a:gd name="connsiteX25" fmla="*/ 1697637 w 5306200"/>
                <a:gd name="connsiteY25" fmla="*/ 669213 h 747096"/>
                <a:gd name="connsiteX26" fmla="*/ 1513026 w 5306200"/>
                <a:gd name="connsiteY26" fmla="*/ 652832 h 747096"/>
                <a:gd name="connsiteX27" fmla="*/ 1319762 w 5306200"/>
                <a:gd name="connsiteY27" fmla="*/ 631714 h 747096"/>
                <a:gd name="connsiteX28" fmla="*/ 1063038 w 5306200"/>
                <a:gd name="connsiteY28" fmla="*/ 602869 h 747096"/>
                <a:gd name="connsiteX29" fmla="*/ 538051 w 5306200"/>
                <a:gd name="connsiteY29" fmla="*/ 522102 h 747096"/>
                <a:gd name="connsiteX30" fmla="*/ 373632 w 5306200"/>
                <a:gd name="connsiteY30" fmla="*/ 496141 h 747096"/>
                <a:gd name="connsiteX31" fmla="*/ 192723 w 5306200"/>
                <a:gd name="connsiteY31" fmla="*/ 467187 h 747096"/>
                <a:gd name="connsiteX32" fmla="*/ 0 w 5306200"/>
                <a:gd name="connsiteY32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00540 w 5306200"/>
                <a:gd name="connsiteY15" fmla="*/ 10412 h 747096"/>
                <a:gd name="connsiteX16" fmla="*/ 3707346 w 5306200"/>
                <a:gd name="connsiteY16" fmla="*/ 391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456272 w 5306200"/>
                <a:gd name="connsiteY22" fmla="*/ 735558 h 747096"/>
                <a:gd name="connsiteX23" fmla="*/ 2178787 w 5306200"/>
                <a:gd name="connsiteY23" fmla="*/ 720010 h 747096"/>
                <a:gd name="connsiteX24" fmla="*/ 1882248 w 5306200"/>
                <a:gd name="connsiteY24" fmla="*/ 686521 h 747096"/>
                <a:gd name="connsiteX25" fmla="*/ 1513026 w 5306200"/>
                <a:gd name="connsiteY25" fmla="*/ 652832 h 747096"/>
                <a:gd name="connsiteX26" fmla="*/ 1319762 w 5306200"/>
                <a:gd name="connsiteY26" fmla="*/ 631714 h 747096"/>
                <a:gd name="connsiteX27" fmla="*/ 1063038 w 5306200"/>
                <a:gd name="connsiteY27" fmla="*/ 602869 h 747096"/>
                <a:gd name="connsiteX28" fmla="*/ 538051 w 5306200"/>
                <a:gd name="connsiteY28" fmla="*/ 522102 h 747096"/>
                <a:gd name="connsiteX29" fmla="*/ 373632 w 5306200"/>
                <a:gd name="connsiteY29" fmla="*/ 496141 h 747096"/>
                <a:gd name="connsiteX30" fmla="*/ 192723 w 5306200"/>
                <a:gd name="connsiteY30" fmla="*/ 467187 h 747096"/>
                <a:gd name="connsiteX31" fmla="*/ 0 w 5306200"/>
                <a:gd name="connsiteY31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987715 w 5306200"/>
                <a:gd name="connsiteY9" fmla="*/ 78315 h 747096"/>
                <a:gd name="connsiteX10" fmla="*/ 1135969 w 5306200"/>
                <a:gd name="connsiteY10" fmla="*/ 61933 h 747096"/>
                <a:gd name="connsiteX11" fmla="*/ 1324233 w 5306200"/>
                <a:gd name="connsiteY11" fmla="*/ 45659 h 747096"/>
                <a:gd name="connsiteX12" fmla="*/ 1635920 w 5306200"/>
                <a:gd name="connsiteY12" fmla="*/ 25360 h 747096"/>
                <a:gd name="connsiteX13" fmla="*/ 2034203 w 5306200"/>
                <a:gd name="connsiteY13" fmla="*/ 12788 h 747096"/>
                <a:gd name="connsiteX14" fmla="*/ 2438039 w 5306200"/>
                <a:gd name="connsiteY14" fmla="*/ 14530 h 747096"/>
                <a:gd name="connsiteX15" fmla="*/ 3000540 w 5306200"/>
                <a:gd name="connsiteY15" fmla="*/ 10412 h 747096"/>
                <a:gd name="connsiteX16" fmla="*/ 3707346 w 5306200"/>
                <a:gd name="connsiteY16" fmla="*/ 3917 h 747096"/>
                <a:gd name="connsiteX17" fmla="*/ 5306200 w 5306200"/>
                <a:gd name="connsiteY17" fmla="*/ 0 h 747096"/>
                <a:gd name="connsiteX18" fmla="*/ 5306200 w 5306200"/>
                <a:gd name="connsiteY18" fmla="*/ 744212 h 747096"/>
                <a:gd name="connsiteX19" fmla="*/ 3177408 w 5306200"/>
                <a:gd name="connsiteY19" fmla="*/ 747096 h 747096"/>
                <a:gd name="connsiteX20" fmla="*/ 2952413 w 5306200"/>
                <a:gd name="connsiteY20" fmla="*/ 747096 h 747096"/>
                <a:gd name="connsiteX21" fmla="*/ 2877415 w 5306200"/>
                <a:gd name="connsiteY21" fmla="*/ 747096 h 747096"/>
                <a:gd name="connsiteX22" fmla="*/ 2456272 w 5306200"/>
                <a:gd name="connsiteY22" fmla="*/ 735558 h 747096"/>
                <a:gd name="connsiteX23" fmla="*/ 2178787 w 5306200"/>
                <a:gd name="connsiteY23" fmla="*/ 720010 h 747096"/>
                <a:gd name="connsiteX24" fmla="*/ 1882248 w 5306200"/>
                <a:gd name="connsiteY24" fmla="*/ 698552 h 747096"/>
                <a:gd name="connsiteX25" fmla="*/ 1513026 w 5306200"/>
                <a:gd name="connsiteY25" fmla="*/ 652832 h 747096"/>
                <a:gd name="connsiteX26" fmla="*/ 1319762 w 5306200"/>
                <a:gd name="connsiteY26" fmla="*/ 631714 h 747096"/>
                <a:gd name="connsiteX27" fmla="*/ 1063038 w 5306200"/>
                <a:gd name="connsiteY27" fmla="*/ 602869 h 747096"/>
                <a:gd name="connsiteX28" fmla="*/ 538051 w 5306200"/>
                <a:gd name="connsiteY28" fmla="*/ 522102 h 747096"/>
                <a:gd name="connsiteX29" fmla="*/ 373632 w 5306200"/>
                <a:gd name="connsiteY29" fmla="*/ 496141 h 747096"/>
                <a:gd name="connsiteX30" fmla="*/ 192723 w 5306200"/>
                <a:gd name="connsiteY30" fmla="*/ 467187 h 747096"/>
                <a:gd name="connsiteX31" fmla="*/ 0 w 5306200"/>
                <a:gd name="connsiteY31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1135969 w 5306200"/>
                <a:gd name="connsiteY9" fmla="*/ 61933 h 747096"/>
                <a:gd name="connsiteX10" fmla="*/ 1324233 w 5306200"/>
                <a:gd name="connsiteY10" fmla="*/ 45659 h 747096"/>
                <a:gd name="connsiteX11" fmla="*/ 1635920 w 5306200"/>
                <a:gd name="connsiteY11" fmla="*/ 25360 h 747096"/>
                <a:gd name="connsiteX12" fmla="*/ 2034203 w 5306200"/>
                <a:gd name="connsiteY12" fmla="*/ 12788 h 747096"/>
                <a:gd name="connsiteX13" fmla="*/ 2438039 w 5306200"/>
                <a:gd name="connsiteY13" fmla="*/ 14530 h 747096"/>
                <a:gd name="connsiteX14" fmla="*/ 3000540 w 5306200"/>
                <a:gd name="connsiteY14" fmla="*/ 10412 h 747096"/>
                <a:gd name="connsiteX15" fmla="*/ 3707346 w 5306200"/>
                <a:gd name="connsiteY15" fmla="*/ 3917 h 747096"/>
                <a:gd name="connsiteX16" fmla="*/ 5306200 w 5306200"/>
                <a:gd name="connsiteY16" fmla="*/ 0 h 747096"/>
                <a:gd name="connsiteX17" fmla="*/ 5306200 w 5306200"/>
                <a:gd name="connsiteY17" fmla="*/ 744212 h 747096"/>
                <a:gd name="connsiteX18" fmla="*/ 3177408 w 5306200"/>
                <a:gd name="connsiteY18" fmla="*/ 747096 h 747096"/>
                <a:gd name="connsiteX19" fmla="*/ 2952413 w 5306200"/>
                <a:gd name="connsiteY19" fmla="*/ 747096 h 747096"/>
                <a:gd name="connsiteX20" fmla="*/ 2877415 w 5306200"/>
                <a:gd name="connsiteY20" fmla="*/ 747096 h 747096"/>
                <a:gd name="connsiteX21" fmla="*/ 2456272 w 5306200"/>
                <a:gd name="connsiteY21" fmla="*/ 735558 h 747096"/>
                <a:gd name="connsiteX22" fmla="*/ 2178787 w 5306200"/>
                <a:gd name="connsiteY22" fmla="*/ 720010 h 747096"/>
                <a:gd name="connsiteX23" fmla="*/ 1882248 w 5306200"/>
                <a:gd name="connsiteY23" fmla="*/ 698552 h 747096"/>
                <a:gd name="connsiteX24" fmla="*/ 1513026 w 5306200"/>
                <a:gd name="connsiteY24" fmla="*/ 652832 h 747096"/>
                <a:gd name="connsiteX25" fmla="*/ 1319762 w 5306200"/>
                <a:gd name="connsiteY25" fmla="*/ 631714 h 747096"/>
                <a:gd name="connsiteX26" fmla="*/ 1063038 w 5306200"/>
                <a:gd name="connsiteY26" fmla="*/ 602869 h 747096"/>
                <a:gd name="connsiteX27" fmla="*/ 538051 w 5306200"/>
                <a:gd name="connsiteY27" fmla="*/ 522102 h 747096"/>
                <a:gd name="connsiteX28" fmla="*/ 373632 w 5306200"/>
                <a:gd name="connsiteY28" fmla="*/ 496141 h 747096"/>
                <a:gd name="connsiteX29" fmla="*/ 192723 w 5306200"/>
                <a:gd name="connsiteY29" fmla="*/ 467187 h 747096"/>
                <a:gd name="connsiteX30" fmla="*/ 0 w 5306200"/>
                <a:gd name="connsiteY30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1135969 w 5306200"/>
                <a:gd name="connsiteY9" fmla="*/ 61933 h 747096"/>
                <a:gd name="connsiteX10" fmla="*/ 1324233 w 5306200"/>
                <a:gd name="connsiteY10" fmla="*/ 45659 h 747096"/>
                <a:gd name="connsiteX11" fmla="*/ 1635920 w 5306200"/>
                <a:gd name="connsiteY11" fmla="*/ 25360 h 747096"/>
                <a:gd name="connsiteX12" fmla="*/ 2034203 w 5306200"/>
                <a:gd name="connsiteY12" fmla="*/ 12788 h 747096"/>
                <a:gd name="connsiteX13" fmla="*/ 2446060 w 5306200"/>
                <a:gd name="connsiteY13" fmla="*/ 2499 h 747096"/>
                <a:gd name="connsiteX14" fmla="*/ 3000540 w 5306200"/>
                <a:gd name="connsiteY14" fmla="*/ 10412 h 747096"/>
                <a:gd name="connsiteX15" fmla="*/ 3707346 w 5306200"/>
                <a:gd name="connsiteY15" fmla="*/ 3917 h 747096"/>
                <a:gd name="connsiteX16" fmla="*/ 5306200 w 5306200"/>
                <a:gd name="connsiteY16" fmla="*/ 0 h 747096"/>
                <a:gd name="connsiteX17" fmla="*/ 5306200 w 5306200"/>
                <a:gd name="connsiteY17" fmla="*/ 744212 h 747096"/>
                <a:gd name="connsiteX18" fmla="*/ 3177408 w 5306200"/>
                <a:gd name="connsiteY18" fmla="*/ 747096 h 747096"/>
                <a:gd name="connsiteX19" fmla="*/ 2952413 w 5306200"/>
                <a:gd name="connsiteY19" fmla="*/ 747096 h 747096"/>
                <a:gd name="connsiteX20" fmla="*/ 2877415 w 5306200"/>
                <a:gd name="connsiteY20" fmla="*/ 747096 h 747096"/>
                <a:gd name="connsiteX21" fmla="*/ 2456272 w 5306200"/>
                <a:gd name="connsiteY21" fmla="*/ 735558 h 747096"/>
                <a:gd name="connsiteX22" fmla="*/ 2178787 w 5306200"/>
                <a:gd name="connsiteY22" fmla="*/ 720010 h 747096"/>
                <a:gd name="connsiteX23" fmla="*/ 1882248 w 5306200"/>
                <a:gd name="connsiteY23" fmla="*/ 698552 h 747096"/>
                <a:gd name="connsiteX24" fmla="*/ 1513026 w 5306200"/>
                <a:gd name="connsiteY24" fmla="*/ 652832 h 747096"/>
                <a:gd name="connsiteX25" fmla="*/ 1319762 w 5306200"/>
                <a:gd name="connsiteY25" fmla="*/ 631714 h 747096"/>
                <a:gd name="connsiteX26" fmla="*/ 1063038 w 5306200"/>
                <a:gd name="connsiteY26" fmla="*/ 602869 h 747096"/>
                <a:gd name="connsiteX27" fmla="*/ 538051 w 5306200"/>
                <a:gd name="connsiteY27" fmla="*/ 522102 h 747096"/>
                <a:gd name="connsiteX28" fmla="*/ 373632 w 5306200"/>
                <a:gd name="connsiteY28" fmla="*/ 496141 h 747096"/>
                <a:gd name="connsiteX29" fmla="*/ 192723 w 5306200"/>
                <a:gd name="connsiteY29" fmla="*/ 467187 h 747096"/>
                <a:gd name="connsiteX30" fmla="*/ 0 w 5306200"/>
                <a:gd name="connsiteY30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1135969 w 5306200"/>
                <a:gd name="connsiteY9" fmla="*/ 61933 h 747096"/>
                <a:gd name="connsiteX10" fmla="*/ 1324233 w 5306200"/>
                <a:gd name="connsiteY10" fmla="*/ 45659 h 747096"/>
                <a:gd name="connsiteX11" fmla="*/ 1635920 w 5306200"/>
                <a:gd name="connsiteY11" fmla="*/ 25360 h 747096"/>
                <a:gd name="connsiteX12" fmla="*/ 2034203 w 5306200"/>
                <a:gd name="connsiteY12" fmla="*/ 12788 h 747096"/>
                <a:gd name="connsiteX13" fmla="*/ 2446060 w 5306200"/>
                <a:gd name="connsiteY13" fmla="*/ 2499 h 747096"/>
                <a:gd name="connsiteX14" fmla="*/ 3016583 w 5306200"/>
                <a:gd name="connsiteY14" fmla="*/ 6401 h 747096"/>
                <a:gd name="connsiteX15" fmla="*/ 3707346 w 5306200"/>
                <a:gd name="connsiteY15" fmla="*/ 3917 h 747096"/>
                <a:gd name="connsiteX16" fmla="*/ 5306200 w 5306200"/>
                <a:gd name="connsiteY16" fmla="*/ 0 h 747096"/>
                <a:gd name="connsiteX17" fmla="*/ 5306200 w 5306200"/>
                <a:gd name="connsiteY17" fmla="*/ 744212 h 747096"/>
                <a:gd name="connsiteX18" fmla="*/ 3177408 w 5306200"/>
                <a:gd name="connsiteY18" fmla="*/ 747096 h 747096"/>
                <a:gd name="connsiteX19" fmla="*/ 2952413 w 5306200"/>
                <a:gd name="connsiteY19" fmla="*/ 747096 h 747096"/>
                <a:gd name="connsiteX20" fmla="*/ 2877415 w 5306200"/>
                <a:gd name="connsiteY20" fmla="*/ 747096 h 747096"/>
                <a:gd name="connsiteX21" fmla="*/ 2456272 w 5306200"/>
                <a:gd name="connsiteY21" fmla="*/ 735558 h 747096"/>
                <a:gd name="connsiteX22" fmla="*/ 2178787 w 5306200"/>
                <a:gd name="connsiteY22" fmla="*/ 720010 h 747096"/>
                <a:gd name="connsiteX23" fmla="*/ 1882248 w 5306200"/>
                <a:gd name="connsiteY23" fmla="*/ 698552 h 747096"/>
                <a:gd name="connsiteX24" fmla="*/ 1513026 w 5306200"/>
                <a:gd name="connsiteY24" fmla="*/ 652832 h 747096"/>
                <a:gd name="connsiteX25" fmla="*/ 1319762 w 5306200"/>
                <a:gd name="connsiteY25" fmla="*/ 631714 h 747096"/>
                <a:gd name="connsiteX26" fmla="*/ 1063038 w 5306200"/>
                <a:gd name="connsiteY26" fmla="*/ 602869 h 747096"/>
                <a:gd name="connsiteX27" fmla="*/ 538051 w 5306200"/>
                <a:gd name="connsiteY27" fmla="*/ 522102 h 747096"/>
                <a:gd name="connsiteX28" fmla="*/ 373632 w 5306200"/>
                <a:gd name="connsiteY28" fmla="*/ 496141 h 747096"/>
                <a:gd name="connsiteX29" fmla="*/ 192723 w 5306200"/>
                <a:gd name="connsiteY29" fmla="*/ 467187 h 747096"/>
                <a:gd name="connsiteX30" fmla="*/ 0 w 5306200"/>
                <a:gd name="connsiteY30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1135969 w 5306200"/>
                <a:gd name="connsiteY9" fmla="*/ 61933 h 747096"/>
                <a:gd name="connsiteX10" fmla="*/ 1324233 w 5306200"/>
                <a:gd name="connsiteY10" fmla="*/ 45659 h 747096"/>
                <a:gd name="connsiteX11" fmla="*/ 1635920 w 5306200"/>
                <a:gd name="connsiteY11" fmla="*/ 25360 h 747096"/>
                <a:gd name="connsiteX12" fmla="*/ 2034203 w 5306200"/>
                <a:gd name="connsiteY12" fmla="*/ 12788 h 747096"/>
                <a:gd name="connsiteX13" fmla="*/ 2446060 w 5306200"/>
                <a:gd name="connsiteY13" fmla="*/ 2499 h 747096"/>
                <a:gd name="connsiteX14" fmla="*/ 3016583 w 5306200"/>
                <a:gd name="connsiteY14" fmla="*/ 6401 h 747096"/>
                <a:gd name="connsiteX15" fmla="*/ 3707346 w 5306200"/>
                <a:gd name="connsiteY15" fmla="*/ 3917 h 747096"/>
                <a:gd name="connsiteX16" fmla="*/ 5306200 w 5306200"/>
                <a:gd name="connsiteY16" fmla="*/ 0 h 747096"/>
                <a:gd name="connsiteX17" fmla="*/ 5306200 w 5306200"/>
                <a:gd name="connsiteY17" fmla="*/ 744212 h 747096"/>
                <a:gd name="connsiteX18" fmla="*/ 3177408 w 5306200"/>
                <a:gd name="connsiteY18" fmla="*/ 747096 h 747096"/>
                <a:gd name="connsiteX19" fmla="*/ 2952413 w 5306200"/>
                <a:gd name="connsiteY19" fmla="*/ 747096 h 747096"/>
                <a:gd name="connsiteX20" fmla="*/ 2877415 w 5306200"/>
                <a:gd name="connsiteY20" fmla="*/ 747096 h 747096"/>
                <a:gd name="connsiteX21" fmla="*/ 2456272 w 5306200"/>
                <a:gd name="connsiteY21" fmla="*/ 735558 h 747096"/>
                <a:gd name="connsiteX22" fmla="*/ 2178787 w 5306200"/>
                <a:gd name="connsiteY22" fmla="*/ 720010 h 747096"/>
                <a:gd name="connsiteX23" fmla="*/ 1882248 w 5306200"/>
                <a:gd name="connsiteY23" fmla="*/ 698552 h 747096"/>
                <a:gd name="connsiteX24" fmla="*/ 1513026 w 5306200"/>
                <a:gd name="connsiteY24" fmla="*/ 652832 h 747096"/>
                <a:gd name="connsiteX25" fmla="*/ 1319762 w 5306200"/>
                <a:gd name="connsiteY25" fmla="*/ 631714 h 747096"/>
                <a:gd name="connsiteX26" fmla="*/ 1063038 w 5306200"/>
                <a:gd name="connsiteY26" fmla="*/ 602869 h 747096"/>
                <a:gd name="connsiteX27" fmla="*/ 538051 w 5306200"/>
                <a:gd name="connsiteY27" fmla="*/ 522102 h 747096"/>
                <a:gd name="connsiteX28" fmla="*/ 373632 w 5306200"/>
                <a:gd name="connsiteY28" fmla="*/ 496141 h 747096"/>
                <a:gd name="connsiteX29" fmla="*/ 192723 w 5306200"/>
                <a:gd name="connsiteY29" fmla="*/ 467187 h 747096"/>
                <a:gd name="connsiteX30" fmla="*/ 0 w 5306200"/>
                <a:gd name="connsiteY30" fmla="*/ 436383 h 747096"/>
                <a:gd name="connsiteX0" fmla="*/ 0 w 5306200"/>
                <a:gd name="connsiteY0" fmla="*/ 436383 h 747096"/>
                <a:gd name="connsiteX1" fmla="*/ 99601 w 5306200"/>
                <a:gd name="connsiteY1" fmla="*/ 386528 h 747096"/>
                <a:gd name="connsiteX2" fmla="*/ 134215 w 5306200"/>
                <a:gd name="connsiteY2" fmla="*/ 369221 h 747096"/>
                <a:gd name="connsiteX3" fmla="*/ 171714 w 5306200"/>
                <a:gd name="connsiteY3" fmla="*/ 349029 h 747096"/>
                <a:gd name="connsiteX4" fmla="*/ 206329 w 5306200"/>
                <a:gd name="connsiteY4" fmla="*/ 331722 h 747096"/>
                <a:gd name="connsiteX5" fmla="*/ 235174 w 5306200"/>
                <a:gd name="connsiteY5" fmla="*/ 317299 h 747096"/>
                <a:gd name="connsiteX6" fmla="*/ 444820 w 5306200"/>
                <a:gd name="connsiteY6" fmla="*/ 223251 h 747096"/>
                <a:gd name="connsiteX7" fmla="*/ 640970 w 5306200"/>
                <a:gd name="connsiteY7" fmla="*/ 158866 h 747096"/>
                <a:gd name="connsiteX8" fmla="*/ 857310 w 5306200"/>
                <a:gd name="connsiteY8" fmla="*/ 107978 h 747096"/>
                <a:gd name="connsiteX9" fmla="*/ 1135969 w 5306200"/>
                <a:gd name="connsiteY9" fmla="*/ 61933 h 747096"/>
                <a:gd name="connsiteX10" fmla="*/ 1324233 w 5306200"/>
                <a:gd name="connsiteY10" fmla="*/ 45659 h 747096"/>
                <a:gd name="connsiteX11" fmla="*/ 1635920 w 5306200"/>
                <a:gd name="connsiteY11" fmla="*/ 25360 h 747096"/>
                <a:gd name="connsiteX12" fmla="*/ 2034203 w 5306200"/>
                <a:gd name="connsiteY12" fmla="*/ 12788 h 747096"/>
                <a:gd name="connsiteX13" fmla="*/ 2446060 w 5306200"/>
                <a:gd name="connsiteY13" fmla="*/ 2499 h 747096"/>
                <a:gd name="connsiteX14" fmla="*/ 3016583 w 5306200"/>
                <a:gd name="connsiteY14" fmla="*/ 6401 h 747096"/>
                <a:gd name="connsiteX15" fmla="*/ 3707346 w 5306200"/>
                <a:gd name="connsiteY15" fmla="*/ 3917 h 747096"/>
                <a:gd name="connsiteX16" fmla="*/ 5306200 w 5306200"/>
                <a:gd name="connsiteY16" fmla="*/ 0 h 747096"/>
                <a:gd name="connsiteX17" fmla="*/ 5306200 w 5306200"/>
                <a:gd name="connsiteY17" fmla="*/ 744212 h 747096"/>
                <a:gd name="connsiteX18" fmla="*/ 3177408 w 5306200"/>
                <a:gd name="connsiteY18" fmla="*/ 747096 h 747096"/>
                <a:gd name="connsiteX19" fmla="*/ 2952413 w 5306200"/>
                <a:gd name="connsiteY19" fmla="*/ 747096 h 747096"/>
                <a:gd name="connsiteX20" fmla="*/ 2877415 w 5306200"/>
                <a:gd name="connsiteY20" fmla="*/ 747096 h 747096"/>
                <a:gd name="connsiteX21" fmla="*/ 2456272 w 5306200"/>
                <a:gd name="connsiteY21" fmla="*/ 735558 h 747096"/>
                <a:gd name="connsiteX22" fmla="*/ 2178787 w 5306200"/>
                <a:gd name="connsiteY22" fmla="*/ 720010 h 747096"/>
                <a:gd name="connsiteX23" fmla="*/ 1882248 w 5306200"/>
                <a:gd name="connsiteY23" fmla="*/ 698552 h 747096"/>
                <a:gd name="connsiteX24" fmla="*/ 1513026 w 5306200"/>
                <a:gd name="connsiteY24" fmla="*/ 652832 h 747096"/>
                <a:gd name="connsiteX25" fmla="*/ 1319762 w 5306200"/>
                <a:gd name="connsiteY25" fmla="*/ 631714 h 747096"/>
                <a:gd name="connsiteX26" fmla="*/ 1063038 w 5306200"/>
                <a:gd name="connsiteY26" fmla="*/ 602869 h 747096"/>
                <a:gd name="connsiteX27" fmla="*/ 538051 w 5306200"/>
                <a:gd name="connsiteY27" fmla="*/ 522102 h 747096"/>
                <a:gd name="connsiteX28" fmla="*/ 373632 w 5306200"/>
                <a:gd name="connsiteY28" fmla="*/ 496141 h 747096"/>
                <a:gd name="connsiteX29" fmla="*/ 192723 w 5306200"/>
                <a:gd name="connsiteY29" fmla="*/ 467187 h 747096"/>
                <a:gd name="connsiteX30" fmla="*/ 0 w 5306200"/>
                <a:gd name="connsiteY30" fmla="*/ 436383 h 747096"/>
                <a:gd name="connsiteX0" fmla="*/ 0 w 6598025"/>
                <a:gd name="connsiteY0" fmla="*/ 165450 h 747096"/>
                <a:gd name="connsiteX1" fmla="*/ 1391426 w 6598025"/>
                <a:gd name="connsiteY1" fmla="*/ 386528 h 747096"/>
                <a:gd name="connsiteX2" fmla="*/ 1426040 w 6598025"/>
                <a:gd name="connsiteY2" fmla="*/ 369221 h 747096"/>
                <a:gd name="connsiteX3" fmla="*/ 1463539 w 6598025"/>
                <a:gd name="connsiteY3" fmla="*/ 349029 h 747096"/>
                <a:gd name="connsiteX4" fmla="*/ 1498154 w 6598025"/>
                <a:gd name="connsiteY4" fmla="*/ 331722 h 747096"/>
                <a:gd name="connsiteX5" fmla="*/ 1526999 w 6598025"/>
                <a:gd name="connsiteY5" fmla="*/ 317299 h 747096"/>
                <a:gd name="connsiteX6" fmla="*/ 1736645 w 6598025"/>
                <a:gd name="connsiteY6" fmla="*/ 223251 h 747096"/>
                <a:gd name="connsiteX7" fmla="*/ 1932795 w 6598025"/>
                <a:gd name="connsiteY7" fmla="*/ 158866 h 747096"/>
                <a:gd name="connsiteX8" fmla="*/ 2149135 w 6598025"/>
                <a:gd name="connsiteY8" fmla="*/ 107978 h 747096"/>
                <a:gd name="connsiteX9" fmla="*/ 2427794 w 6598025"/>
                <a:gd name="connsiteY9" fmla="*/ 61933 h 747096"/>
                <a:gd name="connsiteX10" fmla="*/ 2616058 w 6598025"/>
                <a:gd name="connsiteY10" fmla="*/ 45659 h 747096"/>
                <a:gd name="connsiteX11" fmla="*/ 2927745 w 6598025"/>
                <a:gd name="connsiteY11" fmla="*/ 25360 h 747096"/>
                <a:gd name="connsiteX12" fmla="*/ 3326028 w 6598025"/>
                <a:gd name="connsiteY12" fmla="*/ 12788 h 747096"/>
                <a:gd name="connsiteX13" fmla="*/ 3737885 w 6598025"/>
                <a:gd name="connsiteY13" fmla="*/ 2499 h 747096"/>
                <a:gd name="connsiteX14" fmla="*/ 4308408 w 6598025"/>
                <a:gd name="connsiteY14" fmla="*/ 6401 h 747096"/>
                <a:gd name="connsiteX15" fmla="*/ 4999171 w 6598025"/>
                <a:gd name="connsiteY15" fmla="*/ 3917 h 747096"/>
                <a:gd name="connsiteX16" fmla="*/ 6598025 w 6598025"/>
                <a:gd name="connsiteY16" fmla="*/ 0 h 747096"/>
                <a:gd name="connsiteX17" fmla="*/ 6598025 w 6598025"/>
                <a:gd name="connsiteY17" fmla="*/ 744212 h 747096"/>
                <a:gd name="connsiteX18" fmla="*/ 4469233 w 6598025"/>
                <a:gd name="connsiteY18" fmla="*/ 747096 h 747096"/>
                <a:gd name="connsiteX19" fmla="*/ 4244238 w 6598025"/>
                <a:gd name="connsiteY19" fmla="*/ 747096 h 747096"/>
                <a:gd name="connsiteX20" fmla="*/ 4169240 w 6598025"/>
                <a:gd name="connsiteY20" fmla="*/ 747096 h 747096"/>
                <a:gd name="connsiteX21" fmla="*/ 3748097 w 6598025"/>
                <a:gd name="connsiteY21" fmla="*/ 735558 h 747096"/>
                <a:gd name="connsiteX22" fmla="*/ 3470612 w 6598025"/>
                <a:gd name="connsiteY22" fmla="*/ 720010 h 747096"/>
                <a:gd name="connsiteX23" fmla="*/ 3174073 w 6598025"/>
                <a:gd name="connsiteY23" fmla="*/ 698552 h 747096"/>
                <a:gd name="connsiteX24" fmla="*/ 2804851 w 6598025"/>
                <a:gd name="connsiteY24" fmla="*/ 652832 h 747096"/>
                <a:gd name="connsiteX25" fmla="*/ 2611587 w 6598025"/>
                <a:gd name="connsiteY25" fmla="*/ 631714 h 747096"/>
                <a:gd name="connsiteX26" fmla="*/ 2354863 w 6598025"/>
                <a:gd name="connsiteY26" fmla="*/ 602869 h 747096"/>
                <a:gd name="connsiteX27" fmla="*/ 1829876 w 6598025"/>
                <a:gd name="connsiteY27" fmla="*/ 522102 h 747096"/>
                <a:gd name="connsiteX28" fmla="*/ 1665457 w 6598025"/>
                <a:gd name="connsiteY28" fmla="*/ 496141 h 747096"/>
                <a:gd name="connsiteX29" fmla="*/ 1484548 w 6598025"/>
                <a:gd name="connsiteY29" fmla="*/ 467187 h 747096"/>
                <a:gd name="connsiteX30" fmla="*/ 0 w 6598025"/>
                <a:gd name="connsiteY30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1426040 w 6598025"/>
                <a:gd name="connsiteY2" fmla="*/ 369221 h 747096"/>
                <a:gd name="connsiteX3" fmla="*/ 1463539 w 6598025"/>
                <a:gd name="connsiteY3" fmla="*/ 349029 h 747096"/>
                <a:gd name="connsiteX4" fmla="*/ 1498154 w 6598025"/>
                <a:gd name="connsiteY4" fmla="*/ 331722 h 747096"/>
                <a:gd name="connsiteX5" fmla="*/ 1526999 w 6598025"/>
                <a:gd name="connsiteY5" fmla="*/ 317299 h 747096"/>
                <a:gd name="connsiteX6" fmla="*/ 1736645 w 6598025"/>
                <a:gd name="connsiteY6" fmla="*/ 223251 h 747096"/>
                <a:gd name="connsiteX7" fmla="*/ 1932795 w 6598025"/>
                <a:gd name="connsiteY7" fmla="*/ 158866 h 747096"/>
                <a:gd name="connsiteX8" fmla="*/ 2149135 w 6598025"/>
                <a:gd name="connsiteY8" fmla="*/ 107978 h 747096"/>
                <a:gd name="connsiteX9" fmla="*/ 2427794 w 6598025"/>
                <a:gd name="connsiteY9" fmla="*/ 61933 h 747096"/>
                <a:gd name="connsiteX10" fmla="*/ 2616058 w 6598025"/>
                <a:gd name="connsiteY10" fmla="*/ 45659 h 747096"/>
                <a:gd name="connsiteX11" fmla="*/ 2927745 w 6598025"/>
                <a:gd name="connsiteY11" fmla="*/ 25360 h 747096"/>
                <a:gd name="connsiteX12" fmla="*/ 3326028 w 6598025"/>
                <a:gd name="connsiteY12" fmla="*/ 12788 h 747096"/>
                <a:gd name="connsiteX13" fmla="*/ 3737885 w 6598025"/>
                <a:gd name="connsiteY13" fmla="*/ 2499 h 747096"/>
                <a:gd name="connsiteX14" fmla="*/ 4308408 w 6598025"/>
                <a:gd name="connsiteY14" fmla="*/ 6401 h 747096"/>
                <a:gd name="connsiteX15" fmla="*/ 4999171 w 6598025"/>
                <a:gd name="connsiteY15" fmla="*/ 3917 h 747096"/>
                <a:gd name="connsiteX16" fmla="*/ 6598025 w 6598025"/>
                <a:gd name="connsiteY16" fmla="*/ 0 h 747096"/>
                <a:gd name="connsiteX17" fmla="*/ 6598025 w 6598025"/>
                <a:gd name="connsiteY17" fmla="*/ 744212 h 747096"/>
                <a:gd name="connsiteX18" fmla="*/ 4469233 w 6598025"/>
                <a:gd name="connsiteY18" fmla="*/ 747096 h 747096"/>
                <a:gd name="connsiteX19" fmla="*/ 4244238 w 6598025"/>
                <a:gd name="connsiteY19" fmla="*/ 747096 h 747096"/>
                <a:gd name="connsiteX20" fmla="*/ 4169240 w 6598025"/>
                <a:gd name="connsiteY20" fmla="*/ 747096 h 747096"/>
                <a:gd name="connsiteX21" fmla="*/ 3748097 w 6598025"/>
                <a:gd name="connsiteY21" fmla="*/ 735558 h 747096"/>
                <a:gd name="connsiteX22" fmla="*/ 3470612 w 6598025"/>
                <a:gd name="connsiteY22" fmla="*/ 720010 h 747096"/>
                <a:gd name="connsiteX23" fmla="*/ 3174073 w 6598025"/>
                <a:gd name="connsiteY23" fmla="*/ 698552 h 747096"/>
                <a:gd name="connsiteX24" fmla="*/ 2804851 w 6598025"/>
                <a:gd name="connsiteY24" fmla="*/ 652832 h 747096"/>
                <a:gd name="connsiteX25" fmla="*/ 2611587 w 6598025"/>
                <a:gd name="connsiteY25" fmla="*/ 631714 h 747096"/>
                <a:gd name="connsiteX26" fmla="*/ 2354863 w 6598025"/>
                <a:gd name="connsiteY26" fmla="*/ 602869 h 747096"/>
                <a:gd name="connsiteX27" fmla="*/ 1829876 w 6598025"/>
                <a:gd name="connsiteY27" fmla="*/ 522102 h 747096"/>
                <a:gd name="connsiteX28" fmla="*/ 1665457 w 6598025"/>
                <a:gd name="connsiteY28" fmla="*/ 496141 h 747096"/>
                <a:gd name="connsiteX29" fmla="*/ 1484548 w 6598025"/>
                <a:gd name="connsiteY29" fmla="*/ 467187 h 747096"/>
                <a:gd name="connsiteX30" fmla="*/ 0 w 6598025"/>
                <a:gd name="connsiteY30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463539 w 6598025"/>
                <a:gd name="connsiteY3" fmla="*/ 349029 h 747096"/>
                <a:gd name="connsiteX4" fmla="*/ 1498154 w 6598025"/>
                <a:gd name="connsiteY4" fmla="*/ 331722 h 747096"/>
                <a:gd name="connsiteX5" fmla="*/ 1526999 w 6598025"/>
                <a:gd name="connsiteY5" fmla="*/ 317299 h 747096"/>
                <a:gd name="connsiteX6" fmla="*/ 1736645 w 6598025"/>
                <a:gd name="connsiteY6" fmla="*/ 223251 h 747096"/>
                <a:gd name="connsiteX7" fmla="*/ 1932795 w 6598025"/>
                <a:gd name="connsiteY7" fmla="*/ 158866 h 747096"/>
                <a:gd name="connsiteX8" fmla="*/ 2149135 w 6598025"/>
                <a:gd name="connsiteY8" fmla="*/ 107978 h 747096"/>
                <a:gd name="connsiteX9" fmla="*/ 2427794 w 6598025"/>
                <a:gd name="connsiteY9" fmla="*/ 61933 h 747096"/>
                <a:gd name="connsiteX10" fmla="*/ 2616058 w 6598025"/>
                <a:gd name="connsiteY10" fmla="*/ 45659 h 747096"/>
                <a:gd name="connsiteX11" fmla="*/ 2927745 w 6598025"/>
                <a:gd name="connsiteY11" fmla="*/ 25360 h 747096"/>
                <a:gd name="connsiteX12" fmla="*/ 3326028 w 6598025"/>
                <a:gd name="connsiteY12" fmla="*/ 12788 h 747096"/>
                <a:gd name="connsiteX13" fmla="*/ 3737885 w 6598025"/>
                <a:gd name="connsiteY13" fmla="*/ 2499 h 747096"/>
                <a:gd name="connsiteX14" fmla="*/ 4308408 w 6598025"/>
                <a:gd name="connsiteY14" fmla="*/ 6401 h 747096"/>
                <a:gd name="connsiteX15" fmla="*/ 4999171 w 6598025"/>
                <a:gd name="connsiteY15" fmla="*/ 3917 h 747096"/>
                <a:gd name="connsiteX16" fmla="*/ 6598025 w 6598025"/>
                <a:gd name="connsiteY16" fmla="*/ 0 h 747096"/>
                <a:gd name="connsiteX17" fmla="*/ 6598025 w 6598025"/>
                <a:gd name="connsiteY17" fmla="*/ 744212 h 747096"/>
                <a:gd name="connsiteX18" fmla="*/ 4469233 w 6598025"/>
                <a:gd name="connsiteY18" fmla="*/ 747096 h 747096"/>
                <a:gd name="connsiteX19" fmla="*/ 4244238 w 6598025"/>
                <a:gd name="connsiteY19" fmla="*/ 747096 h 747096"/>
                <a:gd name="connsiteX20" fmla="*/ 4169240 w 6598025"/>
                <a:gd name="connsiteY20" fmla="*/ 747096 h 747096"/>
                <a:gd name="connsiteX21" fmla="*/ 3748097 w 6598025"/>
                <a:gd name="connsiteY21" fmla="*/ 735558 h 747096"/>
                <a:gd name="connsiteX22" fmla="*/ 3470612 w 6598025"/>
                <a:gd name="connsiteY22" fmla="*/ 720010 h 747096"/>
                <a:gd name="connsiteX23" fmla="*/ 3174073 w 6598025"/>
                <a:gd name="connsiteY23" fmla="*/ 698552 h 747096"/>
                <a:gd name="connsiteX24" fmla="*/ 2804851 w 6598025"/>
                <a:gd name="connsiteY24" fmla="*/ 652832 h 747096"/>
                <a:gd name="connsiteX25" fmla="*/ 2611587 w 6598025"/>
                <a:gd name="connsiteY25" fmla="*/ 631714 h 747096"/>
                <a:gd name="connsiteX26" fmla="*/ 2354863 w 6598025"/>
                <a:gd name="connsiteY26" fmla="*/ 602869 h 747096"/>
                <a:gd name="connsiteX27" fmla="*/ 1829876 w 6598025"/>
                <a:gd name="connsiteY27" fmla="*/ 522102 h 747096"/>
                <a:gd name="connsiteX28" fmla="*/ 1665457 w 6598025"/>
                <a:gd name="connsiteY28" fmla="*/ 496141 h 747096"/>
                <a:gd name="connsiteX29" fmla="*/ 1484548 w 6598025"/>
                <a:gd name="connsiteY29" fmla="*/ 467187 h 747096"/>
                <a:gd name="connsiteX30" fmla="*/ 0 w 6598025"/>
                <a:gd name="connsiteY30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498154 w 6598025"/>
                <a:gd name="connsiteY4" fmla="*/ 331722 h 747096"/>
                <a:gd name="connsiteX5" fmla="*/ 1526999 w 6598025"/>
                <a:gd name="connsiteY5" fmla="*/ 317299 h 747096"/>
                <a:gd name="connsiteX6" fmla="*/ 1736645 w 6598025"/>
                <a:gd name="connsiteY6" fmla="*/ 223251 h 747096"/>
                <a:gd name="connsiteX7" fmla="*/ 1932795 w 6598025"/>
                <a:gd name="connsiteY7" fmla="*/ 158866 h 747096"/>
                <a:gd name="connsiteX8" fmla="*/ 2149135 w 6598025"/>
                <a:gd name="connsiteY8" fmla="*/ 107978 h 747096"/>
                <a:gd name="connsiteX9" fmla="*/ 2427794 w 6598025"/>
                <a:gd name="connsiteY9" fmla="*/ 61933 h 747096"/>
                <a:gd name="connsiteX10" fmla="*/ 2616058 w 6598025"/>
                <a:gd name="connsiteY10" fmla="*/ 45659 h 747096"/>
                <a:gd name="connsiteX11" fmla="*/ 2927745 w 6598025"/>
                <a:gd name="connsiteY11" fmla="*/ 25360 h 747096"/>
                <a:gd name="connsiteX12" fmla="*/ 3326028 w 6598025"/>
                <a:gd name="connsiteY12" fmla="*/ 12788 h 747096"/>
                <a:gd name="connsiteX13" fmla="*/ 3737885 w 6598025"/>
                <a:gd name="connsiteY13" fmla="*/ 2499 h 747096"/>
                <a:gd name="connsiteX14" fmla="*/ 4308408 w 6598025"/>
                <a:gd name="connsiteY14" fmla="*/ 6401 h 747096"/>
                <a:gd name="connsiteX15" fmla="*/ 4999171 w 6598025"/>
                <a:gd name="connsiteY15" fmla="*/ 3917 h 747096"/>
                <a:gd name="connsiteX16" fmla="*/ 6598025 w 6598025"/>
                <a:gd name="connsiteY16" fmla="*/ 0 h 747096"/>
                <a:gd name="connsiteX17" fmla="*/ 6598025 w 6598025"/>
                <a:gd name="connsiteY17" fmla="*/ 744212 h 747096"/>
                <a:gd name="connsiteX18" fmla="*/ 4469233 w 6598025"/>
                <a:gd name="connsiteY18" fmla="*/ 747096 h 747096"/>
                <a:gd name="connsiteX19" fmla="*/ 4244238 w 6598025"/>
                <a:gd name="connsiteY19" fmla="*/ 747096 h 747096"/>
                <a:gd name="connsiteX20" fmla="*/ 4169240 w 6598025"/>
                <a:gd name="connsiteY20" fmla="*/ 747096 h 747096"/>
                <a:gd name="connsiteX21" fmla="*/ 3748097 w 6598025"/>
                <a:gd name="connsiteY21" fmla="*/ 735558 h 747096"/>
                <a:gd name="connsiteX22" fmla="*/ 3470612 w 6598025"/>
                <a:gd name="connsiteY22" fmla="*/ 720010 h 747096"/>
                <a:gd name="connsiteX23" fmla="*/ 3174073 w 6598025"/>
                <a:gd name="connsiteY23" fmla="*/ 698552 h 747096"/>
                <a:gd name="connsiteX24" fmla="*/ 2804851 w 6598025"/>
                <a:gd name="connsiteY24" fmla="*/ 652832 h 747096"/>
                <a:gd name="connsiteX25" fmla="*/ 2611587 w 6598025"/>
                <a:gd name="connsiteY25" fmla="*/ 631714 h 747096"/>
                <a:gd name="connsiteX26" fmla="*/ 2354863 w 6598025"/>
                <a:gd name="connsiteY26" fmla="*/ 602869 h 747096"/>
                <a:gd name="connsiteX27" fmla="*/ 1829876 w 6598025"/>
                <a:gd name="connsiteY27" fmla="*/ 522102 h 747096"/>
                <a:gd name="connsiteX28" fmla="*/ 1665457 w 6598025"/>
                <a:gd name="connsiteY28" fmla="*/ 496141 h 747096"/>
                <a:gd name="connsiteX29" fmla="*/ 1484548 w 6598025"/>
                <a:gd name="connsiteY29" fmla="*/ 467187 h 747096"/>
                <a:gd name="connsiteX30" fmla="*/ 0 w 6598025"/>
                <a:gd name="connsiteY30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526999 w 6598025"/>
                <a:gd name="connsiteY5" fmla="*/ 317299 h 747096"/>
                <a:gd name="connsiteX6" fmla="*/ 1736645 w 6598025"/>
                <a:gd name="connsiteY6" fmla="*/ 223251 h 747096"/>
                <a:gd name="connsiteX7" fmla="*/ 1932795 w 6598025"/>
                <a:gd name="connsiteY7" fmla="*/ 158866 h 747096"/>
                <a:gd name="connsiteX8" fmla="*/ 2149135 w 6598025"/>
                <a:gd name="connsiteY8" fmla="*/ 107978 h 747096"/>
                <a:gd name="connsiteX9" fmla="*/ 2427794 w 6598025"/>
                <a:gd name="connsiteY9" fmla="*/ 61933 h 747096"/>
                <a:gd name="connsiteX10" fmla="*/ 2616058 w 6598025"/>
                <a:gd name="connsiteY10" fmla="*/ 45659 h 747096"/>
                <a:gd name="connsiteX11" fmla="*/ 2927745 w 6598025"/>
                <a:gd name="connsiteY11" fmla="*/ 25360 h 747096"/>
                <a:gd name="connsiteX12" fmla="*/ 3326028 w 6598025"/>
                <a:gd name="connsiteY12" fmla="*/ 12788 h 747096"/>
                <a:gd name="connsiteX13" fmla="*/ 3737885 w 6598025"/>
                <a:gd name="connsiteY13" fmla="*/ 2499 h 747096"/>
                <a:gd name="connsiteX14" fmla="*/ 4308408 w 6598025"/>
                <a:gd name="connsiteY14" fmla="*/ 6401 h 747096"/>
                <a:gd name="connsiteX15" fmla="*/ 4999171 w 6598025"/>
                <a:gd name="connsiteY15" fmla="*/ 3917 h 747096"/>
                <a:gd name="connsiteX16" fmla="*/ 6598025 w 6598025"/>
                <a:gd name="connsiteY16" fmla="*/ 0 h 747096"/>
                <a:gd name="connsiteX17" fmla="*/ 6598025 w 6598025"/>
                <a:gd name="connsiteY17" fmla="*/ 744212 h 747096"/>
                <a:gd name="connsiteX18" fmla="*/ 4469233 w 6598025"/>
                <a:gd name="connsiteY18" fmla="*/ 747096 h 747096"/>
                <a:gd name="connsiteX19" fmla="*/ 4244238 w 6598025"/>
                <a:gd name="connsiteY19" fmla="*/ 747096 h 747096"/>
                <a:gd name="connsiteX20" fmla="*/ 4169240 w 6598025"/>
                <a:gd name="connsiteY20" fmla="*/ 747096 h 747096"/>
                <a:gd name="connsiteX21" fmla="*/ 3748097 w 6598025"/>
                <a:gd name="connsiteY21" fmla="*/ 735558 h 747096"/>
                <a:gd name="connsiteX22" fmla="*/ 3470612 w 6598025"/>
                <a:gd name="connsiteY22" fmla="*/ 720010 h 747096"/>
                <a:gd name="connsiteX23" fmla="*/ 3174073 w 6598025"/>
                <a:gd name="connsiteY23" fmla="*/ 698552 h 747096"/>
                <a:gd name="connsiteX24" fmla="*/ 2804851 w 6598025"/>
                <a:gd name="connsiteY24" fmla="*/ 652832 h 747096"/>
                <a:gd name="connsiteX25" fmla="*/ 2611587 w 6598025"/>
                <a:gd name="connsiteY25" fmla="*/ 631714 h 747096"/>
                <a:gd name="connsiteX26" fmla="*/ 2354863 w 6598025"/>
                <a:gd name="connsiteY26" fmla="*/ 602869 h 747096"/>
                <a:gd name="connsiteX27" fmla="*/ 1829876 w 6598025"/>
                <a:gd name="connsiteY27" fmla="*/ 522102 h 747096"/>
                <a:gd name="connsiteX28" fmla="*/ 1665457 w 6598025"/>
                <a:gd name="connsiteY28" fmla="*/ 496141 h 747096"/>
                <a:gd name="connsiteX29" fmla="*/ 1484548 w 6598025"/>
                <a:gd name="connsiteY29" fmla="*/ 467187 h 747096"/>
                <a:gd name="connsiteX30" fmla="*/ 0 w 6598025"/>
                <a:gd name="connsiteY30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666516 w 6598025"/>
                <a:gd name="connsiteY5" fmla="*/ 123446 h 747096"/>
                <a:gd name="connsiteX6" fmla="*/ 1736645 w 6598025"/>
                <a:gd name="connsiteY6" fmla="*/ 223251 h 747096"/>
                <a:gd name="connsiteX7" fmla="*/ 1932795 w 6598025"/>
                <a:gd name="connsiteY7" fmla="*/ 158866 h 747096"/>
                <a:gd name="connsiteX8" fmla="*/ 2149135 w 6598025"/>
                <a:gd name="connsiteY8" fmla="*/ 107978 h 747096"/>
                <a:gd name="connsiteX9" fmla="*/ 2427794 w 6598025"/>
                <a:gd name="connsiteY9" fmla="*/ 61933 h 747096"/>
                <a:gd name="connsiteX10" fmla="*/ 2616058 w 6598025"/>
                <a:gd name="connsiteY10" fmla="*/ 45659 h 747096"/>
                <a:gd name="connsiteX11" fmla="*/ 2927745 w 6598025"/>
                <a:gd name="connsiteY11" fmla="*/ 25360 h 747096"/>
                <a:gd name="connsiteX12" fmla="*/ 3326028 w 6598025"/>
                <a:gd name="connsiteY12" fmla="*/ 12788 h 747096"/>
                <a:gd name="connsiteX13" fmla="*/ 3737885 w 6598025"/>
                <a:gd name="connsiteY13" fmla="*/ 2499 h 747096"/>
                <a:gd name="connsiteX14" fmla="*/ 4308408 w 6598025"/>
                <a:gd name="connsiteY14" fmla="*/ 6401 h 747096"/>
                <a:gd name="connsiteX15" fmla="*/ 4999171 w 6598025"/>
                <a:gd name="connsiteY15" fmla="*/ 3917 h 747096"/>
                <a:gd name="connsiteX16" fmla="*/ 6598025 w 6598025"/>
                <a:gd name="connsiteY16" fmla="*/ 0 h 747096"/>
                <a:gd name="connsiteX17" fmla="*/ 6598025 w 6598025"/>
                <a:gd name="connsiteY17" fmla="*/ 744212 h 747096"/>
                <a:gd name="connsiteX18" fmla="*/ 4469233 w 6598025"/>
                <a:gd name="connsiteY18" fmla="*/ 747096 h 747096"/>
                <a:gd name="connsiteX19" fmla="*/ 4244238 w 6598025"/>
                <a:gd name="connsiteY19" fmla="*/ 747096 h 747096"/>
                <a:gd name="connsiteX20" fmla="*/ 4169240 w 6598025"/>
                <a:gd name="connsiteY20" fmla="*/ 747096 h 747096"/>
                <a:gd name="connsiteX21" fmla="*/ 3748097 w 6598025"/>
                <a:gd name="connsiteY21" fmla="*/ 735558 h 747096"/>
                <a:gd name="connsiteX22" fmla="*/ 3470612 w 6598025"/>
                <a:gd name="connsiteY22" fmla="*/ 720010 h 747096"/>
                <a:gd name="connsiteX23" fmla="*/ 3174073 w 6598025"/>
                <a:gd name="connsiteY23" fmla="*/ 698552 h 747096"/>
                <a:gd name="connsiteX24" fmla="*/ 2804851 w 6598025"/>
                <a:gd name="connsiteY24" fmla="*/ 652832 h 747096"/>
                <a:gd name="connsiteX25" fmla="*/ 2611587 w 6598025"/>
                <a:gd name="connsiteY25" fmla="*/ 631714 h 747096"/>
                <a:gd name="connsiteX26" fmla="*/ 2354863 w 6598025"/>
                <a:gd name="connsiteY26" fmla="*/ 602869 h 747096"/>
                <a:gd name="connsiteX27" fmla="*/ 1829876 w 6598025"/>
                <a:gd name="connsiteY27" fmla="*/ 522102 h 747096"/>
                <a:gd name="connsiteX28" fmla="*/ 1665457 w 6598025"/>
                <a:gd name="connsiteY28" fmla="*/ 496141 h 747096"/>
                <a:gd name="connsiteX29" fmla="*/ 1484548 w 6598025"/>
                <a:gd name="connsiteY29" fmla="*/ 467187 h 747096"/>
                <a:gd name="connsiteX30" fmla="*/ 0 w 6598025"/>
                <a:gd name="connsiteY30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666516 w 6598025"/>
                <a:gd name="connsiteY5" fmla="*/ 123446 h 747096"/>
                <a:gd name="connsiteX6" fmla="*/ 1777032 w 6598025"/>
                <a:gd name="connsiteY6" fmla="*/ 113523 h 747096"/>
                <a:gd name="connsiteX7" fmla="*/ 1932795 w 6598025"/>
                <a:gd name="connsiteY7" fmla="*/ 158866 h 747096"/>
                <a:gd name="connsiteX8" fmla="*/ 2149135 w 6598025"/>
                <a:gd name="connsiteY8" fmla="*/ 107978 h 747096"/>
                <a:gd name="connsiteX9" fmla="*/ 2427794 w 6598025"/>
                <a:gd name="connsiteY9" fmla="*/ 61933 h 747096"/>
                <a:gd name="connsiteX10" fmla="*/ 2616058 w 6598025"/>
                <a:gd name="connsiteY10" fmla="*/ 45659 h 747096"/>
                <a:gd name="connsiteX11" fmla="*/ 2927745 w 6598025"/>
                <a:gd name="connsiteY11" fmla="*/ 25360 h 747096"/>
                <a:gd name="connsiteX12" fmla="*/ 3326028 w 6598025"/>
                <a:gd name="connsiteY12" fmla="*/ 12788 h 747096"/>
                <a:gd name="connsiteX13" fmla="*/ 3737885 w 6598025"/>
                <a:gd name="connsiteY13" fmla="*/ 2499 h 747096"/>
                <a:gd name="connsiteX14" fmla="*/ 4308408 w 6598025"/>
                <a:gd name="connsiteY14" fmla="*/ 6401 h 747096"/>
                <a:gd name="connsiteX15" fmla="*/ 4999171 w 6598025"/>
                <a:gd name="connsiteY15" fmla="*/ 3917 h 747096"/>
                <a:gd name="connsiteX16" fmla="*/ 6598025 w 6598025"/>
                <a:gd name="connsiteY16" fmla="*/ 0 h 747096"/>
                <a:gd name="connsiteX17" fmla="*/ 6598025 w 6598025"/>
                <a:gd name="connsiteY17" fmla="*/ 744212 h 747096"/>
                <a:gd name="connsiteX18" fmla="*/ 4469233 w 6598025"/>
                <a:gd name="connsiteY18" fmla="*/ 747096 h 747096"/>
                <a:gd name="connsiteX19" fmla="*/ 4244238 w 6598025"/>
                <a:gd name="connsiteY19" fmla="*/ 747096 h 747096"/>
                <a:gd name="connsiteX20" fmla="*/ 4169240 w 6598025"/>
                <a:gd name="connsiteY20" fmla="*/ 747096 h 747096"/>
                <a:gd name="connsiteX21" fmla="*/ 3748097 w 6598025"/>
                <a:gd name="connsiteY21" fmla="*/ 735558 h 747096"/>
                <a:gd name="connsiteX22" fmla="*/ 3470612 w 6598025"/>
                <a:gd name="connsiteY22" fmla="*/ 720010 h 747096"/>
                <a:gd name="connsiteX23" fmla="*/ 3174073 w 6598025"/>
                <a:gd name="connsiteY23" fmla="*/ 698552 h 747096"/>
                <a:gd name="connsiteX24" fmla="*/ 2804851 w 6598025"/>
                <a:gd name="connsiteY24" fmla="*/ 652832 h 747096"/>
                <a:gd name="connsiteX25" fmla="*/ 2611587 w 6598025"/>
                <a:gd name="connsiteY25" fmla="*/ 631714 h 747096"/>
                <a:gd name="connsiteX26" fmla="*/ 2354863 w 6598025"/>
                <a:gd name="connsiteY26" fmla="*/ 602869 h 747096"/>
                <a:gd name="connsiteX27" fmla="*/ 1829876 w 6598025"/>
                <a:gd name="connsiteY27" fmla="*/ 522102 h 747096"/>
                <a:gd name="connsiteX28" fmla="*/ 1665457 w 6598025"/>
                <a:gd name="connsiteY28" fmla="*/ 496141 h 747096"/>
                <a:gd name="connsiteX29" fmla="*/ 1484548 w 6598025"/>
                <a:gd name="connsiteY29" fmla="*/ 467187 h 747096"/>
                <a:gd name="connsiteX30" fmla="*/ 0 w 6598025"/>
                <a:gd name="connsiteY30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666516 w 6598025"/>
                <a:gd name="connsiteY5" fmla="*/ 123446 h 747096"/>
                <a:gd name="connsiteX6" fmla="*/ 1777032 w 6598025"/>
                <a:gd name="connsiteY6" fmla="*/ 113523 h 747096"/>
                <a:gd name="connsiteX7" fmla="*/ 1932795 w 6598025"/>
                <a:gd name="connsiteY7" fmla="*/ 158866 h 747096"/>
                <a:gd name="connsiteX8" fmla="*/ 1928429 w 6598025"/>
                <a:gd name="connsiteY8" fmla="*/ 96984 h 747096"/>
                <a:gd name="connsiteX9" fmla="*/ 2149135 w 6598025"/>
                <a:gd name="connsiteY9" fmla="*/ 107978 h 747096"/>
                <a:gd name="connsiteX10" fmla="*/ 2427794 w 6598025"/>
                <a:gd name="connsiteY10" fmla="*/ 61933 h 747096"/>
                <a:gd name="connsiteX11" fmla="*/ 2616058 w 6598025"/>
                <a:gd name="connsiteY11" fmla="*/ 45659 h 747096"/>
                <a:gd name="connsiteX12" fmla="*/ 2927745 w 6598025"/>
                <a:gd name="connsiteY12" fmla="*/ 25360 h 747096"/>
                <a:gd name="connsiteX13" fmla="*/ 3326028 w 6598025"/>
                <a:gd name="connsiteY13" fmla="*/ 12788 h 747096"/>
                <a:gd name="connsiteX14" fmla="*/ 3737885 w 6598025"/>
                <a:gd name="connsiteY14" fmla="*/ 2499 h 747096"/>
                <a:gd name="connsiteX15" fmla="*/ 4308408 w 6598025"/>
                <a:gd name="connsiteY15" fmla="*/ 6401 h 747096"/>
                <a:gd name="connsiteX16" fmla="*/ 4999171 w 6598025"/>
                <a:gd name="connsiteY16" fmla="*/ 3917 h 747096"/>
                <a:gd name="connsiteX17" fmla="*/ 6598025 w 6598025"/>
                <a:gd name="connsiteY17" fmla="*/ 0 h 747096"/>
                <a:gd name="connsiteX18" fmla="*/ 6598025 w 6598025"/>
                <a:gd name="connsiteY18" fmla="*/ 744212 h 747096"/>
                <a:gd name="connsiteX19" fmla="*/ 4469233 w 6598025"/>
                <a:gd name="connsiteY19" fmla="*/ 747096 h 747096"/>
                <a:gd name="connsiteX20" fmla="*/ 4244238 w 6598025"/>
                <a:gd name="connsiteY20" fmla="*/ 747096 h 747096"/>
                <a:gd name="connsiteX21" fmla="*/ 4169240 w 6598025"/>
                <a:gd name="connsiteY21" fmla="*/ 747096 h 747096"/>
                <a:gd name="connsiteX22" fmla="*/ 3748097 w 6598025"/>
                <a:gd name="connsiteY22" fmla="*/ 735558 h 747096"/>
                <a:gd name="connsiteX23" fmla="*/ 3470612 w 6598025"/>
                <a:gd name="connsiteY23" fmla="*/ 720010 h 747096"/>
                <a:gd name="connsiteX24" fmla="*/ 3174073 w 6598025"/>
                <a:gd name="connsiteY24" fmla="*/ 698552 h 747096"/>
                <a:gd name="connsiteX25" fmla="*/ 2804851 w 6598025"/>
                <a:gd name="connsiteY25" fmla="*/ 652832 h 747096"/>
                <a:gd name="connsiteX26" fmla="*/ 2611587 w 6598025"/>
                <a:gd name="connsiteY26" fmla="*/ 631714 h 747096"/>
                <a:gd name="connsiteX27" fmla="*/ 2354863 w 6598025"/>
                <a:gd name="connsiteY27" fmla="*/ 602869 h 747096"/>
                <a:gd name="connsiteX28" fmla="*/ 1829876 w 6598025"/>
                <a:gd name="connsiteY28" fmla="*/ 522102 h 747096"/>
                <a:gd name="connsiteX29" fmla="*/ 1665457 w 6598025"/>
                <a:gd name="connsiteY29" fmla="*/ 496141 h 747096"/>
                <a:gd name="connsiteX30" fmla="*/ 1484548 w 6598025"/>
                <a:gd name="connsiteY30" fmla="*/ 467187 h 747096"/>
                <a:gd name="connsiteX31" fmla="*/ 0 w 6598025"/>
                <a:gd name="connsiteY31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666516 w 6598025"/>
                <a:gd name="connsiteY5" fmla="*/ 123446 h 747096"/>
                <a:gd name="connsiteX6" fmla="*/ 1777032 w 6598025"/>
                <a:gd name="connsiteY6" fmla="*/ 113523 h 747096"/>
                <a:gd name="connsiteX7" fmla="*/ 1870379 w 6598025"/>
                <a:gd name="connsiteY7" fmla="*/ 107660 h 747096"/>
                <a:gd name="connsiteX8" fmla="*/ 1928429 w 6598025"/>
                <a:gd name="connsiteY8" fmla="*/ 96984 h 747096"/>
                <a:gd name="connsiteX9" fmla="*/ 2149135 w 6598025"/>
                <a:gd name="connsiteY9" fmla="*/ 107978 h 747096"/>
                <a:gd name="connsiteX10" fmla="*/ 2427794 w 6598025"/>
                <a:gd name="connsiteY10" fmla="*/ 61933 h 747096"/>
                <a:gd name="connsiteX11" fmla="*/ 2616058 w 6598025"/>
                <a:gd name="connsiteY11" fmla="*/ 45659 h 747096"/>
                <a:gd name="connsiteX12" fmla="*/ 2927745 w 6598025"/>
                <a:gd name="connsiteY12" fmla="*/ 25360 h 747096"/>
                <a:gd name="connsiteX13" fmla="*/ 3326028 w 6598025"/>
                <a:gd name="connsiteY13" fmla="*/ 12788 h 747096"/>
                <a:gd name="connsiteX14" fmla="*/ 3737885 w 6598025"/>
                <a:gd name="connsiteY14" fmla="*/ 2499 h 747096"/>
                <a:gd name="connsiteX15" fmla="*/ 4308408 w 6598025"/>
                <a:gd name="connsiteY15" fmla="*/ 6401 h 747096"/>
                <a:gd name="connsiteX16" fmla="*/ 4999171 w 6598025"/>
                <a:gd name="connsiteY16" fmla="*/ 3917 h 747096"/>
                <a:gd name="connsiteX17" fmla="*/ 6598025 w 6598025"/>
                <a:gd name="connsiteY17" fmla="*/ 0 h 747096"/>
                <a:gd name="connsiteX18" fmla="*/ 6598025 w 6598025"/>
                <a:gd name="connsiteY18" fmla="*/ 744212 h 747096"/>
                <a:gd name="connsiteX19" fmla="*/ 4469233 w 6598025"/>
                <a:gd name="connsiteY19" fmla="*/ 747096 h 747096"/>
                <a:gd name="connsiteX20" fmla="*/ 4244238 w 6598025"/>
                <a:gd name="connsiteY20" fmla="*/ 747096 h 747096"/>
                <a:gd name="connsiteX21" fmla="*/ 4169240 w 6598025"/>
                <a:gd name="connsiteY21" fmla="*/ 747096 h 747096"/>
                <a:gd name="connsiteX22" fmla="*/ 3748097 w 6598025"/>
                <a:gd name="connsiteY22" fmla="*/ 735558 h 747096"/>
                <a:gd name="connsiteX23" fmla="*/ 3470612 w 6598025"/>
                <a:gd name="connsiteY23" fmla="*/ 720010 h 747096"/>
                <a:gd name="connsiteX24" fmla="*/ 3174073 w 6598025"/>
                <a:gd name="connsiteY24" fmla="*/ 698552 h 747096"/>
                <a:gd name="connsiteX25" fmla="*/ 2804851 w 6598025"/>
                <a:gd name="connsiteY25" fmla="*/ 652832 h 747096"/>
                <a:gd name="connsiteX26" fmla="*/ 2611587 w 6598025"/>
                <a:gd name="connsiteY26" fmla="*/ 631714 h 747096"/>
                <a:gd name="connsiteX27" fmla="*/ 2354863 w 6598025"/>
                <a:gd name="connsiteY27" fmla="*/ 602869 h 747096"/>
                <a:gd name="connsiteX28" fmla="*/ 1829876 w 6598025"/>
                <a:gd name="connsiteY28" fmla="*/ 522102 h 747096"/>
                <a:gd name="connsiteX29" fmla="*/ 1665457 w 6598025"/>
                <a:gd name="connsiteY29" fmla="*/ 496141 h 747096"/>
                <a:gd name="connsiteX30" fmla="*/ 1484548 w 6598025"/>
                <a:gd name="connsiteY30" fmla="*/ 467187 h 747096"/>
                <a:gd name="connsiteX31" fmla="*/ 0 w 6598025"/>
                <a:gd name="connsiteY31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666516 w 6598025"/>
                <a:gd name="connsiteY5" fmla="*/ 123446 h 747096"/>
                <a:gd name="connsiteX6" fmla="*/ 1777032 w 6598025"/>
                <a:gd name="connsiteY6" fmla="*/ 113523 h 747096"/>
                <a:gd name="connsiteX7" fmla="*/ 1928429 w 6598025"/>
                <a:gd name="connsiteY7" fmla="*/ 96984 h 747096"/>
                <a:gd name="connsiteX8" fmla="*/ 2149135 w 6598025"/>
                <a:gd name="connsiteY8" fmla="*/ 107978 h 747096"/>
                <a:gd name="connsiteX9" fmla="*/ 2427794 w 6598025"/>
                <a:gd name="connsiteY9" fmla="*/ 61933 h 747096"/>
                <a:gd name="connsiteX10" fmla="*/ 2616058 w 6598025"/>
                <a:gd name="connsiteY10" fmla="*/ 45659 h 747096"/>
                <a:gd name="connsiteX11" fmla="*/ 2927745 w 6598025"/>
                <a:gd name="connsiteY11" fmla="*/ 25360 h 747096"/>
                <a:gd name="connsiteX12" fmla="*/ 3326028 w 6598025"/>
                <a:gd name="connsiteY12" fmla="*/ 12788 h 747096"/>
                <a:gd name="connsiteX13" fmla="*/ 3737885 w 6598025"/>
                <a:gd name="connsiteY13" fmla="*/ 2499 h 747096"/>
                <a:gd name="connsiteX14" fmla="*/ 4308408 w 6598025"/>
                <a:gd name="connsiteY14" fmla="*/ 6401 h 747096"/>
                <a:gd name="connsiteX15" fmla="*/ 4999171 w 6598025"/>
                <a:gd name="connsiteY15" fmla="*/ 3917 h 747096"/>
                <a:gd name="connsiteX16" fmla="*/ 6598025 w 6598025"/>
                <a:gd name="connsiteY16" fmla="*/ 0 h 747096"/>
                <a:gd name="connsiteX17" fmla="*/ 6598025 w 6598025"/>
                <a:gd name="connsiteY17" fmla="*/ 744212 h 747096"/>
                <a:gd name="connsiteX18" fmla="*/ 4469233 w 6598025"/>
                <a:gd name="connsiteY18" fmla="*/ 747096 h 747096"/>
                <a:gd name="connsiteX19" fmla="*/ 4244238 w 6598025"/>
                <a:gd name="connsiteY19" fmla="*/ 747096 h 747096"/>
                <a:gd name="connsiteX20" fmla="*/ 4169240 w 6598025"/>
                <a:gd name="connsiteY20" fmla="*/ 747096 h 747096"/>
                <a:gd name="connsiteX21" fmla="*/ 3748097 w 6598025"/>
                <a:gd name="connsiteY21" fmla="*/ 735558 h 747096"/>
                <a:gd name="connsiteX22" fmla="*/ 3470612 w 6598025"/>
                <a:gd name="connsiteY22" fmla="*/ 720010 h 747096"/>
                <a:gd name="connsiteX23" fmla="*/ 3174073 w 6598025"/>
                <a:gd name="connsiteY23" fmla="*/ 698552 h 747096"/>
                <a:gd name="connsiteX24" fmla="*/ 2804851 w 6598025"/>
                <a:gd name="connsiteY24" fmla="*/ 652832 h 747096"/>
                <a:gd name="connsiteX25" fmla="*/ 2611587 w 6598025"/>
                <a:gd name="connsiteY25" fmla="*/ 631714 h 747096"/>
                <a:gd name="connsiteX26" fmla="*/ 2354863 w 6598025"/>
                <a:gd name="connsiteY26" fmla="*/ 602869 h 747096"/>
                <a:gd name="connsiteX27" fmla="*/ 1829876 w 6598025"/>
                <a:gd name="connsiteY27" fmla="*/ 522102 h 747096"/>
                <a:gd name="connsiteX28" fmla="*/ 1665457 w 6598025"/>
                <a:gd name="connsiteY28" fmla="*/ 496141 h 747096"/>
                <a:gd name="connsiteX29" fmla="*/ 1484548 w 6598025"/>
                <a:gd name="connsiteY29" fmla="*/ 467187 h 747096"/>
                <a:gd name="connsiteX30" fmla="*/ 0 w 6598025"/>
                <a:gd name="connsiteY30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777032 w 6598025"/>
                <a:gd name="connsiteY5" fmla="*/ 113523 h 747096"/>
                <a:gd name="connsiteX6" fmla="*/ 1928429 w 6598025"/>
                <a:gd name="connsiteY6" fmla="*/ 96984 h 747096"/>
                <a:gd name="connsiteX7" fmla="*/ 2149135 w 6598025"/>
                <a:gd name="connsiteY7" fmla="*/ 107978 h 747096"/>
                <a:gd name="connsiteX8" fmla="*/ 2427794 w 6598025"/>
                <a:gd name="connsiteY8" fmla="*/ 61933 h 747096"/>
                <a:gd name="connsiteX9" fmla="*/ 2616058 w 6598025"/>
                <a:gd name="connsiteY9" fmla="*/ 45659 h 747096"/>
                <a:gd name="connsiteX10" fmla="*/ 2927745 w 6598025"/>
                <a:gd name="connsiteY10" fmla="*/ 25360 h 747096"/>
                <a:gd name="connsiteX11" fmla="*/ 3326028 w 6598025"/>
                <a:gd name="connsiteY11" fmla="*/ 12788 h 747096"/>
                <a:gd name="connsiteX12" fmla="*/ 3737885 w 6598025"/>
                <a:gd name="connsiteY12" fmla="*/ 2499 h 747096"/>
                <a:gd name="connsiteX13" fmla="*/ 4308408 w 6598025"/>
                <a:gd name="connsiteY13" fmla="*/ 6401 h 747096"/>
                <a:gd name="connsiteX14" fmla="*/ 4999171 w 6598025"/>
                <a:gd name="connsiteY14" fmla="*/ 3917 h 747096"/>
                <a:gd name="connsiteX15" fmla="*/ 6598025 w 6598025"/>
                <a:gd name="connsiteY15" fmla="*/ 0 h 747096"/>
                <a:gd name="connsiteX16" fmla="*/ 6598025 w 6598025"/>
                <a:gd name="connsiteY16" fmla="*/ 744212 h 747096"/>
                <a:gd name="connsiteX17" fmla="*/ 4469233 w 6598025"/>
                <a:gd name="connsiteY17" fmla="*/ 747096 h 747096"/>
                <a:gd name="connsiteX18" fmla="*/ 4244238 w 6598025"/>
                <a:gd name="connsiteY18" fmla="*/ 747096 h 747096"/>
                <a:gd name="connsiteX19" fmla="*/ 4169240 w 6598025"/>
                <a:gd name="connsiteY19" fmla="*/ 747096 h 747096"/>
                <a:gd name="connsiteX20" fmla="*/ 3748097 w 6598025"/>
                <a:gd name="connsiteY20" fmla="*/ 735558 h 747096"/>
                <a:gd name="connsiteX21" fmla="*/ 3470612 w 6598025"/>
                <a:gd name="connsiteY21" fmla="*/ 720010 h 747096"/>
                <a:gd name="connsiteX22" fmla="*/ 3174073 w 6598025"/>
                <a:gd name="connsiteY22" fmla="*/ 698552 h 747096"/>
                <a:gd name="connsiteX23" fmla="*/ 2804851 w 6598025"/>
                <a:gd name="connsiteY23" fmla="*/ 652832 h 747096"/>
                <a:gd name="connsiteX24" fmla="*/ 2611587 w 6598025"/>
                <a:gd name="connsiteY24" fmla="*/ 631714 h 747096"/>
                <a:gd name="connsiteX25" fmla="*/ 2354863 w 6598025"/>
                <a:gd name="connsiteY25" fmla="*/ 602869 h 747096"/>
                <a:gd name="connsiteX26" fmla="*/ 1829876 w 6598025"/>
                <a:gd name="connsiteY26" fmla="*/ 522102 h 747096"/>
                <a:gd name="connsiteX27" fmla="*/ 1665457 w 6598025"/>
                <a:gd name="connsiteY27" fmla="*/ 496141 h 747096"/>
                <a:gd name="connsiteX28" fmla="*/ 1484548 w 6598025"/>
                <a:gd name="connsiteY28" fmla="*/ 467187 h 747096"/>
                <a:gd name="connsiteX29" fmla="*/ 0 w 6598025"/>
                <a:gd name="connsiteY29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777032 w 6598025"/>
                <a:gd name="connsiteY5" fmla="*/ 113523 h 747096"/>
                <a:gd name="connsiteX6" fmla="*/ 1928429 w 6598025"/>
                <a:gd name="connsiteY6" fmla="*/ 96984 h 747096"/>
                <a:gd name="connsiteX7" fmla="*/ 2160150 w 6598025"/>
                <a:gd name="connsiteY7" fmla="*/ 86032 h 747096"/>
                <a:gd name="connsiteX8" fmla="*/ 2427794 w 6598025"/>
                <a:gd name="connsiteY8" fmla="*/ 61933 h 747096"/>
                <a:gd name="connsiteX9" fmla="*/ 2616058 w 6598025"/>
                <a:gd name="connsiteY9" fmla="*/ 45659 h 747096"/>
                <a:gd name="connsiteX10" fmla="*/ 2927745 w 6598025"/>
                <a:gd name="connsiteY10" fmla="*/ 25360 h 747096"/>
                <a:gd name="connsiteX11" fmla="*/ 3326028 w 6598025"/>
                <a:gd name="connsiteY11" fmla="*/ 12788 h 747096"/>
                <a:gd name="connsiteX12" fmla="*/ 3737885 w 6598025"/>
                <a:gd name="connsiteY12" fmla="*/ 2499 h 747096"/>
                <a:gd name="connsiteX13" fmla="*/ 4308408 w 6598025"/>
                <a:gd name="connsiteY13" fmla="*/ 6401 h 747096"/>
                <a:gd name="connsiteX14" fmla="*/ 4999171 w 6598025"/>
                <a:gd name="connsiteY14" fmla="*/ 3917 h 747096"/>
                <a:gd name="connsiteX15" fmla="*/ 6598025 w 6598025"/>
                <a:gd name="connsiteY15" fmla="*/ 0 h 747096"/>
                <a:gd name="connsiteX16" fmla="*/ 6598025 w 6598025"/>
                <a:gd name="connsiteY16" fmla="*/ 744212 h 747096"/>
                <a:gd name="connsiteX17" fmla="*/ 4469233 w 6598025"/>
                <a:gd name="connsiteY17" fmla="*/ 747096 h 747096"/>
                <a:gd name="connsiteX18" fmla="*/ 4244238 w 6598025"/>
                <a:gd name="connsiteY18" fmla="*/ 747096 h 747096"/>
                <a:gd name="connsiteX19" fmla="*/ 4169240 w 6598025"/>
                <a:gd name="connsiteY19" fmla="*/ 747096 h 747096"/>
                <a:gd name="connsiteX20" fmla="*/ 3748097 w 6598025"/>
                <a:gd name="connsiteY20" fmla="*/ 735558 h 747096"/>
                <a:gd name="connsiteX21" fmla="*/ 3470612 w 6598025"/>
                <a:gd name="connsiteY21" fmla="*/ 720010 h 747096"/>
                <a:gd name="connsiteX22" fmla="*/ 3174073 w 6598025"/>
                <a:gd name="connsiteY22" fmla="*/ 698552 h 747096"/>
                <a:gd name="connsiteX23" fmla="*/ 2804851 w 6598025"/>
                <a:gd name="connsiteY23" fmla="*/ 652832 h 747096"/>
                <a:gd name="connsiteX24" fmla="*/ 2611587 w 6598025"/>
                <a:gd name="connsiteY24" fmla="*/ 631714 h 747096"/>
                <a:gd name="connsiteX25" fmla="*/ 2354863 w 6598025"/>
                <a:gd name="connsiteY25" fmla="*/ 602869 h 747096"/>
                <a:gd name="connsiteX26" fmla="*/ 1829876 w 6598025"/>
                <a:gd name="connsiteY26" fmla="*/ 522102 h 747096"/>
                <a:gd name="connsiteX27" fmla="*/ 1665457 w 6598025"/>
                <a:gd name="connsiteY27" fmla="*/ 496141 h 747096"/>
                <a:gd name="connsiteX28" fmla="*/ 1484548 w 6598025"/>
                <a:gd name="connsiteY28" fmla="*/ 467187 h 747096"/>
                <a:gd name="connsiteX29" fmla="*/ 0 w 6598025"/>
                <a:gd name="connsiteY29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777032 w 6598025"/>
                <a:gd name="connsiteY5" fmla="*/ 113523 h 747096"/>
                <a:gd name="connsiteX6" fmla="*/ 2160150 w 6598025"/>
                <a:gd name="connsiteY6" fmla="*/ 86032 h 747096"/>
                <a:gd name="connsiteX7" fmla="*/ 2427794 w 6598025"/>
                <a:gd name="connsiteY7" fmla="*/ 61933 h 747096"/>
                <a:gd name="connsiteX8" fmla="*/ 2616058 w 6598025"/>
                <a:gd name="connsiteY8" fmla="*/ 45659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19347 w 6598025"/>
                <a:gd name="connsiteY1" fmla="*/ 137811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854134 w 6598025"/>
                <a:gd name="connsiteY5" fmla="*/ 102550 h 747096"/>
                <a:gd name="connsiteX6" fmla="*/ 2160150 w 6598025"/>
                <a:gd name="connsiteY6" fmla="*/ 86032 h 747096"/>
                <a:gd name="connsiteX7" fmla="*/ 2427794 w 6598025"/>
                <a:gd name="connsiteY7" fmla="*/ 61933 h 747096"/>
                <a:gd name="connsiteX8" fmla="*/ 2616058 w 6598025"/>
                <a:gd name="connsiteY8" fmla="*/ 45659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2211 w 6598025"/>
                <a:gd name="connsiteY4" fmla="*/ 112266 h 747096"/>
                <a:gd name="connsiteX5" fmla="*/ 1854134 w 6598025"/>
                <a:gd name="connsiteY5" fmla="*/ 102550 h 747096"/>
                <a:gd name="connsiteX6" fmla="*/ 2160150 w 6598025"/>
                <a:gd name="connsiteY6" fmla="*/ 86032 h 747096"/>
                <a:gd name="connsiteX7" fmla="*/ 2427794 w 6598025"/>
                <a:gd name="connsiteY7" fmla="*/ 61933 h 747096"/>
                <a:gd name="connsiteX8" fmla="*/ 2616058 w 6598025"/>
                <a:gd name="connsiteY8" fmla="*/ 45659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0593 w 6598025"/>
                <a:gd name="connsiteY3" fmla="*/ 118600 h 747096"/>
                <a:gd name="connsiteX4" fmla="*/ 1549555 w 6598025"/>
                <a:gd name="connsiteY4" fmla="*/ 86663 h 747096"/>
                <a:gd name="connsiteX5" fmla="*/ 1854134 w 6598025"/>
                <a:gd name="connsiteY5" fmla="*/ 102550 h 747096"/>
                <a:gd name="connsiteX6" fmla="*/ 2160150 w 6598025"/>
                <a:gd name="connsiteY6" fmla="*/ 86032 h 747096"/>
                <a:gd name="connsiteX7" fmla="*/ 2427794 w 6598025"/>
                <a:gd name="connsiteY7" fmla="*/ 61933 h 747096"/>
                <a:gd name="connsiteX8" fmla="*/ 2616058 w 6598025"/>
                <a:gd name="connsiteY8" fmla="*/ 45659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4264 w 6598025"/>
                <a:gd name="connsiteY3" fmla="*/ 103970 h 747096"/>
                <a:gd name="connsiteX4" fmla="*/ 1549555 w 6598025"/>
                <a:gd name="connsiteY4" fmla="*/ 86663 h 747096"/>
                <a:gd name="connsiteX5" fmla="*/ 1854134 w 6598025"/>
                <a:gd name="connsiteY5" fmla="*/ 102550 h 747096"/>
                <a:gd name="connsiteX6" fmla="*/ 2160150 w 6598025"/>
                <a:gd name="connsiteY6" fmla="*/ 86032 h 747096"/>
                <a:gd name="connsiteX7" fmla="*/ 2427794 w 6598025"/>
                <a:gd name="connsiteY7" fmla="*/ 61933 h 747096"/>
                <a:gd name="connsiteX8" fmla="*/ 2616058 w 6598025"/>
                <a:gd name="connsiteY8" fmla="*/ 45659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4264 w 6598025"/>
                <a:gd name="connsiteY3" fmla="*/ 103970 h 747096"/>
                <a:gd name="connsiteX4" fmla="*/ 1549555 w 6598025"/>
                <a:gd name="connsiteY4" fmla="*/ 86663 h 747096"/>
                <a:gd name="connsiteX5" fmla="*/ 1868820 w 6598025"/>
                <a:gd name="connsiteY5" fmla="*/ 73289 h 747096"/>
                <a:gd name="connsiteX6" fmla="*/ 2160150 w 6598025"/>
                <a:gd name="connsiteY6" fmla="*/ 86032 h 747096"/>
                <a:gd name="connsiteX7" fmla="*/ 2427794 w 6598025"/>
                <a:gd name="connsiteY7" fmla="*/ 61933 h 747096"/>
                <a:gd name="connsiteX8" fmla="*/ 2616058 w 6598025"/>
                <a:gd name="connsiteY8" fmla="*/ 45659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4264 w 6598025"/>
                <a:gd name="connsiteY3" fmla="*/ 103970 h 747096"/>
                <a:gd name="connsiteX4" fmla="*/ 1549555 w 6598025"/>
                <a:gd name="connsiteY4" fmla="*/ 86663 h 747096"/>
                <a:gd name="connsiteX5" fmla="*/ 1868820 w 6598025"/>
                <a:gd name="connsiteY5" fmla="*/ 73289 h 747096"/>
                <a:gd name="connsiteX6" fmla="*/ 2178508 w 6598025"/>
                <a:gd name="connsiteY6" fmla="*/ 64086 h 747096"/>
                <a:gd name="connsiteX7" fmla="*/ 2427794 w 6598025"/>
                <a:gd name="connsiteY7" fmla="*/ 61933 h 747096"/>
                <a:gd name="connsiteX8" fmla="*/ 2616058 w 6598025"/>
                <a:gd name="connsiteY8" fmla="*/ 45659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4264 w 6598025"/>
                <a:gd name="connsiteY3" fmla="*/ 103970 h 747096"/>
                <a:gd name="connsiteX4" fmla="*/ 1549555 w 6598025"/>
                <a:gd name="connsiteY4" fmla="*/ 86663 h 747096"/>
                <a:gd name="connsiteX5" fmla="*/ 1868820 w 6598025"/>
                <a:gd name="connsiteY5" fmla="*/ 73289 h 747096"/>
                <a:gd name="connsiteX6" fmla="*/ 2178508 w 6598025"/>
                <a:gd name="connsiteY6" fmla="*/ 64086 h 747096"/>
                <a:gd name="connsiteX7" fmla="*/ 2435138 w 6598025"/>
                <a:gd name="connsiteY7" fmla="*/ 50960 h 747096"/>
                <a:gd name="connsiteX8" fmla="*/ 2616058 w 6598025"/>
                <a:gd name="connsiteY8" fmla="*/ 45659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4264 w 6598025"/>
                <a:gd name="connsiteY3" fmla="*/ 103970 h 747096"/>
                <a:gd name="connsiteX4" fmla="*/ 1549555 w 6598025"/>
                <a:gd name="connsiteY4" fmla="*/ 86663 h 747096"/>
                <a:gd name="connsiteX5" fmla="*/ 1868820 w 6598025"/>
                <a:gd name="connsiteY5" fmla="*/ 73289 h 747096"/>
                <a:gd name="connsiteX6" fmla="*/ 2178508 w 6598025"/>
                <a:gd name="connsiteY6" fmla="*/ 64086 h 747096"/>
                <a:gd name="connsiteX7" fmla="*/ 2435138 w 6598025"/>
                <a:gd name="connsiteY7" fmla="*/ 50960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4264 w 6598025"/>
                <a:gd name="connsiteY3" fmla="*/ 103970 h 747096"/>
                <a:gd name="connsiteX4" fmla="*/ 1549555 w 6598025"/>
                <a:gd name="connsiteY4" fmla="*/ 86663 h 747096"/>
                <a:gd name="connsiteX5" fmla="*/ 1868820 w 6598025"/>
                <a:gd name="connsiteY5" fmla="*/ 73289 h 747096"/>
                <a:gd name="connsiteX6" fmla="*/ 2178508 w 6598025"/>
                <a:gd name="connsiteY6" fmla="*/ 64086 h 747096"/>
                <a:gd name="connsiteX7" fmla="*/ 2435138 w 6598025"/>
                <a:gd name="connsiteY7" fmla="*/ 50960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665457 w 6598025"/>
                <a:gd name="connsiteY26" fmla="*/ 496141 h 747096"/>
                <a:gd name="connsiteX27" fmla="*/ 1484548 w 6598025"/>
                <a:gd name="connsiteY27" fmla="*/ 467187 h 747096"/>
                <a:gd name="connsiteX28" fmla="*/ 0 w 6598025"/>
                <a:gd name="connsiteY28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4264 w 6598025"/>
                <a:gd name="connsiteY3" fmla="*/ 103970 h 747096"/>
                <a:gd name="connsiteX4" fmla="*/ 1549555 w 6598025"/>
                <a:gd name="connsiteY4" fmla="*/ 86663 h 747096"/>
                <a:gd name="connsiteX5" fmla="*/ 1868820 w 6598025"/>
                <a:gd name="connsiteY5" fmla="*/ 73289 h 747096"/>
                <a:gd name="connsiteX6" fmla="*/ 2178508 w 6598025"/>
                <a:gd name="connsiteY6" fmla="*/ 64086 h 747096"/>
                <a:gd name="connsiteX7" fmla="*/ 2435138 w 6598025"/>
                <a:gd name="connsiteY7" fmla="*/ 50960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1484548 w 6598025"/>
                <a:gd name="connsiteY26" fmla="*/ 467187 h 747096"/>
                <a:gd name="connsiteX27" fmla="*/ 0 w 6598025"/>
                <a:gd name="connsiteY27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32127 w 6598025"/>
                <a:gd name="connsiteY2" fmla="*/ 127820 h 747096"/>
                <a:gd name="connsiteX3" fmla="*/ 1254264 w 6598025"/>
                <a:gd name="connsiteY3" fmla="*/ 103970 h 747096"/>
                <a:gd name="connsiteX4" fmla="*/ 1549555 w 6598025"/>
                <a:gd name="connsiteY4" fmla="*/ 86663 h 747096"/>
                <a:gd name="connsiteX5" fmla="*/ 1868820 w 6598025"/>
                <a:gd name="connsiteY5" fmla="*/ 73289 h 747096"/>
                <a:gd name="connsiteX6" fmla="*/ 2178508 w 6598025"/>
                <a:gd name="connsiteY6" fmla="*/ 64086 h 747096"/>
                <a:gd name="connsiteX7" fmla="*/ 2435138 w 6598025"/>
                <a:gd name="connsiteY7" fmla="*/ 50960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54264 w 6598025"/>
                <a:gd name="connsiteY3" fmla="*/ 103970 h 747096"/>
                <a:gd name="connsiteX4" fmla="*/ 1549555 w 6598025"/>
                <a:gd name="connsiteY4" fmla="*/ 86663 h 747096"/>
                <a:gd name="connsiteX5" fmla="*/ 1868820 w 6598025"/>
                <a:gd name="connsiteY5" fmla="*/ 73289 h 747096"/>
                <a:gd name="connsiteX6" fmla="*/ 2178508 w 6598025"/>
                <a:gd name="connsiteY6" fmla="*/ 64086 h 747096"/>
                <a:gd name="connsiteX7" fmla="*/ 2435138 w 6598025"/>
                <a:gd name="connsiteY7" fmla="*/ 50960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49555 w 6598025"/>
                <a:gd name="connsiteY4" fmla="*/ 86663 h 747096"/>
                <a:gd name="connsiteX5" fmla="*/ 1868820 w 6598025"/>
                <a:gd name="connsiteY5" fmla="*/ 73289 h 747096"/>
                <a:gd name="connsiteX6" fmla="*/ 2178508 w 6598025"/>
                <a:gd name="connsiteY6" fmla="*/ 64086 h 747096"/>
                <a:gd name="connsiteX7" fmla="*/ 2435138 w 6598025"/>
                <a:gd name="connsiteY7" fmla="*/ 50960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68820 w 6598025"/>
                <a:gd name="connsiteY5" fmla="*/ 73289 h 747096"/>
                <a:gd name="connsiteX6" fmla="*/ 2178508 w 6598025"/>
                <a:gd name="connsiteY6" fmla="*/ 64086 h 747096"/>
                <a:gd name="connsiteX7" fmla="*/ 2435138 w 6598025"/>
                <a:gd name="connsiteY7" fmla="*/ 50960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78508 w 6598025"/>
                <a:gd name="connsiteY6" fmla="*/ 64086 h 747096"/>
                <a:gd name="connsiteX7" fmla="*/ 2435138 w 6598025"/>
                <a:gd name="connsiteY7" fmla="*/ 50960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435138 w 6598025"/>
                <a:gd name="connsiteY7" fmla="*/ 50960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453019 w 6598025"/>
                <a:gd name="connsiteY7" fmla="*/ 9396 h 747096"/>
                <a:gd name="connsiteX8" fmla="*/ 2630745 w 6598025"/>
                <a:gd name="connsiteY8" fmla="*/ 38343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453019 w 6598025"/>
                <a:gd name="connsiteY7" fmla="*/ 9396 h 747096"/>
                <a:gd name="connsiteX8" fmla="*/ 2684387 w 6598025"/>
                <a:gd name="connsiteY8" fmla="*/ 8655 h 747096"/>
                <a:gd name="connsiteX9" fmla="*/ 2927745 w 6598025"/>
                <a:gd name="connsiteY9" fmla="*/ 25360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453019 w 6598025"/>
                <a:gd name="connsiteY7" fmla="*/ 9396 h 747096"/>
                <a:gd name="connsiteX8" fmla="*/ 2684387 w 6598025"/>
                <a:gd name="connsiteY8" fmla="*/ 8655 h 747096"/>
                <a:gd name="connsiteX9" fmla="*/ 2963507 w 6598025"/>
                <a:gd name="connsiteY9" fmla="*/ 13485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464940 w 6598025"/>
                <a:gd name="connsiteY7" fmla="*/ 15334 h 747096"/>
                <a:gd name="connsiteX8" fmla="*/ 2684387 w 6598025"/>
                <a:gd name="connsiteY8" fmla="*/ 8655 h 747096"/>
                <a:gd name="connsiteX9" fmla="*/ 2963507 w 6598025"/>
                <a:gd name="connsiteY9" fmla="*/ 13485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464940 w 6598025"/>
                <a:gd name="connsiteY7" fmla="*/ 15334 h 747096"/>
                <a:gd name="connsiteX8" fmla="*/ 2684387 w 6598025"/>
                <a:gd name="connsiteY8" fmla="*/ 8655 h 747096"/>
                <a:gd name="connsiteX9" fmla="*/ 2963507 w 6598025"/>
                <a:gd name="connsiteY9" fmla="*/ 13485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464940 w 6598025"/>
                <a:gd name="connsiteY7" fmla="*/ 15334 h 747096"/>
                <a:gd name="connsiteX8" fmla="*/ 2684387 w 6598025"/>
                <a:gd name="connsiteY8" fmla="*/ 8655 h 747096"/>
                <a:gd name="connsiteX9" fmla="*/ 2963507 w 6598025"/>
                <a:gd name="connsiteY9" fmla="*/ 13485 h 747096"/>
                <a:gd name="connsiteX10" fmla="*/ 3326028 w 6598025"/>
                <a:gd name="connsiteY10" fmla="*/ 12788 h 747096"/>
                <a:gd name="connsiteX11" fmla="*/ 3737885 w 6598025"/>
                <a:gd name="connsiteY11" fmla="*/ 2499 h 747096"/>
                <a:gd name="connsiteX12" fmla="*/ 4308408 w 6598025"/>
                <a:gd name="connsiteY12" fmla="*/ 6401 h 747096"/>
                <a:gd name="connsiteX13" fmla="*/ 4999171 w 6598025"/>
                <a:gd name="connsiteY13" fmla="*/ 3917 h 747096"/>
                <a:gd name="connsiteX14" fmla="*/ 6598025 w 6598025"/>
                <a:gd name="connsiteY14" fmla="*/ 0 h 747096"/>
                <a:gd name="connsiteX15" fmla="*/ 6598025 w 6598025"/>
                <a:gd name="connsiteY15" fmla="*/ 744212 h 747096"/>
                <a:gd name="connsiteX16" fmla="*/ 4469233 w 6598025"/>
                <a:gd name="connsiteY16" fmla="*/ 747096 h 747096"/>
                <a:gd name="connsiteX17" fmla="*/ 4244238 w 6598025"/>
                <a:gd name="connsiteY17" fmla="*/ 747096 h 747096"/>
                <a:gd name="connsiteX18" fmla="*/ 4169240 w 6598025"/>
                <a:gd name="connsiteY18" fmla="*/ 747096 h 747096"/>
                <a:gd name="connsiteX19" fmla="*/ 3748097 w 6598025"/>
                <a:gd name="connsiteY19" fmla="*/ 735558 h 747096"/>
                <a:gd name="connsiteX20" fmla="*/ 3470612 w 6598025"/>
                <a:gd name="connsiteY20" fmla="*/ 720010 h 747096"/>
                <a:gd name="connsiteX21" fmla="*/ 3174073 w 6598025"/>
                <a:gd name="connsiteY21" fmla="*/ 698552 h 747096"/>
                <a:gd name="connsiteX22" fmla="*/ 2804851 w 6598025"/>
                <a:gd name="connsiteY22" fmla="*/ 652832 h 747096"/>
                <a:gd name="connsiteX23" fmla="*/ 2611587 w 6598025"/>
                <a:gd name="connsiteY23" fmla="*/ 631714 h 747096"/>
                <a:gd name="connsiteX24" fmla="*/ 2354863 w 6598025"/>
                <a:gd name="connsiteY24" fmla="*/ 602869 h 747096"/>
                <a:gd name="connsiteX25" fmla="*/ 1829876 w 6598025"/>
                <a:gd name="connsiteY25" fmla="*/ 522102 h 747096"/>
                <a:gd name="connsiteX26" fmla="*/ 0 w 6598025"/>
                <a:gd name="connsiteY26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684387 w 6598025"/>
                <a:gd name="connsiteY7" fmla="*/ 8655 h 747096"/>
                <a:gd name="connsiteX8" fmla="*/ 2963507 w 6598025"/>
                <a:gd name="connsiteY8" fmla="*/ 13485 h 747096"/>
                <a:gd name="connsiteX9" fmla="*/ 3326028 w 6598025"/>
                <a:gd name="connsiteY9" fmla="*/ 12788 h 747096"/>
                <a:gd name="connsiteX10" fmla="*/ 3737885 w 6598025"/>
                <a:gd name="connsiteY10" fmla="*/ 2499 h 747096"/>
                <a:gd name="connsiteX11" fmla="*/ 4308408 w 6598025"/>
                <a:gd name="connsiteY11" fmla="*/ 6401 h 747096"/>
                <a:gd name="connsiteX12" fmla="*/ 4999171 w 6598025"/>
                <a:gd name="connsiteY12" fmla="*/ 3917 h 747096"/>
                <a:gd name="connsiteX13" fmla="*/ 6598025 w 6598025"/>
                <a:gd name="connsiteY13" fmla="*/ 0 h 747096"/>
                <a:gd name="connsiteX14" fmla="*/ 6598025 w 6598025"/>
                <a:gd name="connsiteY14" fmla="*/ 744212 h 747096"/>
                <a:gd name="connsiteX15" fmla="*/ 4469233 w 6598025"/>
                <a:gd name="connsiteY15" fmla="*/ 747096 h 747096"/>
                <a:gd name="connsiteX16" fmla="*/ 4244238 w 6598025"/>
                <a:gd name="connsiteY16" fmla="*/ 747096 h 747096"/>
                <a:gd name="connsiteX17" fmla="*/ 4169240 w 6598025"/>
                <a:gd name="connsiteY17" fmla="*/ 747096 h 747096"/>
                <a:gd name="connsiteX18" fmla="*/ 3748097 w 6598025"/>
                <a:gd name="connsiteY18" fmla="*/ 735558 h 747096"/>
                <a:gd name="connsiteX19" fmla="*/ 3470612 w 6598025"/>
                <a:gd name="connsiteY19" fmla="*/ 720010 h 747096"/>
                <a:gd name="connsiteX20" fmla="*/ 3174073 w 6598025"/>
                <a:gd name="connsiteY20" fmla="*/ 698552 h 747096"/>
                <a:gd name="connsiteX21" fmla="*/ 2804851 w 6598025"/>
                <a:gd name="connsiteY21" fmla="*/ 652832 h 747096"/>
                <a:gd name="connsiteX22" fmla="*/ 2611587 w 6598025"/>
                <a:gd name="connsiteY22" fmla="*/ 631714 h 747096"/>
                <a:gd name="connsiteX23" fmla="*/ 2354863 w 6598025"/>
                <a:gd name="connsiteY23" fmla="*/ 602869 h 747096"/>
                <a:gd name="connsiteX24" fmla="*/ 1829876 w 6598025"/>
                <a:gd name="connsiteY24" fmla="*/ 522102 h 747096"/>
                <a:gd name="connsiteX25" fmla="*/ 0 w 6598025"/>
                <a:gd name="connsiteY25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684387 w 6598025"/>
                <a:gd name="connsiteY7" fmla="*/ 8655 h 747096"/>
                <a:gd name="connsiteX8" fmla="*/ 3326028 w 6598025"/>
                <a:gd name="connsiteY8" fmla="*/ 12788 h 747096"/>
                <a:gd name="connsiteX9" fmla="*/ 3737885 w 6598025"/>
                <a:gd name="connsiteY9" fmla="*/ 2499 h 747096"/>
                <a:gd name="connsiteX10" fmla="*/ 4308408 w 6598025"/>
                <a:gd name="connsiteY10" fmla="*/ 6401 h 747096"/>
                <a:gd name="connsiteX11" fmla="*/ 4999171 w 6598025"/>
                <a:gd name="connsiteY11" fmla="*/ 3917 h 747096"/>
                <a:gd name="connsiteX12" fmla="*/ 6598025 w 6598025"/>
                <a:gd name="connsiteY12" fmla="*/ 0 h 747096"/>
                <a:gd name="connsiteX13" fmla="*/ 6598025 w 6598025"/>
                <a:gd name="connsiteY13" fmla="*/ 744212 h 747096"/>
                <a:gd name="connsiteX14" fmla="*/ 4469233 w 6598025"/>
                <a:gd name="connsiteY14" fmla="*/ 747096 h 747096"/>
                <a:gd name="connsiteX15" fmla="*/ 4244238 w 6598025"/>
                <a:gd name="connsiteY15" fmla="*/ 747096 h 747096"/>
                <a:gd name="connsiteX16" fmla="*/ 4169240 w 6598025"/>
                <a:gd name="connsiteY16" fmla="*/ 747096 h 747096"/>
                <a:gd name="connsiteX17" fmla="*/ 3748097 w 6598025"/>
                <a:gd name="connsiteY17" fmla="*/ 735558 h 747096"/>
                <a:gd name="connsiteX18" fmla="*/ 3470612 w 6598025"/>
                <a:gd name="connsiteY18" fmla="*/ 720010 h 747096"/>
                <a:gd name="connsiteX19" fmla="*/ 3174073 w 6598025"/>
                <a:gd name="connsiteY19" fmla="*/ 698552 h 747096"/>
                <a:gd name="connsiteX20" fmla="*/ 2804851 w 6598025"/>
                <a:gd name="connsiteY20" fmla="*/ 652832 h 747096"/>
                <a:gd name="connsiteX21" fmla="*/ 2611587 w 6598025"/>
                <a:gd name="connsiteY21" fmla="*/ 631714 h 747096"/>
                <a:gd name="connsiteX22" fmla="*/ 2354863 w 6598025"/>
                <a:gd name="connsiteY22" fmla="*/ 602869 h 747096"/>
                <a:gd name="connsiteX23" fmla="*/ 1829876 w 6598025"/>
                <a:gd name="connsiteY23" fmla="*/ 522102 h 747096"/>
                <a:gd name="connsiteX24" fmla="*/ 0 w 6598025"/>
                <a:gd name="connsiteY24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684387 w 6598025"/>
                <a:gd name="connsiteY7" fmla="*/ 8655 h 747096"/>
                <a:gd name="connsiteX8" fmla="*/ 3737885 w 6598025"/>
                <a:gd name="connsiteY8" fmla="*/ 2499 h 747096"/>
                <a:gd name="connsiteX9" fmla="*/ 4308408 w 6598025"/>
                <a:gd name="connsiteY9" fmla="*/ 6401 h 747096"/>
                <a:gd name="connsiteX10" fmla="*/ 4999171 w 6598025"/>
                <a:gd name="connsiteY10" fmla="*/ 3917 h 747096"/>
                <a:gd name="connsiteX11" fmla="*/ 6598025 w 6598025"/>
                <a:gd name="connsiteY11" fmla="*/ 0 h 747096"/>
                <a:gd name="connsiteX12" fmla="*/ 6598025 w 6598025"/>
                <a:gd name="connsiteY12" fmla="*/ 744212 h 747096"/>
                <a:gd name="connsiteX13" fmla="*/ 4469233 w 6598025"/>
                <a:gd name="connsiteY13" fmla="*/ 747096 h 747096"/>
                <a:gd name="connsiteX14" fmla="*/ 4244238 w 6598025"/>
                <a:gd name="connsiteY14" fmla="*/ 747096 h 747096"/>
                <a:gd name="connsiteX15" fmla="*/ 4169240 w 6598025"/>
                <a:gd name="connsiteY15" fmla="*/ 747096 h 747096"/>
                <a:gd name="connsiteX16" fmla="*/ 3748097 w 6598025"/>
                <a:gd name="connsiteY16" fmla="*/ 735558 h 747096"/>
                <a:gd name="connsiteX17" fmla="*/ 3470612 w 6598025"/>
                <a:gd name="connsiteY17" fmla="*/ 720010 h 747096"/>
                <a:gd name="connsiteX18" fmla="*/ 3174073 w 6598025"/>
                <a:gd name="connsiteY18" fmla="*/ 698552 h 747096"/>
                <a:gd name="connsiteX19" fmla="*/ 2804851 w 6598025"/>
                <a:gd name="connsiteY19" fmla="*/ 652832 h 747096"/>
                <a:gd name="connsiteX20" fmla="*/ 2611587 w 6598025"/>
                <a:gd name="connsiteY20" fmla="*/ 631714 h 747096"/>
                <a:gd name="connsiteX21" fmla="*/ 2354863 w 6598025"/>
                <a:gd name="connsiteY21" fmla="*/ 602869 h 747096"/>
                <a:gd name="connsiteX22" fmla="*/ 1829876 w 6598025"/>
                <a:gd name="connsiteY22" fmla="*/ 522102 h 747096"/>
                <a:gd name="connsiteX23" fmla="*/ 0 w 6598025"/>
                <a:gd name="connsiteY23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684387 w 6598025"/>
                <a:gd name="connsiteY7" fmla="*/ 8655 h 747096"/>
                <a:gd name="connsiteX8" fmla="*/ 3737885 w 6598025"/>
                <a:gd name="connsiteY8" fmla="*/ 2499 h 747096"/>
                <a:gd name="connsiteX9" fmla="*/ 4308408 w 6598025"/>
                <a:gd name="connsiteY9" fmla="*/ 6401 h 747096"/>
                <a:gd name="connsiteX10" fmla="*/ 4999171 w 6598025"/>
                <a:gd name="connsiteY10" fmla="*/ 3917 h 747096"/>
                <a:gd name="connsiteX11" fmla="*/ 6598025 w 6598025"/>
                <a:gd name="connsiteY11" fmla="*/ 0 h 747096"/>
                <a:gd name="connsiteX12" fmla="*/ 6598025 w 6598025"/>
                <a:gd name="connsiteY12" fmla="*/ 744212 h 747096"/>
                <a:gd name="connsiteX13" fmla="*/ 4469233 w 6598025"/>
                <a:gd name="connsiteY13" fmla="*/ 747096 h 747096"/>
                <a:gd name="connsiteX14" fmla="*/ 4244238 w 6598025"/>
                <a:gd name="connsiteY14" fmla="*/ 747096 h 747096"/>
                <a:gd name="connsiteX15" fmla="*/ 4169240 w 6598025"/>
                <a:gd name="connsiteY15" fmla="*/ 747096 h 747096"/>
                <a:gd name="connsiteX16" fmla="*/ 3748097 w 6598025"/>
                <a:gd name="connsiteY16" fmla="*/ 735558 h 747096"/>
                <a:gd name="connsiteX17" fmla="*/ 3470612 w 6598025"/>
                <a:gd name="connsiteY17" fmla="*/ 720010 h 747096"/>
                <a:gd name="connsiteX18" fmla="*/ 3174073 w 6598025"/>
                <a:gd name="connsiteY18" fmla="*/ 698552 h 747096"/>
                <a:gd name="connsiteX19" fmla="*/ 2804851 w 6598025"/>
                <a:gd name="connsiteY19" fmla="*/ 652832 h 747096"/>
                <a:gd name="connsiteX20" fmla="*/ 2611587 w 6598025"/>
                <a:gd name="connsiteY20" fmla="*/ 631714 h 747096"/>
                <a:gd name="connsiteX21" fmla="*/ 2354863 w 6598025"/>
                <a:gd name="connsiteY21" fmla="*/ 602869 h 747096"/>
                <a:gd name="connsiteX22" fmla="*/ 1829876 w 6598025"/>
                <a:gd name="connsiteY22" fmla="*/ 522102 h 747096"/>
                <a:gd name="connsiteX23" fmla="*/ 0 w 6598025"/>
                <a:gd name="connsiteY23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85769 w 6598025"/>
                <a:gd name="connsiteY2" fmla="*/ 98132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684387 w 6598025"/>
                <a:gd name="connsiteY7" fmla="*/ 8655 h 747096"/>
                <a:gd name="connsiteX8" fmla="*/ 3737885 w 6598025"/>
                <a:gd name="connsiteY8" fmla="*/ 2499 h 747096"/>
                <a:gd name="connsiteX9" fmla="*/ 4308408 w 6598025"/>
                <a:gd name="connsiteY9" fmla="*/ 6401 h 747096"/>
                <a:gd name="connsiteX10" fmla="*/ 4999171 w 6598025"/>
                <a:gd name="connsiteY10" fmla="*/ 3917 h 747096"/>
                <a:gd name="connsiteX11" fmla="*/ 6598025 w 6598025"/>
                <a:gd name="connsiteY11" fmla="*/ 0 h 747096"/>
                <a:gd name="connsiteX12" fmla="*/ 6598025 w 6598025"/>
                <a:gd name="connsiteY12" fmla="*/ 744212 h 747096"/>
                <a:gd name="connsiteX13" fmla="*/ 4469233 w 6598025"/>
                <a:gd name="connsiteY13" fmla="*/ 747096 h 747096"/>
                <a:gd name="connsiteX14" fmla="*/ 4244238 w 6598025"/>
                <a:gd name="connsiteY14" fmla="*/ 747096 h 747096"/>
                <a:gd name="connsiteX15" fmla="*/ 4169240 w 6598025"/>
                <a:gd name="connsiteY15" fmla="*/ 747096 h 747096"/>
                <a:gd name="connsiteX16" fmla="*/ 3748097 w 6598025"/>
                <a:gd name="connsiteY16" fmla="*/ 735558 h 747096"/>
                <a:gd name="connsiteX17" fmla="*/ 3470612 w 6598025"/>
                <a:gd name="connsiteY17" fmla="*/ 720010 h 747096"/>
                <a:gd name="connsiteX18" fmla="*/ 3174073 w 6598025"/>
                <a:gd name="connsiteY18" fmla="*/ 698552 h 747096"/>
                <a:gd name="connsiteX19" fmla="*/ 2804851 w 6598025"/>
                <a:gd name="connsiteY19" fmla="*/ 652832 h 747096"/>
                <a:gd name="connsiteX20" fmla="*/ 2611587 w 6598025"/>
                <a:gd name="connsiteY20" fmla="*/ 631714 h 747096"/>
                <a:gd name="connsiteX21" fmla="*/ 2354863 w 6598025"/>
                <a:gd name="connsiteY21" fmla="*/ 602869 h 747096"/>
                <a:gd name="connsiteX22" fmla="*/ 1829876 w 6598025"/>
                <a:gd name="connsiteY22" fmla="*/ 522102 h 747096"/>
                <a:gd name="connsiteX23" fmla="*/ 0 w 6598025"/>
                <a:gd name="connsiteY23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97690 w 6598025"/>
                <a:gd name="connsiteY2" fmla="*/ 104069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684387 w 6598025"/>
                <a:gd name="connsiteY7" fmla="*/ 8655 h 747096"/>
                <a:gd name="connsiteX8" fmla="*/ 3737885 w 6598025"/>
                <a:gd name="connsiteY8" fmla="*/ 2499 h 747096"/>
                <a:gd name="connsiteX9" fmla="*/ 4308408 w 6598025"/>
                <a:gd name="connsiteY9" fmla="*/ 6401 h 747096"/>
                <a:gd name="connsiteX10" fmla="*/ 4999171 w 6598025"/>
                <a:gd name="connsiteY10" fmla="*/ 3917 h 747096"/>
                <a:gd name="connsiteX11" fmla="*/ 6598025 w 6598025"/>
                <a:gd name="connsiteY11" fmla="*/ 0 h 747096"/>
                <a:gd name="connsiteX12" fmla="*/ 6598025 w 6598025"/>
                <a:gd name="connsiteY12" fmla="*/ 744212 h 747096"/>
                <a:gd name="connsiteX13" fmla="*/ 4469233 w 6598025"/>
                <a:gd name="connsiteY13" fmla="*/ 747096 h 747096"/>
                <a:gd name="connsiteX14" fmla="*/ 4244238 w 6598025"/>
                <a:gd name="connsiteY14" fmla="*/ 747096 h 747096"/>
                <a:gd name="connsiteX15" fmla="*/ 4169240 w 6598025"/>
                <a:gd name="connsiteY15" fmla="*/ 747096 h 747096"/>
                <a:gd name="connsiteX16" fmla="*/ 3748097 w 6598025"/>
                <a:gd name="connsiteY16" fmla="*/ 735558 h 747096"/>
                <a:gd name="connsiteX17" fmla="*/ 3470612 w 6598025"/>
                <a:gd name="connsiteY17" fmla="*/ 720010 h 747096"/>
                <a:gd name="connsiteX18" fmla="*/ 3174073 w 6598025"/>
                <a:gd name="connsiteY18" fmla="*/ 698552 h 747096"/>
                <a:gd name="connsiteX19" fmla="*/ 2804851 w 6598025"/>
                <a:gd name="connsiteY19" fmla="*/ 652832 h 747096"/>
                <a:gd name="connsiteX20" fmla="*/ 2611587 w 6598025"/>
                <a:gd name="connsiteY20" fmla="*/ 631714 h 747096"/>
                <a:gd name="connsiteX21" fmla="*/ 2354863 w 6598025"/>
                <a:gd name="connsiteY21" fmla="*/ 602869 h 747096"/>
                <a:gd name="connsiteX22" fmla="*/ 1829876 w 6598025"/>
                <a:gd name="connsiteY22" fmla="*/ 522102 h 747096"/>
                <a:gd name="connsiteX23" fmla="*/ 0 w 6598025"/>
                <a:gd name="connsiteY23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97690 w 6598025"/>
                <a:gd name="connsiteY2" fmla="*/ 104069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684387 w 6598025"/>
                <a:gd name="connsiteY7" fmla="*/ 8655 h 747096"/>
                <a:gd name="connsiteX8" fmla="*/ 3737885 w 6598025"/>
                <a:gd name="connsiteY8" fmla="*/ 2499 h 747096"/>
                <a:gd name="connsiteX9" fmla="*/ 4308408 w 6598025"/>
                <a:gd name="connsiteY9" fmla="*/ 6401 h 747096"/>
                <a:gd name="connsiteX10" fmla="*/ 4999171 w 6598025"/>
                <a:gd name="connsiteY10" fmla="*/ 3917 h 747096"/>
                <a:gd name="connsiteX11" fmla="*/ 6598025 w 6598025"/>
                <a:gd name="connsiteY11" fmla="*/ 0 h 747096"/>
                <a:gd name="connsiteX12" fmla="*/ 6598025 w 6598025"/>
                <a:gd name="connsiteY12" fmla="*/ 744212 h 747096"/>
                <a:gd name="connsiteX13" fmla="*/ 4469233 w 6598025"/>
                <a:gd name="connsiteY13" fmla="*/ 747096 h 747096"/>
                <a:gd name="connsiteX14" fmla="*/ 4244238 w 6598025"/>
                <a:gd name="connsiteY14" fmla="*/ 747096 h 747096"/>
                <a:gd name="connsiteX15" fmla="*/ 4169240 w 6598025"/>
                <a:gd name="connsiteY15" fmla="*/ 747096 h 747096"/>
                <a:gd name="connsiteX16" fmla="*/ 3748097 w 6598025"/>
                <a:gd name="connsiteY16" fmla="*/ 735558 h 747096"/>
                <a:gd name="connsiteX17" fmla="*/ 3470612 w 6598025"/>
                <a:gd name="connsiteY17" fmla="*/ 720010 h 747096"/>
                <a:gd name="connsiteX18" fmla="*/ 3174073 w 6598025"/>
                <a:gd name="connsiteY18" fmla="*/ 698552 h 747096"/>
                <a:gd name="connsiteX19" fmla="*/ 2804851 w 6598025"/>
                <a:gd name="connsiteY19" fmla="*/ 652832 h 747096"/>
                <a:gd name="connsiteX20" fmla="*/ 2611587 w 6598025"/>
                <a:gd name="connsiteY20" fmla="*/ 631714 h 747096"/>
                <a:gd name="connsiteX21" fmla="*/ 2354863 w 6598025"/>
                <a:gd name="connsiteY21" fmla="*/ 602869 h 747096"/>
                <a:gd name="connsiteX22" fmla="*/ 1829876 w 6598025"/>
                <a:gd name="connsiteY22" fmla="*/ 522102 h 747096"/>
                <a:gd name="connsiteX23" fmla="*/ 0 w 6598025"/>
                <a:gd name="connsiteY23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97690 w 6598025"/>
                <a:gd name="connsiteY2" fmla="*/ 104069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684387 w 6598025"/>
                <a:gd name="connsiteY7" fmla="*/ 8655 h 747096"/>
                <a:gd name="connsiteX8" fmla="*/ 3737885 w 6598025"/>
                <a:gd name="connsiteY8" fmla="*/ 2499 h 747096"/>
                <a:gd name="connsiteX9" fmla="*/ 4308408 w 6598025"/>
                <a:gd name="connsiteY9" fmla="*/ 6401 h 747096"/>
                <a:gd name="connsiteX10" fmla="*/ 4999171 w 6598025"/>
                <a:gd name="connsiteY10" fmla="*/ 3917 h 747096"/>
                <a:gd name="connsiteX11" fmla="*/ 6598025 w 6598025"/>
                <a:gd name="connsiteY11" fmla="*/ 0 h 747096"/>
                <a:gd name="connsiteX12" fmla="*/ 6598025 w 6598025"/>
                <a:gd name="connsiteY12" fmla="*/ 744212 h 747096"/>
                <a:gd name="connsiteX13" fmla="*/ 4469233 w 6598025"/>
                <a:gd name="connsiteY13" fmla="*/ 747096 h 747096"/>
                <a:gd name="connsiteX14" fmla="*/ 4244238 w 6598025"/>
                <a:gd name="connsiteY14" fmla="*/ 747096 h 747096"/>
                <a:gd name="connsiteX15" fmla="*/ 4169240 w 6598025"/>
                <a:gd name="connsiteY15" fmla="*/ 747096 h 747096"/>
                <a:gd name="connsiteX16" fmla="*/ 3748097 w 6598025"/>
                <a:gd name="connsiteY16" fmla="*/ 735558 h 747096"/>
                <a:gd name="connsiteX17" fmla="*/ 3470612 w 6598025"/>
                <a:gd name="connsiteY17" fmla="*/ 720010 h 747096"/>
                <a:gd name="connsiteX18" fmla="*/ 3174073 w 6598025"/>
                <a:gd name="connsiteY18" fmla="*/ 698552 h 747096"/>
                <a:gd name="connsiteX19" fmla="*/ 2611587 w 6598025"/>
                <a:gd name="connsiteY19" fmla="*/ 631714 h 747096"/>
                <a:gd name="connsiteX20" fmla="*/ 2354863 w 6598025"/>
                <a:gd name="connsiteY20" fmla="*/ 602869 h 747096"/>
                <a:gd name="connsiteX21" fmla="*/ 1829876 w 6598025"/>
                <a:gd name="connsiteY21" fmla="*/ 522102 h 747096"/>
                <a:gd name="connsiteX22" fmla="*/ 0 w 6598025"/>
                <a:gd name="connsiteY22" fmla="*/ 165450 h 747096"/>
                <a:gd name="connsiteX0" fmla="*/ 0 w 6598025"/>
                <a:gd name="connsiteY0" fmla="*/ 165450 h 747096"/>
                <a:gd name="connsiteX1" fmla="*/ 330362 w 6598025"/>
                <a:gd name="connsiteY1" fmla="*/ 145127 h 747096"/>
                <a:gd name="connsiteX2" fmla="*/ 797690 w 6598025"/>
                <a:gd name="connsiteY2" fmla="*/ 104069 h 747096"/>
                <a:gd name="connsiteX3" fmla="*/ 1295985 w 6598025"/>
                <a:gd name="connsiteY3" fmla="*/ 74281 h 747096"/>
                <a:gd name="connsiteX4" fmla="*/ 1585317 w 6598025"/>
                <a:gd name="connsiteY4" fmla="*/ 56975 h 747096"/>
                <a:gd name="connsiteX5" fmla="*/ 1886701 w 6598025"/>
                <a:gd name="connsiteY5" fmla="*/ 37663 h 747096"/>
                <a:gd name="connsiteX6" fmla="*/ 2184469 w 6598025"/>
                <a:gd name="connsiteY6" fmla="*/ 28460 h 747096"/>
                <a:gd name="connsiteX7" fmla="*/ 2684387 w 6598025"/>
                <a:gd name="connsiteY7" fmla="*/ 8655 h 747096"/>
                <a:gd name="connsiteX8" fmla="*/ 3737885 w 6598025"/>
                <a:gd name="connsiteY8" fmla="*/ 2499 h 747096"/>
                <a:gd name="connsiteX9" fmla="*/ 4308408 w 6598025"/>
                <a:gd name="connsiteY9" fmla="*/ 6401 h 747096"/>
                <a:gd name="connsiteX10" fmla="*/ 4999171 w 6598025"/>
                <a:gd name="connsiteY10" fmla="*/ 3917 h 747096"/>
                <a:gd name="connsiteX11" fmla="*/ 6598025 w 6598025"/>
                <a:gd name="connsiteY11" fmla="*/ 0 h 747096"/>
                <a:gd name="connsiteX12" fmla="*/ 6598025 w 6598025"/>
                <a:gd name="connsiteY12" fmla="*/ 744212 h 747096"/>
                <a:gd name="connsiteX13" fmla="*/ 4469233 w 6598025"/>
                <a:gd name="connsiteY13" fmla="*/ 747096 h 747096"/>
                <a:gd name="connsiteX14" fmla="*/ 4244238 w 6598025"/>
                <a:gd name="connsiteY14" fmla="*/ 747096 h 747096"/>
                <a:gd name="connsiteX15" fmla="*/ 3748097 w 6598025"/>
                <a:gd name="connsiteY15" fmla="*/ 735558 h 747096"/>
                <a:gd name="connsiteX16" fmla="*/ 3470612 w 6598025"/>
                <a:gd name="connsiteY16" fmla="*/ 720010 h 747096"/>
                <a:gd name="connsiteX17" fmla="*/ 3174073 w 6598025"/>
                <a:gd name="connsiteY17" fmla="*/ 698552 h 747096"/>
                <a:gd name="connsiteX18" fmla="*/ 2611587 w 6598025"/>
                <a:gd name="connsiteY18" fmla="*/ 631714 h 747096"/>
                <a:gd name="connsiteX19" fmla="*/ 2354863 w 6598025"/>
                <a:gd name="connsiteY19" fmla="*/ 602869 h 747096"/>
                <a:gd name="connsiteX20" fmla="*/ 1829876 w 6598025"/>
                <a:gd name="connsiteY20" fmla="*/ 522102 h 747096"/>
                <a:gd name="connsiteX21" fmla="*/ 0 w 6598025"/>
                <a:gd name="connsiteY21" fmla="*/ 165450 h 74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598025" h="747096">
                  <a:moveTo>
                    <a:pt x="0" y="165450"/>
                  </a:moveTo>
                  <a:lnTo>
                    <a:pt x="330362" y="145127"/>
                  </a:lnTo>
                  <a:lnTo>
                    <a:pt x="797690" y="104069"/>
                  </a:lnTo>
                  <a:lnTo>
                    <a:pt x="1295985" y="74281"/>
                  </a:lnTo>
                  <a:lnTo>
                    <a:pt x="1585317" y="56975"/>
                  </a:lnTo>
                  <a:lnTo>
                    <a:pt x="1886701" y="37663"/>
                  </a:lnTo>
                  <a:cubicBezTo>
                    <a:pt x="1989691" y="33291"/>
                    <a:pt x="2083352" y="29743"/>
                    <a:pt x="2184469" y="28460"/>
                  </a:cubicBezTo>
                  <a:lnTo>
                    <a:pt x="2684387" y="8655"/>
                  </a:lnTo>
                  <a:lnTo>
                    <a:pt x="3737885" y="2499"/>
                  </a:lnTo>
                  <a:lnTo>
                    <a:pt x="4308408" y="6401"/>
                  </a:lnTo>
                  <a:lnTo>
                    <a:pt x="4999171" y="3917"/>
                  </a:lnTo>
                  <a:lnTo>
                    <a:pt x="6598025" y="0"/>
                  </a:lnTo>
                  <a:lnTo>
                    <a:pt x="6598025" y="744212"/>
                  </a:lnTo>
                  <a:lnTo>
                    <a:pt x="4469233" y="747096"/>
                  </a:lnTo>
                  <a:lnTo>
                    <a:pt x="4244238" y="747096"/>
                  </a:lnTo>
                  <a:lnTo>
                    <a:pt x="3748097" y="735558"/>
                  </a:lnTo>
                  <a:cubicBezTo>
                    <a:pt x="3631659" y="731044"/>
                    <a:pt x="3563107" y="725193"/>
                    <a:pt x="3470612" y="720010"/>
                  </a:cubicBezTo>
                  <a:lnTo>
                    <a:pt x="3174073" y="698552"/>
                  </a:lnTo>
                  <a:lnTo>
                    <a:pt x="2611587" y="631714"/>
                  </a:lnTo>
                  <a:lnTo>
                    <a:pt x="2354863" y="602869"/>
                  </a:lnTo>
                  <a:lnTo>
                    <a:pt x="1829876" y="522102"/>
                  </a:lnTo>
                  <a:lnTo>
                    <a:pt x="0" y="16545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6" name="Group 45" hidden="1"/>
          <p:cNvGrpSpPr/>
          <p:nvPr userDrawn="1"/>
        </p:nvGrpSpPr>
        <p:grpSpPr>
          <a:xfrm>
            <a:off x="-250426" y="-248204"/>
            <a:ext cx="12579836" cy="10338568"/>
            <a:chOff x="-94871" y="-186153"/>
            <a:chExt cx="9248972" cy="7753926"/>
          </a:xfrm>
        </p:grpSpPr>
        <p:sp>
          <p:nvSpPr>
            <p:cNvPr id="42" name="Freeform 41"/>
            <p:cNvSpPr>
              <a:spLocks/>
            </p:cNvSpPr>
            <p:nvPr userDrawn="1"/>
          </p:nvSpPr>
          <p:spPr bwMode="auto">
            <a:xfrm rot="7359879">
              <a:off x="1731890" y="23803"/>
              <a:ext cx="5937912" cy="8456220"/>
            </a:xfrm>
            <a:custGeom>
              <a:avLst/>
              <a:gdLst>
                <a:gd name="connsiteX0" fmla="*/ 1576791 w 5937912"/>
                <a:gd name="connsiteY0" fmla="*/ 5964846 h 8456220"/>
                <a:gd name="connsiteX1" fmla="*/ 1122616 w 5937912"/>
                <a:gd name="connsiteY1" fmla="*/ 5153283 h 8456220"/>
                <a:gd name="connsiteX2" fmla="*/ 1317 w 5937912"/>
                <a:gd name="connsiteY2" fmla="*/ 860987 h 8456220"/>
                <a:gd name="connsiteX3" fmla="*/ 0 w 5937912"/>
                <a:gd name="connsiteY3" fmla="*/ 841677 h 8456220"/>
                <a:gd name="connsiteX4" fmla="*/ 1312826 w 5937912"/>
                <a:gd name="connsiteY4" fmla="*/ 0 h 8456220"/>
                <a:gd name="connsiteX5" fmla="*/ 5937912 w 5937912"/>
                <a:gd name="connsiteY5" fmla="*/ 7214097 h 8456220"/>
                <a:gd name="connsiteX6" fmla="*/ 4000477 w 5937912"/>
                <a:gd name="connsiteY6" fmla="*/ 8456220 h 8456220"/>
                <a:gd name="connsiteX7" fmla="*/ 3905396 w 5937912"/>
                <a:gd name="connsiteY7" fmla="*/ 8407067 h 8456220"/>
                <a:gd name="connsiteX8" fmla="*/ 2139968 w 5937912"/>
                <a:gd name="connsiteY8" fmla="*/ 6776410 h 8456220"/>
                <a:gd name="connsiteX9" fmla="*/ 1576791 w 5937912"/>
                <a:gd name="connsiteY9" fmla="*/ 5964846 h 8456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37912" h="8456220">
                  <a:moveTo>
                    <a:pt x="1576791" y="5964846"/>
                  </a:moveTo>
                  <a:cubicBezTo>
                    <a:pt x="1413288" y="5706622"/>
                    <a:pt x="1267952" y="5448397"/>
                    <a:pt x="1122616" y="5153283"/>
                  </a:cubicBezTo>
                  <a:cubicBezTo>
                    <a:pt x="526510" y="3821811"/>
                    <a:pt x="126002" y="2391045"/>
                    <a:pt x="1317" y="860987"/>
                  </a:cubicBezTo>
                  <a:lnTo>
                    <a:pt x="0" y="841677"/>
                  </a:lnTo>
                  <a:lnTo>
                    <a:pt x="1312826" y="0"/>
                  </a:lnTo>
                  <a:lnTo>
                    <a:pt x="5937912" y="7214097"/>
                  </a:lnTo>
                  <a:lnTo>
                    <a:pt x="4000477" y="8456220"/>
                  </a:lnTo>
                  <a:lnTo>
                    <a:pt x="3905396" y="8407067"/>
                  </a:lnTo>
                  <a:cubicBezTo>
                    <a:pt x="3286760" y="8050243"/>
                    <a:pt x="2684978" y="7514195"/>
                    <a:pt x="2139968" y="6776410"/>
                  </a:cubicBezTo>
                  <a:cubicBezTo>
                    <a:pt x="1921964" y="6481296"/>
                    <a:pt x="1740294" y="6223071"/>
                    <a:pt x="1576791" y="5964846"/>
                  </a:cubicBezTo>
                  <a:close/>
                </a:path>
              </a:pathLst>
            </a:custGeom>
            <a:solidFill>
              <a:srgbClr val="0095D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400" dirty="0">
                <a:solidFill>
                  <a:srgbClr val="444492"/>
                </a:solidFill>
              </a:endParaRPr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 rot="10800000">
              <a:off x="-580" y="1976715"/>
              <a:ext cx="9154681" cy="3160320"/>
            </a:xfrm>
            <a:custGeom>
              <a:avLst/>
              <a:gdLst>
                <a:gd name="connsiteX0" fmla="*/ 0 w 9154681"/>
                <a:gd name="connsiteY0" fmla="*/ 3360626 h 3360626"/>
                <a:gd name="connsiteX1" fmla="*/ 0 w 9154681"/>
                <a:gd name="connsiteY1" fmla="*/ 0 h 3360626"/>
                <a:gd name="connsiteX2" fmla="*/ 8936232 w 9154681"/>
                <a:gd name="connsiteY2" fmla="*/ 0 h 3360626"/>
                <a:gd name="connsiteX3" fmla="*/ 9014405 w 9154681"/>
                <a:gd name="connsiteY3" fmla="*/ 84036 h 3360626"/>
                <a:gd name="connsiteX4" fmla="*/ 9154681 w 9154681"/>
                <a:gd name="connsiteY4" fmla="*/ 249114 h 3360626"/>
                <a:gd name="connsiteX5" fmla="*/ 9154681 w 9154681"/>
                <a:gd name="connsiteY5" fmla="*/ 2283670 h 3360626"/>
                <a:gd name="connsiteX6" fmla="*/ 9076403 w 9154681"/>
                <a:gd name="connsiteY6" fmla="*/ 2244605 h 3360626"/>
                <a:gd name="connsiteX7" fmla="*/ 65356 w 9154681"/>
                <a:gd name="connsiteY7" fmla="*/ 3357654 h 336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4681" h="3360626">
                  <a:moveTo>
                    <a:pt x="0" y="3360626"/>
                  </a:moveTo>
                  <a:lnTo>
                    <a:pt x="0" y="0"/>
                  </a:lnTo>
                  <a:lnTo>
                    <a:pt x="8936232" y="0"/>
                  </a:lnTo>
                  <a:lnTo>
                    <a:pt x="9014405" y="84036"/>
                  </a:lnTo>
                  <a:lnTo>
                    <a:pt x="9154681" y="249114"/>
                  </a:lnTo>
                  <a:lnTo>
                    <a:pt x="9154681" y="2283670"/>
                  </a:lnTo>
                  <a:lnTo>
                    <a:pt x="9076403" y="2244605"/>
                  </a:lnTo>
                  <a:cubicBezTo>
                    <a:pt x="6226987" y="898485"/>
                    <a:pt x="3159170" y="3123495"/>
                    <a:pt x="65356" y="3357654"/>
                  </a:cubicBezTo>
                  <a:close/>
                </a:path>
              </a:pathLst>
            </a:custGeom>
            <a:solidFill>
              <a:srgbClr val="81BC55"/>
            </a:solidFill>
            <a:ln w="7302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400" dirty="0">
                <a:solidFill>
                  <a:srgbClr val="444492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 rot="18440126" flipH="1">
              <a:off x="611114" y="-892138"/>
              <a:ext cx="7753926" cy="9165895"/>
            </a:xfrm>
            <a:custGeom>
              <a:avLst/>
              <a:gdLst>
                <a:gd name="connsiteX0" fmla="*/ 5268899 w 7753926"/>
                <a:gd name="connsiteY0" fmla="*/ 0 h 9165895"/>
                <a:gd name="connsiteX1" fmla="*/ 5214173 w 7753926"/>
                <a:gd name="connsiteY1" fmla="*/ 74916 h 9165895"/>
                <a:gd name="connsiteX2" fmla="*/ 169182 w 7753926"/>
                <a:gd name="connsiteY2" fmla="*/ 7366223 h 9165895"/>
                <a:gd name="connsiteX3" fmla="*/ 0 w 7753926"/>
                <a:gd name="connsiteY3" fmla="*/ 7481484 h 9165895"/>
                <a:gd name="connsiteX4" fmla="*/ 2208270 w 7753926"/>
                <a:gd name="connsiteY4" fmla="*/ 9165895 h 9165895"/>
                <a:gd name="connsiteX5" fmla="*/ 7753926 w 7753926"/>
                <a:gd name="connsiteY5" fmla="*/ 1895513 h 9165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53926" h="9165895">
                  <a:moveTo>
                    <a:pt x="5268899" y="0"/>
                  </a:moveTo>
                  <a:lnTo>
                    <a:pt x="5214173" y="74916"/>
                  </a:lnTo>
                  <a:cubicBezTo>
                    <a:pt x="3566207" y="2395009"/>
                    <a:pt x="2733114" y="5526627"/>
                    <a:pt x="169182" y="7366223"/>
                  </a:cubicBezTo>
                  <a:lnTo>
                    <a:pt x="0" y="7481484"/>
                  </a:lnTo>
                  <a:lnTo>
                    <a:pt x="2208270" y="9165895"/>
                  </a:lnTo>
                  <a:lnTo>
                    <a:pt x="7753926" y="1895513"/>
                  </a:lnTo>
                  <a:close/>
                </a:path>
              </a:pathLst>
            </a:custGeom>
            <a:solidFill>
              <a:srgbClr val="134782"/>
            </a:solidFill>
            <a:ln w="6032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43" name="Title 1"/>
          <p:cNvSpPr>
            <a:spLocks noGrp="1"/>
          </p:cNvSpPr>
          <p:nvPr>
            <p:ph type="ctrTitle"/>
          </p:nvPr>
        </p:nvSpPr>
        <p:spPr>
          <a:xfrm>
            <a:off x="334436" y="4368345"/>
            <a:ext cx="11523133" cy="875369"/>
          </a:xfrm>
          <a:prstGeom prst="rect">
            <a:avLst/>
          </a:prstGeom>
        </p:spPr>
        <p:txBody>
          <a:bodyPr lIns="91436" tIns="45718" rIns="91436" bIns="45718" anchor="b">
            <a:normAutofit/>
          </a:bodyPr>
          <a:lstStyle>
            <a:lvl1pPr algn="ctr">
              <a:defRPr sz="3733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4" name="Subtitle 2"/>
          <p:cNvSpPr>
            <a:spLocks noGrp="1"/>
          </p:cNvSpPr>
          <p:nvPr>
            <p:ph type="subTitle" idx="1"/>
          </p:nvPr>
        </p:nvSpPr>
        <p:spPr>
          <a:xfrm>
            <a:off x="334436" y="5444355"/>
            <a:ext cx="11523133" cy="615796"/>
          </a:xfrm>
          <a:prstGeom prst="rect">
            <a:avLst/>
          </a:prstGeom>
          <a:noFill/>
        </p:spPr>
        <p:txBody>
          <a:bodyPr lIns="91436" tIns="45718" rIns="91436" bIns="45718" anchor="b">
            <a:normAutofit/>
          </a:bodyPr>
          <a:lstStyle>
            <a:lvl1pPr marL="0" indent="0" algn="ctr"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6275" y="334520"/>
            <a:ext cx="1873504" cy="401869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9783473" y="277771"/>
            <a:ext cx="0" cy="515368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7" name="Footer Placeholder 2">
            <a:extLst>
              <a:ext uri="{FF2B5EF4-FFF2-40B4-BE49-F238E27FC236}">
                <a16:creationId xmlns="" xmlns:a16="http://schemas.microsoft.com/office/drawing/2014/main" id="{AC8AB1B8-F7E7-4C7C-9963-56E2293E6530}"/>
              </a:ext>
            </a:extLst>
          </p:cNvPr>
          <p:cNvSpPr txBox="1">
            <a:spLocks/>
          </p:cNvSpPr>
          <p:nvPr userDrawn="1"/>
        </p:nvSpPr>
        <p:spPr>
          <a:xfrm>
            <a:off x="4237792" y="6640198"/>
            <a:ext cx="3708000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en-US" sz="700" dirty="0">
                <a:solidFill>
                  <a:srgbClr val="FFFFFF"/>
                </a:solidFill>
              </a:rPr>
              <a:t>FOR INTERNAL USE ONLY  –  DO NOT DISTRIBUTE OR USE IN PROMOTION 			</a:t>
            </a:r>
            <a:endParaRPr lang="en-GB" sz="7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372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 hidden="1"/>
          <p:cNvGrpSpPr/>
          <p:nvPr userDrawn="1"/>
        </p:nvGrpSpPr>
        <p:grpSpPr>
          <a:xfrm>
            <a:off x="-250426" y="-248204"/>
            <a:ext cx="12579836" cy="10338568"/>
            <a:chOff x="-94871" y="-186153"/>
            <a:chExt cx="9248972" cy="7753926"/>
          </a:xfrm>
        </p:grpSpPr>
        <p:sp>
          <p:nvSpPr>
            <p:cNvPr id="42" name="Freeform 41"/>
            <p:cNvSpPr>
              <a:spLocks/>
            </p:cNvSpPr>
            <p:nvPr userDrawn="1"/>
          </p:nvSpPr>
          <p:spPr bwMode="auto">
            <a:xfrm rot="7359879">
              <a:off x="1731890" y="23803"/>
              <a:ext cx="5937912" cy="8456220"/>
            </a:xfrm>
            <a:custGeom>
              <a:avLst/>
              <a:gdLst>
                <a:gd name="connsiteX0" fmla="*/ 1576791 w 5937912"/>
                <a:gd name="connsiteY0" fmla="*/ 5964846 h 8456220"/>
                <a:gd name="connsiteX1" fmla="*/ 1122616 w 5937912"/>
                <a:gd name="connsiteY1" fmla="*/ 5153283 h 8456220"/>
                <a:gd name="connsiteX2" fmla="*/ 1317 w 5937912"/>
                <a:gd name="connsiteY2" fmla="*/ 860987 h 8456220"/>
                <a:gd name="connsiteX3" fmla="*/ 0 w 5937912"/>
                <a:gd name="connsiteY3" fmla="*/ 841677 h 8456220"/>
                <a:gd name="connsiteX4" fmla="*/ 1312826 w 5937912"/>
                <a:gd name="connsiteY4" fmla="*/ 0 h 8456220"/>
                <a:gd name="connsiteX5" fmla="*/ 5937912 w 5937912"/>
                <a:gd name="connsiteY5" fmla="*/ 7214097 h 8456220"/>
                <a:gd name="connsiteX6" fmla="*/ 4000477 w 5937912"/>
                <a:gd name="connsiteY6" fmla="*/ 8456220 h 8456220"/>
                <a:gd name="connsiteX7" fmla="*/ 3905396 w 5937912"/>
                <a:gd name="connsiteY7" fmla="*/ 8407067 h 8456220"/>
                <a:gd name="connsiteX8" fmla="*/ 2139968 w 5937912"/>
                <a:gd name="connsiteY8" fmla="*/ 6776410 h 8456220"/>
                <a:gd name="connsiteX9" fmla="*/ 1576791 w 5937912"/>
                <a:gd name="connsiteY9" fmla="*/ 5964846 h 8456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37912" h="8456220">
                  <a:moveTo>
                    <a:pt x="1576791" y="5964846"/>
                  </a:moveTo>
                  <a:cubicBezTo>
                    <a:pt x="1413288" y="5706622"/>
                    <a:pt x="1267952" y="5448397"/>
                    <a:pt x="1122616" y="5153283"/>
                  </a:cubicBezTo>
                  <a:cubicBezTo>
                    <a:pt x="526510" y="3821811"/>
                    <a:pt x="126002" y="2391045"/>
                    <a:pt x="1317" y="860987"/>
                  </a:cubicBezTo>
                  <a:lnTo>
                    <a:pt x="0" y="841677"/>
                  </a:lnTo>
                  <a:lnTo>
                    <a:pt x="1312826" y="0"/>
                  </a:lnTo>
                  <a:lnTo>
                    <a:pt x="5937912" y="7214097"/>
                  </a:lnTo>
                  <a:lnTo>
                    <a:pt x="4000477" y="8456220"/>
                  </a:lnTo>
                  <a:lnTo>
                    <a:pt x="3905396" y="8407067"/>
                  </a:lnTo>
                  <a:cubicBezTo>
                    <a:pt x="3286760" y="8050243"/>
                    <a:pt x="2684978" y="7514195"/>
                    <a:pt x="2139968" y="6776410"/>
                  </a:cubicBezTo>
                  <a:cubicBezTo>
                    <a:pt x="1921964" y="6481296"/>
                    <a:pt x="1740294" y="6223071"/>
                    <a:pt x="1576791" y="5964846"/>
                  </a:cubicBezTo>
                  <a:close/>
                </a:path>
              </a:pathLst>
            </a:custGeom>
            <a:solidFill>
              <a:srgbClr val="0095D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400" dirty="0">
                <a:solidFill>
                  <a:srgbClr val="444492"/>
                </a:solidFill>
              </a:endParaRPr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 rot="10800000">
              <a:off x="-580" y="1976715"/>
              <a:ext cx="9154681" cy="3160320"/>
            </a:xfrm>
            <a:custGeom>
              <a:avLst/>
              <a:gdLst>
                <a:gd name="connsiteX0" fmla="*/ 0 w 9154681"/>
                <a:gd name="connsiteY0" fmla="*/ 3360626 h 3360626"/>
                <a:gd name="connsiteX1" fmla="*/ 0 w 9154681"/>
                <a:gd name="connsiteY1" fmla="*/ 0 h 3360626"/>
                <a:gd name="connsiteX2" fmla="*/ 8936232 w 9154681"/>
                <a:gd name="connsiteY2" fmla="*/ 0 h 3360626"/>
                <a:gd name="connsiteX3" fmla="*/ 9014405 w 9154681"/>
                <a:gd name="connsiteY3" fmla="*/ 84036 h 3360626"/>
                <a:gd name="connsiteX4" fmla="*/ 9154681 w 9154681"/>
                <a:gd name="connsiteY4" fmla="*/ 249114 h 3360626"/>
                <a:gd name="connsiteX5" fmla="*/ 9154681 w 9154681"/>
                <a:gd name="connsiteY5" fmla="*/ 2283670 h 3360626"/>
                <a:gd name="connsiteX6" fmla="*/ 9076403 w 9154681"/>
                <a:gd name="connsiteY6" fmla="*/ 2244605 h 3360626"/>
                <a:gd name="connsiteX7" fmla="*/ 65356 w 9154681"/>
                <a:gd name="connsiteY7" fmla="*/ 3357654 h 3360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54681" h="3360626">
                  <a:moveTo>
                    <a:pt x="0" y="3360626"/>
                  </a:moveTo>
                  <a:lnTo>
                    <a:pt x="0" y="0"/>
                  </a:lnTo>
                  <a:lnTo>
                    <a:pt x="8936232" y="0"/>
                  </a:lnTo>
                  <a:lnTo>
                    <a:pt x="9014405" y="84036"/>
                  </a:lnTo>
                  <a:lnTo>
                    <a:pt x="9154681" y="249114"/>
                  </a:lnTo>
                  <a:lnTo>
                    <a:pt x="9154681" y="2283670"/>
                  </a:lnTo>
                  <a:lnTo>
                    <a:pt x="9076403" y="2244605"/>
                  </a:lnTo>
                  <a:cubicBezTo>
                    <a:pt x="6226987" y="898485"/>
                    <a:pt x="3159170" y="3123495"/>
                    <a:pt x="65356" y="3357654"/>
                  </a:cubicBezTo>
                  <a:close/>
                </a:path>
              </a:pathLst>
            </a:custGeom>
            <a:solidFill>
              <a:srgbClr val="81BC55"/>
            </a:solidFill>
            <a:ln w="7302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400" dirty="0">
                <a:solidFill>
                  <a:srgbClr val="444492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 rot="18440126" flipH="1">
              <a:off x="611114" y="-892138"/>
              <a:ext cx="7753926" cy="9165895"/>
            </a:xfrm>
            <a:custGeom>
              <a:avLst/>
              <a:gdLst>
                <a:gd name="connsiteX0" fmla="*/ 5268899 w 7753926"/>
                <a:gd name="connsiteY0" fmla="*/ 0 h 9165895"/>
                <a:gd name="connsiteX1" fmla="*/ 5214173 w 7753926"/>
                <a:gd name="connsiteY1" fmla="*/ 74916 h 9165895"/>
                <a:gd name="connsiteX2" fmla="*/ 169182 w 7753926"/>
                <a:gd name="connsiteY2" fmla="*/ 7366223 h 9165895"/>
                <a:gd name="connsiteX3" fmla="*/ 0 w 7753926"/>
                <a:gd name="connsiteY3" fmla="*/ 7481484 h 9165895"/>
                <a:gd name="connsiteX4" fmla="*/ 2208270 w 7753926"/>
                <a:gd name="connsiteY4" fmla="*/ 9165895 h 9165895"/>
                <a:gd name="connsiteX5" fmla="*/ 7753926 w 7753926"/>
                <a:gd name="connsiteY5" fmla="*/ 1895513 h 9165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53926" h="9165895">
                  <a:moveTo>
                    <a:pt x="5268899" y="0"/>
                  </a:moveTo>
                  <a:lnTo>
                    <a:pt x="5214173" y="74916"/>
                  </a:lnTo>
                  <a:cubicBezTo>
                    <a:pt x="3566207" y="2395009"/>
                    <a:pt x="2733114" y="5526627"/>
                    <a:pt x="169182" y="7366223"/>
                  </a:cubicBezTo>
                  <a:lnTo>
                    <a:pt x="0" y="7481484"/>
                  </a:lnTo>
                  <a:lnTo>
                    <a:pt x="2208270" y="9165895"/>
                  </a:lnTo>
                  <a:lnTo>
                    <a:pt x="7753926" y="1895513"/>
                  </a:lnTo>
                  <a:close/>
                </a:path>
              </a:pathLst>
            </a:custGeom>
            <a:solidFill>
              <a:srgbClr val="134782"/>
            </a:solidFill>
            <a:ln w="60325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334436" y="2035460"/>
            <a:ext cx="11523133" cy="1920000"/>
          </a:xfrm>
          <a:prstGeom prst="rect">
            <a:avLst/>
          </a:prstGeom>
        </p:spPr>
        <p:txBody>
          <a:bodyPr lIns="91436" tIns="45718" rIns="91436" bIns="45718" anchor="b"/>
          <a:lstStyle>
            <a:lvl1pPr>
              <a:defRPr sz="2800" b="1">
                <a:solidFill>
                  <a:srgbClr val="444492"/>
                </a:solidFill>
              </a:defRPr>
            </a:lvl1pPr>
          </a:lstStyle>
          <a:p>
            <a:r>
              <a:rPr lang="en-GB" dirty="0"/>
              <a:t>Click to edit Divider title styl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6275" y="334520"/>
            <a:ext cx="1873504" cy="401869"/>
          </a:xfrm>
          <a:prstGeom prst="rect">
            <a:avLst/>
          </a:prstGeom>
        </p:spPr>
      </p:pic>
      <p:cxnSp>
        <p:nvCxnSpPr>
          <p:cNvPr id="23" name="Straight Connector 22"/>
          <p:cNvCxnSpPr/>
          <p:nvPr userDrawn="1"/>
        </p:nvCxnSpPr>
        <p:spPr>
          <a:xfrm>
            <a:off x="9783473" y="277771"/>
            <a:ext cx="0" cy="515368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33699" y="6346195"/>
            <a:ext cx="2823887" cy="360096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93A60AA-2399-48DC-9473-E7280D604B21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413"/>
          <a:stretch/>
        </p:blipFill>
        <p:spPr bwMode="auto">
          <a:xfrm>
            <a:off x="-16934" y="4521201"/>
            <a:ext cx="12225867" cy="233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Footer Placeholder 2">
            <a:extLst>
              <a:ext uri="{FF2B5EF4-FFF2-40B4-BE49-F238E27FC236}">
                <a16:creationId xmlns="" xmlns:a16="http://schemas.microsoft.com/office/drawing/2014/main" id="{AC8AB1B8-F7E7-4C7C-9963-56E2293E6530}"/>
              </a:ext>
            </a:extLst>
          </p:cNvPr>
          <p:cNvSpPr txBox="1">
            <a:spLocks/>
          </p:cNvSpPr>
          <p:nvPr userDrawn="1"/>
        </p:nvSpPr>
        <p:spPr>
          <a:xfrm>
            <a:off x="4237792" y="6640198"/>
            <a:ext cx="3708000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en-US" sz="700" dirty="0">
                <a:solidFill>
                  <a:srgbClr val="FFFFFF"/>
                </a:solidFill>
              </a:rPr>
              <a:t>FOR INTERNAL USE ONLY  –  DO NOT DISTRIBUTE OR USE IN PROMOTION 			</a:t>
            </a:r>
            <a:endParaRPr lang="en-GB" sz="7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29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 userDrawn="1">
            <p:ph idx="1"/>
          </p:nvPr>
        </p:nvSpPr>
        <p:spPr>
          <a:xfrm>
            <a:off x="740836" y="1030829"/>
            <a:ext cx="11116733" cy="4415367"/>
          </a:xfrm>
          <a:prstGeom prst="rect">
            <a:avLst/>
          </a:prstGeom>
        </p:spPr>
        <p:txBody>
          <a:bodyPr lIns="91436" tIns="45718" rIns="91436" bIns="45718">
            <a:noAutofit/>
          </a:bodyPr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2133">
                <a:solidFill>
                  <a:srgbClr val="596169"/>
                </a:solidFill>
              </a:defRPr>
            </a:lvl1pPr>
            <a:lvl2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867">
                <a:solidFill>
                  <a:srgbClr val="596169"/>
                </a:solidFill>
              </a:defRPr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3pPr>
            <a:lvl4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4pPr>
            <a:lvl5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75781" y="5621780"/>
            <a:ext cx="5606424" cy="381000"/>
          </a:xfrm>
          <a:prstGeom prst="rect">
            <a:avLst/>
          </a:prstGeom>
        </p:spPr>
        <p:txBody>
          <a:bodyPr lIns="91436" tIns="45718" rIns="91436" bIns="45718" anchor="b">
            <a:noAutofit/>
          </a:bodyPr>
          <a:lstStyle>
            <a:lvl1pPr marL="0" indent="0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Footnotes</a:t>
            </a:r>
          </a:p>
        </p:txBody>
      </p:sp>
      <p:sp>
        <p:nvSpPr>
          <p:cNvPr id="18" name="Text Placeholder 5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209792" y="5621780"/>
            <a:ext cx="5647773" cy="381000"/>
          </a:xfrm>
          <a:prstGeom prst="rect">
            <a:avLst/>
          </a:prstGeom>
        </p:spPr>
        <p:txBody>
          <a:bodyPr lIns="91436" tIns="45718" rIns="91436" bIns="45718" anchor="b">
            <a:noAutofit/>
          </a:bodyPr>
          <a:lstStyle>
            <a:lvl1pPr marL="0" indent="0" algn="r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Referenc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-4305" y="6351341"/>
            <a:ext cx="12196308" cy="506659"/>
            <a:chOff x="-3231" y="4763506"/>
            <a:chExt cx="9147231" cy="379994"/>
          </a:xfrm>
        </p:grpSpPr>
        <p:sp>
          <p:nvSpPr>
            <p:cNvPr id="3" name="Freeform 2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  <p:sp>
          <p:nvSpPr>
            <p:cNvPr id="4" name="Freeform 3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033699" y="6346195"/>
            <a:ext cx="2823887" cy="360096"/>
          </a:xfrm>
          <a:prstGeom prst="rect">
            <a:avLst/>
          </a:prstGeom>
        </p:spPr>
        <p:txBody>
          <a:bodyPr vert="horz" lIns="121915" tIns="60957" rIns="121915" bIns="60957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333" smtClean="0">
                <a:solidFill>
                  <a:srgbClr val="FFFFFF"/>
                </a:solidFill>
              </a:rPr>
              <a:pPr/>
              <a:t>‹#›</a:t>
            </a:fld>
            <a:endParaRPr lang="en-GB" sz="1333" dirty="0">
              <a:solidFill>
                <a:srgbClr val="FFFFFF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34032" y="272734"/>
            <a:ext cx="11523537" cy="436361"/>
          </a:xfrm>
          <a:prstGeom prst="rect">
            <a:avLst/>
          </a:prstGeom>
        </p:spPr>
        <p:txBody>
          <a:bodyPr lIns="91436" tIns="45718" rIns="91436" bIns="45718">
            <a:noAutofit/>
          </a:bodyPr>
          <a:lstStyle>
            <a:lvl1pPr marL="0" indent="0"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36"/>
            <a:ext cx="1873504" cy="401869"/>
          </a:xfrm>
          <a:prstGeom prst="rect">
            <a:avLst/>
          </a:prstGeom>
        </p:spPr>
      </p:pic>
      <p:cxnSp>
        <p:nvCxnSpPr>
          <p:cNvPr id="21" name="Straight Connector 20"/>
          <p:cNvCxnSpPr/>
          <p:nvPr userDrawn="1"/>
        </p:nvCxnSpPr>
        <p:spPr>
          <a:xfrm>
            <a:off x="383121" y="781347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4" name="Footer Placeholder 2">
            <a:extLst>
              <a:ext uri="{FF2B5EF4-FFF2-40B4-BE49-F238E27FC236}">
                <a16:creationId xmlns="" xmlns:a16="http://schemas.microsoft.com/office/drawing/2014/main" id="{AC8AB1B8-F7E7-4C7C-9963-56E2293E6530}"/>
              </a:ext>
            </a:extLst>
          </p:cNvPr>
          <p:cNvSpPr txBox="1">
            <a:spLocks/>
          </p:cNvSpPr>
          <p:nvPr userDrawn="1"/>
        </p:nvSpPr>
        <p:spPr>
          <a:xfrm>
            <a:off x="4237792" y="6640198"/>
            <a:ext cx="3708000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en-US" sz="700" dirty="0">
                <a:solidFill>
                  <a:srgbClr val="FFFFFF"/>
                </a:solidFill>
              </a:rPr>
              <a:t>FOR INTERNAL USE ONLY  –  DO NOT DISTRIBUTE OR USE IN PROMOTION 			</a:t>
            </a:r>
            <a:endParaRPr lang="en-GB" sz="7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306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740838" y="1030829"/>
            <a:ext cx="5241375" cy="4415367"/>
          </a:xfrm>
          <a:prstGeom prst="rect">
            <a:avLst/>
          </a:prstGeom>
        </p:spPr>
        <p:txBody>
          <a:bodyPr lIns="91436" tIns="45718" rIns="91436" bIns="45718">
            <a:noAutofit/>
          </a:bodyPr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2133">
                <a:solidFill>
                  <a:srgbClr val="596169"/>
                </a:solidFill>
              </a:defRPr>
            </a:lvl1pPr>
            <a:lvl2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867">
                <a:solidFill>
                  <a:srgbClr val="596169"/>
                </a:solidFill>
              </a:defRPr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3pPr>
            <a:lvl4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4pPr>
            <a:lvl5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2"/>
          </p:nvPr>
        </p:nvSpPr>
        <p:spPr>
          <a:xfrm>
            <a:off x="6209796" y="1030829"/>
            <a:ext cx="5647773" cy="4415367"/>
          </a:xfrm>
          <a:prstGeom prst="rect">
            <a:avLst/>
          </a:prstGeom>
        </p:spPr>
        <p:txBody>
          <a:bodyPr lIns="91436" tIns="45718" rIns="91436" bIns="45718">
            <a:noAutofit/>
          </a:bodyPr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2133">
                <a:solidFill>
                  <a:srgbClr val="596169"/>
                </a:solidFill>
              </a:defRPr>
            </a:lvl1pPr>
            <a:lvl2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867">
                <a:solidFill>
                  <a:srgbClr val="596169"/>
                </a:solidFill>
              </a:defRPr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3pPr>
            <a:lvl4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4pPr>
            <a:lvl5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83117" y="5621780"/>
            <a:ext cx="5599088" cy="381000"/>
          </a:xfrm>
          <a:prstGeom prst="rect">
            <a:avLst/>
          </a:prstGeom>
        </p:spPr>
        <p:txBody>
          <a:bodyPr lIns="91436" tIns="45718" rIns="91436" bIns="45718" anchor="b">
            <a:noAutofit/>
          </a:bodyPr>
          <a:lstStyle>
            <a:lvl1pPr marL="0" indent="0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Footnotes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09792" y="5621780"/>
            <a:ext cx="5647773" cy="381000"/>
          </a:xfrm>
          <a:prstGeom prst="rect">
            <a:avLst/>
          </a:prstGeom>
        </p:spPr>
        <p:txBody>
          <a:bodyPr lIns="91436" tIns="45718" rIns="91436" bIns="45718" anchor="b">
            <a:noAutofit/>
          </a:bodyPr>
          <a:lstStyle>
            <a:lvl1pPr marL="0" indent="0" algn="r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Referenc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-4305" y="6351341"/>
            <a:ext cx="12196308" cy="506659"/>
            <a:chOff x="-3231" y="4763506"/>
            <a:chExt cx="9147231" cy="379994"/>
          </a:xfrm>
        </p:grpSpPr>
        <p:sp>
          <p:nvSpPr>
            <p:cNvPr id="22" name="Freeform 21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  <p:sp>
          <p:nvSpPr>
            <p:cNvPr id="23" name="Freeform 22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334032" y="272734"/>
            <a:ext cx="11523537" cy="436361"/>
          </a:xfrm>
          <a:prstGeom prst="rect">
            <a:avLst/>
          </a:prstGeom>
        </p:spPr>
        <p:txBody>
          <a:bodyPr lIns="91436" tIns="45718" rIns="91436" bIns="45718">
            <a:noAutofit/>
          </a:bodyPr>
          <a:lstStyle>
            <a:lvl1pPr marL="0" indent="0"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Slide Number Placeholder 5"/>
          <p:cNvSpPr txBox="1">
            <a:spLocks/>
          </p:cNvSpPr>
          <p:nvPr userDrawn="1"/>
        </p:nvSpPr>
        <p:spPr>
          <a:xfrm>
            <a:off x="9033699" y="6346195"/>
            <a:ext cx="2823887" cy="360096"/>
          </a:xfrm>
          <a:prstGeom prst="rect">
            <a:avLst/>
          </a:prstGeom>
        </p:spPr>
        <p:txBody>
          <a:bodyPr vert="horz" lIns="121915" tIns="60957" rIns="121915" bIns="60957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333" smtClean="0">
                <a:solidFill>
                  <a:srgbClr val="FFFFFF"/>
                </a:solidFill>
              </a:rPr>
              <a:pPr/>
              <a:t>‹#›</a:t>
            </a:fld>
            <a:endParaRPr lang="en-GB" sz="1333" dirty="0">
              <a:solidFill>
                <a:srgbClr val="FFFFFF"/>
              </a:solidFill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36"/>
            <a:ext cx="1873504" cy="401869"/>
          </a:xfrm>
          <a:prstGeom prst="rect">
            <a:avLst/>
          </a:prstGeom>
        </p:spPr>
      </p:pic>
      <p:cxnSp>
        <p:nvCxnSpPr>
          <p:cNvPr id="31" name="Straight Connector 30"/>
          <p:cNvCxnSpPr/>
          <p:nvPr userDrawn="1"/>
        </p:nvCxnSpPr>
        <p:spPr>
          <a:xfrm>
            <a:off x="383121" y="781347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="" xmlns:a16="http://schemas.microsoft.com/office/drawing/2014/main" id="{AC8AB1B8-F7E7-4C7C-9963-56E2293E6530}"/>
              </a:ext>
            </a:extLst>
          </p:cNvPr>
          <p:cNvSpPr txBox="1">
            <a:spLocks/>
          </p:cNvSpPr>
          <p:nvPr userDrawn="1"/>
        </p:nvSpPr>
        <p:spPr>
          <a:xfrm>
            <a:off x="4237792" y="6640198"/>
            <a:ext cx="3708000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en-US" sz="700" dirty="0">
                <a:solidFill>
                  <a:srgbClr val="FFFFFF"/>
                </a:solidFill>
              </a:rPr>
              <a:t>FOR INTERNAL USE ONLY  –  DO NOT DISTRIBUTE OR USE IN PROMOTION 			</a:t>
            </a:r>
            <a:endParaRPr lang="en-GB" sz="7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848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83117" y="5621780"/>
            <a:ext cx="5599088" cy="381000"/>
          </a:xfrm>
          <a:prstGeom prst="rect">
            <a:avLst/>
          </a:prstGeom>
        </p:spPr>
        <p:txBody>
          <a:bodyPr lIns="91436" tIns="45718" rIns="91436" bIns="45718" anchor="b">
            <a:noAutofit/>
          </a:bodyPr>
          <a:lstStyle>
            <a:lvl1pPr marL="0" indent="0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Footnotes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09792" y="5621780"/>
            <a:ext cx="5647773" cy="381000"/>
          </a:xfrm>
          <a:prstGeom prst="rect">
            <a:avLst/>
          </a:prstGeom>
        </p:spPr>
        <p:txBody>
          <a:bodyPr lIns="91436" tIns="45718" rIns="91436" bIns="45718" anchor="b">
            <a:noAutofit/>
          </a:bodyPr>
          <a:lstStyle>
            <a:lvl1pPr marL="0" indent="0" algn="r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Referenc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4305" y="6351341"/>
            <a:ext cx="12196308" cy="506659"/>
            <a:chOff x="-3231" y="4763506"/>
            <a:chExt cx="9147231" cy="379994"/>
          </a:xfrm>
        </p:grpSpPr>
        <p:sp>
          <p:nvSpPr>
            <p:cNvPr id="18" name="Freeform 17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  <p:sp>
          <p:nvSpPr>
            <p:cNvPr id="19" name="Freeform 18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34032" y="272734"/>
            <a:ext cx="11523537" cy="436361"/>
          </a:xfrm>
          <a:prstGeom prst="rect">
            <a:avLst/>
          </a:prstGeom>
        </p:spPr>
        <p:txBody>
          <a:bodyPr lIns="91436" tIns="45718" rIns="91436" bIns="45718">
            <a:noAutofit/>
          </a:bodyPr>
          <a:lstStyle>
            <a:lvl1pPr marL="0" indent="0"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>
          <a:xfrm>
            <a:off x="9033699" y="6346195"/>
            <a:ext cx="2823887" cy="360096"/>
          </a:xfrm>
          <a:prstGeom prst="rect">
            <a:avLst/>
          </a:prstGeom>
        </p:spPr>
        <p:txBody>
          <a:bodyPr vert="horz" lIns="121915" tIns="60957" rIns="121915" bIns="60957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333" smtClean="0">
                <a:solidFill>
                  <a:srgbClr val="FFFFFF"/>
                </a:solidFill>
              </a:rPr>
              <a:pPr/>
              <a:t>‹#›</a:t>
            </a:fld>
            <a:endParaRPr lang="en-GB" sz="1333" dirty="0">
              <a:solidFill>
                <a:srgbClr val="FFFFFF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36"/>
            <a:ext cx="1873504" cy="401869"/>
          </a:xfrm>
          <a:prstGeom prst="rect">
            <a:avLst/>
          </a:prstGeom>
        </p:spPr>
      </p:pic>
      <p:cxnSp>
        <p:nvCxnSpPr>
          <p:cNvPr id="25" name="Straight Connector 24"/>
          <p:cNvCxnSpPr/>
          <p:nvPr userDrawn="1"/>
        </p:nvCxnSpPr>
        <p:spPr>
          <a:xfrm>
            <a:off x="383121" y="781347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61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83117" y="5621780"/>
            <a:ext cx="5599088" cy="381000"/>
          </a:xfrm>
          <a:prstGeom prst="rect">
            <a:avLst/>
          </a:prstGeom>
        </p:spPr>
        <p:txBody>
          <a:bodyPr lIns="91436" tIns="45718" rIns="91436" bIns="45718" anchor="b">
            <a:noAutofit/>
          </a:bodyPr>
          <a:lstStyle>
            <a:lvl1pPr marL="0" indent="0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Footnotes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09792" y="5621780"/>
            <a:ext cx="5647773" cy="381000"/>
          </a:xfrm>
          <a:prstGeom prst="rect">
            <a:avLst/>
          </a:prstGeom>
        </p:spPr>
        <p:txBody>
          <a:bodyPr lIns="91436" tIns="45718" rIns="91436" bIns="45718" anchor="b">
            <a:noAutofit/>
          </a:bodyPr>
          <a:lstStyle>
            <a:lvl1pPr marL="0" indent="0" algn="r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Referenc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4305" y="6351341"/>
            <a:ext cx="12196308" cy="506659"/>
            <a:chOff x="-3231" y="4763506"/>
            <a:chExt cx="9147231" cy="379994"/>
          </a:xfrm>
        </p:grpSpPr>
        <p:sp>
          <p:nvSpPr>
            <p:cNvPr id="18" name="Freeform 17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  <p:sp>
          <p:nvSpPr>
            <p:cNvPr id="19" name="Freeform 18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34032" y="272734"/>
            <a:ext cx="11523537" cy="436361"/>
          </a:xfrm>
          <a:prstGeom prst="rect">
            <a:avLst/>
          </a:prstGeom>
        </p:spPr>
        <p:txBody>
          <a:bodyPr lIns="91436" tIns="45718" rIns="91436" bIns="45718">
            <a:noAutofit/>
          </a:bodyPr>
          <a:lstStyle>
            <a:lvl1pPr marL="0" indent="0"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>
          <a:xfrm>
            <a:off x="9033699" y="6346195"/>
            <a:ext cx="2823887" cy="360096"/>
          </a:xfrm>
          <a:prstGeom prst="rect">
            <a:avLst/>
          </a:prstGeom>
        </p:spPr>
        <p:txBody>
          <a:bodyPr vert="horz" lIns="121915" tIns="60957" rIns="121915" bIns="60957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333" smtClean="0">
                <a:solidFill>
                  <a:srgbClr val="FFFFFF"/>
                </a:solidFill>
              </a:rPr>
              <a:pPr/>
              <a:t>‹#›</a:t>
            </a:fld>
            <a:endParaRPr lang="en-GB" sz="1333" dirty="0">
              <a:solidFill>
                <a:srgbClr val="FFFFFF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36"/>
            <a:ext cx="1873504" cy="401869"/>
          </a:xfrm>
          <a:prstGeom prst="rect">
            <a:avLst/>
          </a:prstGeom>
        </p:spPr>
      </p:pic>
      <p:cxnSp>
        <p:nvCxnSpPr>
          <p:cNvPr id="25" name="Straight Connector 24"/>
          <p:cNvCxnSpPr/>
          <p:nvPr userDrawn="1"/>
        </p:nvCxnSpPr>
        <p:spPr>
          <a:xfrm>
            <a:off x="383121" y="781347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="" xmlns:a16="http://schemas.microsoft.com/office/drawing/2014/main" id="{AC8AB1B8-F7E7-4C7C-9963-56E2293E6530}"/>
              </a:ext>
            </a:extLst>
          </p:cNvPr>
          <p:cNvSpPr txBox="1">
            <a:spLocks/>
          </p:cNvSpPr>
          <p:nvPr userDrawn="1"/>
        </p:nvSpPr>
        <p:spPr>
          <a:xfrm>
            <a:off x="4237792" y="6640198"/>
            <a:ext cx="3708000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en-US" sz="700" dirty="0">
                <a:solidFill>
                  <a:srgbClr val="FFFFFF"/>
                </a:solidFill>
              </a:rPr>
              <a:t>FOR INTERNAL USE ONLY  –  DO NOT DISTRIBUTE OR USE IN PROMOTION 			</a:t>
            </a:r>
            <a:endParaRPr lang="en-GB" sz="7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2082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4800" y="1219200"/>
            <a:ext cx="11582400" cy="4343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 err="1"/>
              <a:t>Cliquez</a:t>
            </a:r>
            <a:r>
              <a:rPr lang="en-GB" noProof="0" dirty="0"/>
              <a:t> pour modifier les styles du </a:t>
            </a:r>
            <a:r>
              <a:rPr lang="en-GB" noProof="0" dirty="0" err="1"/>
              <a:t>texte</a:t>
            </a:r>
            <a:r>
              <a:rPr lang="en-GB" noProof="0" dirty="0"/>
              <a:t> du masque</a:t>
            </a:r>
          </a:p>
          <a:p>
            <a:pPr lvl="1"/>
            <a:r>
              <a:rPr lang="en-GB" noProof="0" dirty="0" err="1"/>
              <a:t>Deux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2"/>
            <a:r>
              <a:rPr lang="en-GB" noProof="0" dirty="0" err="1"/>
              <a:t>Trois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3"/>
            <a:r>
              <a:rPr lang="en-GB" noProof="0" dirty="0" err="1"/>
              <a:t>Quatr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4"/>
            <a:r>
              <a:rPr lang="en-GB" noProof="0" dirty="0" err="1"/>
              <a:t>Cinqu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3" y="274637"/>
            <a:ext cx="11368724" cy="85091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5638800"/>
            <a:ext cx="9448800" cy="6096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1067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847644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anofi External COPY bg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560000" cy="1143000"/>
          </a:xfrm>
          <a:prstGeom prst="rect">
            <a:avLst/>
          </a:prstGeom>
        </p:spPr>
        <p:txBody>
          <a:bodyPr/>
          <a:lstStyle>
            <a:lvl1pPr>
              <a:defRPr sz="3733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129059"/>
            <a:ext cx="10560000" cy="3207176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0"/>
              </a:spcAft>
              <a:buClr>
                <a:srgbClr val="81BD55"/>
              </a:buClr>
              <a:defRPr sz="3200">
                <a:solidFill>
                  <a:srgbClr val="596169"/>
                </a:solidFill>
              </a:defRPr>
            </a:lvl1pPr>
            <a:lvl2pPr>
              <a:spcBef>
                <a:spcPts val="640"/>
              </a:spcBef>
              <a:spcAft>
                <a:spcPts val="0"/>
              </a:spcAft>
              <a:buClr>
                <a:srgbClr val="81BD55"/>
              </a:buClr>
              <a:defRPr sz="2667">
                <a:solidFill>
                  <a:srgbClr val="596169"/>
                </a:solidFill>
              </a:defRPr>
            </a:lvl2pPr>
            <a:lvl3pPr>
              <a:spcBef>
                <a:spcPts val="640"/>
              </a:spcBef>
              <a:spcAft>
                <a:spcPts val="0"/>
              </a:spcAft>
              <a:buClr>
                <a:srgbClr val="81BD55"/>
              </a:buClr>
              <a:defRPr sz="2400">
                <a:solidFill>
                  <a:srgbClr val="596169"/>
                </a:solidFill>
              </a:defRPr>
            </a:lvl3pPr>
            <a:lvl4pPr>
              <a:spcBef>
                <a:spcPts val="640"/>
              </a:spcBef>
              <a:spcAft>
                <a:spcPts val="0"/>
              </a:spcAft>
              <a:buClr>
                <a:srgbClr val="81BD55"/>
              </a:buClr>
              <a:defRPr sz="2400">
                <a:solidFill>
                  <a:srgbClr val="596169"/>
                </a:solidFill>
              </a:defRPr>
            </a:lvl4pPr>
            <a:lvl5pPr>
              <a:spcBef>
                <a:spcPts val="640"/>
              </a:spcBef>
              <a:spcAft>
                <a:spcPts val="0"/>
              </a:spcAft>
              <a:buClr>
                <a:srgbClr val="81BD55"/>
              </a:buClr>
              <a:defRPr sz="240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09600" y="5656387"/>
            <a:ext cx="10560000" cy="463108"/>
          </a:xfrm>
          <a:prstGeom prst="rect">
            <a:avLst/>
          </a:prstGeom>
        </p:spPr>
        <p:txBody>
          <a:bodyPr/>
          <a:lstStyle>
            <a:lvl1pPr>
              <a:defRPr sz="1067"/>
            </a:lvl1pPr>
          </a:lstStyle>
          <a:p>
            <a:endParaRPr lang="en-GB" dirty="0">
              <a:solidFill>
                <a:srgbClr val="444492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438361"/>
            <a:ext cx="10560051" cy="690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81B838"/>
                </a:solidFill>
              </a:defRPr>
            </a:lvl1pPr>
            <a:lvl2pPr>
              <a:buNone/>
              <a:defRPr>
                <a:solidFill>
                  <a:schemeClr val="tx2"/>
                </a:solidFill>
              </a:defRPr>
            </a:lvl2pPr>
            <a:lvl3pPr>
              <a:buNone/>
              <a:defRPr>
                <a:solidFill>
                  <a:schemeClr val="tx2"/>
                </a:solidFill>
              </a:defRPr>
            </a:lvl3pPr>
            <a:lvl4pPr>
              <a:buNone/>
              <a:defRPr>
                <a:solidFill>
                  <a:schemeClr val="tx2"/>
                </a:solidFill>
              </a:defRPr>
            </a:lvl4pPr>
            <a:lvl5pPr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087335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 userDrawn="1">
            <p:ph idx="1"/>
          </p:nvPr>
        </p:nvSpPr>
        <p:spPr>
          <a:xfrm>
            <a:off x="726512" y="1030819"/>
            <a:ext cx="11131057" cy="4980516"/>
          </a:xfrm>
          <a:prstGeom prst="rect">
            <a:avLst/>
          </a:prstGeom>
        </p:spPr>
        <p:txBody>
          <a:bodyPr lIns="91436" tIns="45718" rIns="91436" bIns="45718">
            <a:noAutofit/>
          </a:bodyPr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2133">
                <a:solidFill>
                  <a:srgbClr val="596169"/>
                </a:solidFill>
              </a:defRPr>
            </a:lvl1pPr>
            <a:lvl2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867">
                <a:solidFill>
                  <a:srgbClr val="596169"/>
                </a:solidFill>
              </a:defRPr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3pPr>
            <a:lvl4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4pPr>
            <a:lvl5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36"/>
            <a:ext cx="1873504" cy="401869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-4305" y="6351341"/>
            <a:ext cx="12196308" cy="506659"/>
            <a:chOff x="-3231" y="4763506"/>
            <a:chExt cx="9147231" cy="379994"/>
          </a:xfrm>
        </p:grpSpPr>
        <p:sp>
          <p:nvSpPr>
            <p:cNvPr id="3" name="Freeform 2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  <p:sp>
          <p:nvSpPr>
            <p:cNvPr id="4" name="Freeform 3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033699" y="6346195"/>
            <a:ext cx="2823887" cy="360096"/>
          </a:xfrm>
          <a:prstGeom prst="rect">
            <a:avLst/>
          </a:prstGeom>
        </p:spPr>
        <p:txBody>
          <a:bodyPr vert="horz" lIns="121915" tIns="60957" rIns="121915" bIns="60957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333" smtClean="0">
                <a:solidFill>
                  <a:srgbClr val="FFFFFF"/>
                </a:solidFill>
              </a:rPr>
              <a:pPr/>
              <a:t>‹#›</a:t>
            </a:fld>
            <a:endParaRPr lang="en-GB" sz="1333" dirty="0">
              <a:solidFill>
                <a:srgbClr val="FFFFFF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34032" y="272734"/>
            <a:ext cx="11523537" cy="436361"/>
          </a:xfrm>
          <a:prstGeom prst="rect">
            <a:avLst/>
          </a:prstGeom>
        </p:spPr>
        <p:txBody>
          <a:bodyPr lIns="91436" tIns="45718" rIns="91436" bIns="45718">
            <a:noAutofit/>
          </a:bodyPr>
          <a:lstStyle>
            <a:lvl1pPr marL="0" indent="0">
              <a:defRPr sz="3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83121" y="781347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="" xmlns:a16="http://schemas.microsoft.com/office/drawing/2014/main" id="{AC8AB1B8-F7E7-4C7C-9963-56E2293E6530}"/>
              </a:ext>
            </a:extLst>
          </p:cNvPr>
          <p:cNvSpPr txBox="1">
            <a:spLocks/>
          </p:cNvSpPr>
          <p:nvPr userDrawn="1"/>
        </p:nvSpPr>
        <p:spPr>
          <a:xfrm>
            <a:off x="4237792" y="6640198"/>
            <a:ext cx="3708000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en-US" sz="700" dirty="0">
                <a:solidFill>
                  <a:srgbClr val="FFFFFF"/>
                </a:solidFill>
              </a:rPr>
              <a:t>FOR INTERNAL USE ONLY  –  DO NOT DISTRIBUTE OR USE IN PROMOTION 			</a:t>
            </a:r>
            <a:endParaRPr lang="en-GB" sz="7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936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628" y="236540"/>
            <a:ext cx="9286409" cy="7588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15625" y="1071239"/>
            <a:ext cx="11222400" cy="5112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add Secondary title</a:t>
            </a:r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515626" y="1749383"/>
            <a:ext cx="11227109" cy="442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4930527"/>
      </p:ext>
    </p:extLst>
  </p:cSld>
  <p:clrMapOvr>
    <a:masterClrMapping/>
  </p:clrMapOvr>
  <p:transition spd="med">
    <p:wipe dir="r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7"/>
          <p:cNvSpPr>
            <a:spLocks noGrp="1"/>
          </p:cNvSpPr>
          <p:nvPr>
            <p:ph type="title"/>
          </p:nvPr>
        </p:nvSpPr>
        <p:spPr>
          <a:xfrm>
            <a:off x="326264" y="2426"/>
            <a:ext cx="10972800" cy="732335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Espace réservé du texte 18"/>
          <p:cNvSpPr>
            <a:spLocks noGrp="1"/>
          </p:cNvSpPr>
          <p:nvPr>
            <p:ph idx="1"/>
          </p:nvPr>
        </p:nvSpPr>
        <p:spPr>
          <a:xfrm>
            <a:off x="326285" y="1431732"/>
            <a:ext cx="10965404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08549" y="6355114"/>
            <a:ext cx="6035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pPr defTabSz="609585"/>
            <a:fld id="{7792293E-955E-FA4A-ADE3-619116714F24}" type="slidenum">
              <a:rPr lang="en-US" smtClean="0">
                <a:solidFill>
                  <a:srgbClr val="585856"/>
                </a:solidFill>
              </a:rPr>
              <a:pPr defTabSz="609585"/>
              <a:t>‹#›</a:t>
            </a:fld>
            <a:endParaRPr lang="en-US" dirty="0">
              <a:solidFill>
                <a:srgbClr val="5858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8790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3555" y="117918"/>
            <a:ext cx="10477500" cy="69398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42907" y="1206500"/>
            <a:ext cx="11552767" cy="14691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4501132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-4307" y="6351341"/>
            <a:ext cx="12196308" cy="506659"/>
            <a:chOff x="-3231" y="4763506"/>
            <a:chExt cx="9147231" cy="379994"/>
          </a:xfrm>
        </p:grpSpPr>
        <p:sp>
          <p:nvSpPr>
            <p:cNvPr id="18" name="Freeform 17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  <p:sp>
          <p:nvSpPr>
            <p:cNvPr id="19" name="Freeform 18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>
                <a:alpha val="7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34434" y="272724"/>
            <a:ext cx="11523133" cy="525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34433" y="1198880"/>
            <a:ext cx="11523135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5896972"/>
            <a:ext cx="1873504" cy="401869"/>
          </a:xfrm>
          <a:prstGeom prst="rect">
            <a:avLst/>
          </a:prstGeom>
        </p:spPr>
      </p:pic>
      <p:sp>
        <p:nvSpPr>
          <p:cNvPr id="1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34432" y="5463117"/>
            <a:ext cx="5647773" cy="381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Footnotes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209791" y="5463117"/>
            <a:ext cx="5647773" cy="381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r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Referenc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33681" y="6346195"/>
            <a:ext cx="2823887" cy="3600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93A60AA-2399-48DC-9473-E7280D604B21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0" name="Footer Placeholder 2">
            <a:extLst>
              <a:ext uri="{FF2B5EF4-FFF2-40B4-BE49-F238E27FC236}">
                <a16:creationId xmlns="" xmlns:a16="http://schemas.microsoft.com/office/drawing/2014/main" id="{AC8AB1B8-F7E7-4C7C-9963-56E2293E6530}"/>
              </a:ext>
            </a:extLst>
          </p:cNvPr>
          <p:cNvSpPr txBox="1">
            <a:spLocks/>
          </p:cNvSpPr>
          <p:nvPr userDrawn="1"/>
        </p:nvSpPr>
        <p:spPr>
          <a:xfrm>
            <a:off x="4237792" y="6640198"/>
            <a:ext cx="3708000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en-US" sz="700" dirty="0">
                <a:solidFill>
                  <a:srgbClr val="FFFFFF"/>
                </a:solidFill>
              </a:rPr>
              <a:t>FOR INTERNAL USE ONLY  –  DO NOT DISTRIBUTE OR USE IN PROMOTION 			</a:t>
            </a:r>
            <a:endParaRPr lang="en-GB" sz="7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015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-4307" y="6351341"/>
            <a:ext cx="12196308" cy="506659"/>
            <a:chOff x="-3231" y="4763506"/>
            <a:chExt cx="9147231" cy="379994"/>
          </a:xfrm>
        </p:grpSpPr>
        <p:sp>
          <p:nvSpPr>
            <p:cNvPr id="18" name="Freeform 17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  <p:sp>
          <p:nvSpPr>
            <p:cNvPr id="19" name="Freeform 18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34029" y="272724"/>
            <a:ext cx="11523537" cy="4363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defRPr sz="3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>
          <a:xfrm>
            <a:off x="9033681" y="6346195"/>
            <a:ext cx="2823887" cy="360096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333" smtClean="0">
                <a:solidFill>
                  <a:srgbClr val="FFFFFF"/>
                </a:solidFill>
              </a:rPr>
              <a:pPr/>
              <a:t>‹#›</a:t>
            </a:fld>
            <a:endParaRPr lang="en-GB" sz="1333" dirty="0">
              <a:solidFill>
                <a:srgbClr val="FFFFFF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36"/>
            <a:ext cx="1873504" cy="401869"/>
          </a:xfrm>
          <a:prstGeom prst="rect">
            <a:avLst/>
          </a:prstGeom>
        </p:spPr>
      </p:pic>
      <p:cxnSp>
        <p:nvCxnSpPr>
          <p:cNvPr id="25" name="Straight Connector 24"/>
          <p:cNvCxnSpPr/>
          <p:nvPr userDrawn="1"/>
        </p:nvCxnSpPr>
        <p:spPr>
          <a:xfrm>
            <a:off x="383118" y="841873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2" name="Text Placeholder 5">
            <a:extLst>
              <a:ext uri="{FF2B5EF4-FFF2-40B4-BE49-F238E27FC236}">
                <a16:creationId xmlns="" xmlns:a16="http://schemas.microsoft.com/office/drawing/2014/main" id="{2467AB3C-1D6E-4FB5-ACBB-448BAB08D7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5781" y="5557613"/>
            <a:ext cx="5606424" cy="381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Footnot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="" xmlns:a16="http://schemas.microsoft.com/office/drawing/2014/main" id="{232EEA83-1D64-4FAD-ADDC-420D8A0E32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19791" y="5548447"/>
            <a:ext cx="5647773" cy="381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r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GB" dirty="0"/>
              <a:t>References</a:t>
            </a:r>
          </a:p>
        </p:txBody>
      </p:sp>
      <p:sp>
        <p:nvSpPr>
          <p:cNvPr id="11" name="Footer Placeholder 2">
            <a:extLst>
              <a:ext uri="{FF2B5EF4-FFF2-40B4-BE49-F238E27FC236}">
                <a16:creationId xmlns="" xmlns:a16="http://schemas.microsoft.com/office/drawing/2014/main" id="{AC8AB1B8-F7E7-4C7C-9963-56E2293E6530}"/>
              </a:ext>
            </a:extLst>
          </p:cNvPr>
          <p:cNvSpPr txBox="1">
            <a:spLocks/>
          </p:cNvSpPr>
          <p:nvPr userDrawn="1"/>
        </p:nvSpPr>
        <p:spPr>
          <a:xfrm>
            <a:off x="593776" y="6653846"/>
            <a:ext cx="10842170" cy="32633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en-US" sz="700" dirty="0">
                <a:solidFill>
                  <a:srgbClr val="FFFFFF"/>
                </a:solidFill>
              </a:rPr>
              <a:t>FOR MEDICAL and SCIENTIFIC PURPOSES ONLY – INTERNAL USE ONLY  			DO NOT DISTRIBUTE OR USE IN PROMOTION 			</a:t>
            </a:r>
            <a:r>
              <a:rPr lang="en-GB" sz="700" dirty="0">
                <a:solidFill>
                  <a:srgbClr val="FFFFFF"/>
                </a:solidFill>
              </a:rPr>
              <a:t>SAGLB.TJO.18.09.1130.  Dated </a:t>
            </a:r>
            <a:r>
              <a:rPr lang="en-GB" sz="700" dirty="0">
                <a:solidFill>
                  <a:srgbClr val="FF0000"/>
                </a:solidFill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94366791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355600"/>
            <a:ext cx="1144524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54858"/>
            <a:ext cx="5386917" cy="639763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3200" b="1">
                <a:solidFill>
                  <a:schemeClr val="accent3">
                    <a:lumMod val="75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318657"/>
            <a:ext cx="5386917" cy="380750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654858"/>
            <a:ext cx="5389033" cy="639763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3200" b="1">
                <a:solidFill>
                  <a:schemeClr val="accent3">
                    <a:lumMod val="75000"/>
                  </a:schemeClr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318657"/>
            <a:ext cx="5389033" cy="380750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defTabSz="609585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defTabSz="609585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" name="Slide Number Placeholder 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517139" y="6313488"/>
            <a:ext cx="2540000" cy="4572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ea typeface="ＭＳ Ｐゴシック"/>
              </a:defRPr>
            </a:lvl1pPr>
          </a:lstStyle>
          <a:p>
            <a:fld id="{2462ECC2-A415-4E86-873D-B602882CC3EA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553843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4800" y="1219200"/>
            <a:ext cx="11582400" cy="4343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noProof="0" dirty="0" err="1"/>
              <a:t>Cliquez</a:t>
            </a:r>
            <a:r>
              <a:rPr lang="en-GB" noProof="0" dirty="0"/>
              <a:t> pour modifier les styles du </a:t>
            </a:r>
            <a:r>
              <a:rPr lang="en-GB" noProof="0" dirty="0" err="1"/>
              <a:t>texte</a:t>
            </a:r>
            <a:r>
              <a:rPr lang="en-GB" noProof="0" dirty="0"/>
              <a:t> du masque</a:t>
            </a:r>
          </a:p>
          <a:p>
            <a:pPr lvl="1"/>
            <a:r>
              <a:rPr lang="en-GB" noProof="0" dirty="0" err="1"/>
              <a:t>Deux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2"/>
            <a:r>
              <a:rPr lang="en-GB" noProof="0" dirty="0" err="1"/>
              <a:t>Trois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3"/>
            <a:r>
              <a:rPr lang="en-GB" noProof="0" dirty="0" err="1"/>
              <a:t>Quatr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4"/>
            <a:r>
              <a:rPr lang="en-GB" noProof="0" dirty="0" err="1"/>
              <a:t>Cinqu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3" y="274637"/>
            <a:ext cx="11368724" cy="85091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5638800"/>
            <a:ext cx="9448800" cy="6096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1067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588237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4800" y="1219200"/>
            <a:ext cx="11582400" cy="43434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3" y="274641"/>
            <a:ext cx="11582400" cy="85091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5638800"/>
            <a:ext cx="9448800" cy="6096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1067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976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15386"/>
            <a:ext cx="11582400" cy="831476"/>
          </a:xfrm>
          <a:prstGeom prst="rect">
            <a:avLst/>
          </a:prstGeom>
        </p:spPr>
        <p:txBody>
          <a:bodyPr lIns="68580" tIns="34290" rIns="68580" bIns="34290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11582400" cy="4191000"/>
          </a:xfrm>
          <a:prstGeom prst="rect">
            <a:avLst/>
          </a:prstGeom>
        </p:spPr>
        <p:txBody>
          <a:bodyPr lIns="68580" tIns="34290" rIns="68580" bIns="34290"/>
          <a:lstStyle>
            <a:lvl2pPr>
              <a:defRPr sz="1867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04800" y="5672253"/>
            <a:ext cx="5715000" cy="533400"/>
          </a:xfrm>
          <a:prstGeom prst="rect">
            <a:avLst/>
          </a:prstGeom>
        </p:spPr>
        <p:txBody>
          <a:bodyPr lIns="68580" tIns="0" rIns="0" bIns="0" anchor="b"/>
          <a:lstStyle>
            <a:lvl1pPr marL="0" indent="0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72200" y="5672253"/>
            <a:ext cx="5715000" cy="533400"/>
          </a:xfrm>
          <a:prstGeom prst="rect">
            <a:avLst/>
          </a:prstGeom>
        </p:spPr>
        <p:txBody>
          <a:bodyPr lIns="68580" tIns="0" rIns="0" bIns="0" anchor="b"/>
          <a:lstStyle>
            <a:lvl1pPr marL="0" indent="0" algn="r">
              <a:spcAft>
                <a:spcPts val="0"/>
              </a:spcAft>
              <a:buNone/>
              <a:defRPr sz="1067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1670324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 smtClean="0"/>
            </a:lvl1pPr>
          </a:lstStyle>
          <a:p>
            <a:pPr>
              <a:defRPr/>
            </a:pPr>
            <a:fld id="{70313CB8-41C3-4411-BCDD-611A75C1B4EE}" type="slidenum">
              <a:rPr lang="en-US">
                <a:solidFill>
                  <a:srgbClr val="444492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27656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422777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 userDrawn="1">
            <p:ph idx="1"/>
          </p:nvPr>
        </p:nvSpPr>
        <p:spPr>
          <a:xfrm>
            <a:off x="383119" y="1030818"/>
            <a:ext cx="11474448" cy="4980516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2133">
                <a:solidFill>
                  <a:srgbClr val="596169"/>
                </a:solidFill>
              </a:defRPr>
            </a:lvl1pPr>
            <a:lvl2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867">
                <a:solidFill>
                  <a:srgbClr val="596169"/>
                </a:solidFill>
              </a:defRPr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3pPr>
            <a:lvl4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4pPr>
            <a:lvl5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36"/>
            <a:ext cx="1873504" cy="401869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-4307" y="6351341"/>
            <a:ext cx="12196308" cy="506659"/>
            <a:chOff x="-3231" y="4763506"/>
            <a:chExt cx="9147231" cy="379994"/>
          </a:xfrm>
        </p:grpSpPr>
        <p:sp>
          <p:nvSpPr>
            <p:cNvPr id="3" name="Freeform 2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  <p:sp>
          <p:nvSpPr>
            <p:cNvPr id="4" name="Freeform 3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033681" y="6346195"/>
            <a:ext cx="2823887" cy="360096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333" smtClean="0">
                <a:solidFill>
                  <a:srgbClr val="FFFFFF"/>
                </a:solidFill>
              </a:rPr>
              <a:pPr/>
              <a:t>‹#›</a:t>
            </a:fld>
            <a:endParaRPr lang="en-GB" sz="1333" dirty="0">
              <a:solidFill>
                <a:srgbClr val="FFFFFF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34029" y="272724"/>
            <a:ext cx="11523537" cy="4363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defRPr sz="3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83118" y="781347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285267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4800" y="1219200"/>
            <a:ext cx="11582400" cy="4343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2" y="274644"/>
            <a:ext cx="11582400" cy="85091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5638800"/>
            <a:ext cx="9448800" cy="6096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96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24574" y="6647716"/>
            <a:ext cx="4161717" cy="2400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960" dirty="0">
                <a:solidFill>
                  <a:srgbClr val="444492"/>
                </a:solidFill>
              </a:rPr>
              <a:t>CONFIDENTIAL -  </a:t>
            </a:r>
            <a:r>
              <a:rPr lang="fr-FR" sz="960" dirty="0">
                <a:solidFill>
                  <a:srgbClr val="444492"/>
                </a:solidFill>
              </a:rPr>
              <a:t>NOT FOR DISTRIBUTION OR USE IN PROMOTION </a:t>
            </a:r>
            <a:endParaRPr lang="en-GB" sz="960" dirty="0">
              <a:solidFill>
                <a:srgbClr val="444492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79239" y="6519548"/>
            <a:ext cx="536573" cy="365125"/>
          </a:xfrm>
          <a:prstGeom prst="rect">
            <a:avLst/>
          </a:prstGeom>
        </p:spPr>
        <p:txBody>
          <a:bodyPr/>
          <a:lstStyle>
            <a:lvl1pPr algn="ctr">
              <a:defRPr sz="960" b="0" i="0">
                <a:solidFill>
                  <a:schemeClr val="bg1"/>
                </a:solidFill>
                <a:latin typeface="Helvetica"/>
                <a:cs typeface="Helvetica"/>
              </a:defRPr>
            </a:lvl1pPr>
          </a:lstStyle>
          <a:p>
            <a:fld id="{78509EE6-8B91-7A43-9ECB-7CA57E7055C7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49592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424" y="260649"/>
            <a:ext cx="10476523" cy="841375"/>
          </a:xfrm>
        </p:spPr>
        <p:txBody>
          <a:bodyPr/>
          <a:lstStyle>
            <a:lvl1pPr>
              <a:defRPr sz="2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>
                <a:solidFill>
                  <a:srgbClr val="68688F"/>
                </a:solidFill>
              </a:defRPr>
            </a:lvl1pPr>
            <a:lvl2pPr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>
                <a:solidFill>
                  <a:srgbClr val="68688F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4000" y="6329363"/>
            <a:ext cx="6979920" cy="425449"/>
          </a:xfrm>
        </p:spPr>
        <p:txBody>
          <a:bodyPr anchor="b">
            <a:normAutofit/>
          </a:bodyPr>
          <a:lstStyle>
            <a:lvl1pPr marL="0" indent="0">
              <a:buNone/>
              <a:defRPr sz="8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C6A3BC2-88F7-4574-8A05-FB0115AF431A}" type="slidenum">
              <a:rPr lang="en-GB" altLang="en-US">
                <a:solidFill>
                  <a:srgbClr val="444492"/>
                </a:solidFill>
              </a:rPr>
              <a:pPr/>
              <a:t>‹#›</a:t>
            </a:fld>
            <a:endParaRPr lang="en-GB" altLang="en-US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684556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nofi External DIVIDER bg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528581"/>
            <a:ext cx="10560000" cy="1920000"/>
          </a:xfrm>
          <a:prstGeom prst="rect">
            <a:avLst/>
          </a:prstGeom>
        </p:spPr>
        <p:txBody>
          <a:bodyPr anchor="b"/>
          <a:lstStyle>
            <a:lvl1pPr>
              <a:defRPr sz="384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Divid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9600" y="5793158"/>
            <a:ext cx="10560000" cy="326339"/>
          </a:xfrm>
          <a:prstGeom prst="rect">
            <a:avLst/>
          </a:prstGeom>
        </p:spPr>
        <p:txBody>
          <a:bodyPr/>
          <a:lstStyle>
            <a:lvl1pPr>
              <a:defRPr sz="960">
                <a:solidFill>
                  <a:srgbClr val="596169"/>
                </a:solidFill>
              </a:defRPr>
            </a:lvl1pPr>
          </a:lstStyle>
          <a:p>
            <a:pPr defTabSz="548640"/>
            <a:r>
              <a:rPr lang="en-GB" dirty="0"/>
              <a:t>Footer:</a:t>
            </a:r>
          </a:p>
        </p:txBody>
      </p:sp>
      <p:sp>
        <p:nvSpPr>
          <p:cNvPr id="6" name="ZoneTexte 4"/>
          <p:cNvSpPr txBox="1"/>
          <p:nvPr userDrawn="1"/>
        </p:nvSpPr>
        <p:spPr>
          <a:xfrm>
            <a:off x="181967" y="6598571"/>
            <a:ext cx="2893325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8640"/>
            <a:r>
              <a:rPr lang="en-US" sz="1440" dirty="0">
                <a:solidFill>
                  <a:srgbClr val="FFFFFF">
                    <a:lumMod val="65000"/>
                  </a:srgbClr>
                </a:solidFill>
              </a:rPr>
              <a:t>SAGLB.DIA15.08.0594</a:t>
            </a:r>
          </a:p>
        </p:txBody>
      </p:sp>
    </p:spTree>
    <p:extLst>
      <p:ext uri="{BB962C8B-B14F-4D97-AF65-F5344CB8AC3E}">
        <p14:creationId xmlns:p14="http://schemas.microsoft.com/office/powerpoint/2010/main" val="95366568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Sanofi External COPY2 bg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09600" y="5685694"/>
            <a:ext cx="10560000" cy="433800"/>
          </a:xfrm>
          <a:prstGeom prst="rect">
            <a:avLst/>
          </a:prstGeom>
        </p:spPr>
        <p:txBody>
          <a:bodyPr/>
          <a:lstStyle>
            <a:lvl1pPr>
              <a:defRPr sz="960"/>
            </a:lvl1pPr>
          </a:lstStyle>
          <a:p>
            <a:pPr defTabSz="548640"/>
            <a:r>
              <a:rPr lang="en-GB" dirty="0">
                <a:solidFill>
                  <a:srgbClr val="444492"/>
                </a:solidFill>
              </a:rPr>
              <a:t>Footer: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560000" cy="1143000"/>
          </a:xfrm>
          <a:prstGeom prst="rect">
            <a:avLst/>
          </a:prstGeom>
        </p:spPr>
        <p:txBody>
          <a:bodyPr/>
          <a:lstStyle>
            <a:lvl1pPr>
              <a:defRPr sz="336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51366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1B838"/>
              </a:buClr>
              <a:defRPr sz="2400">
                <a:solidFill>
                  <a:srgbClr val="596169"/>
                </a:solidFill>
              </a:defRPr>
            </a:lvl1pPr>
            <a:lvl2pPr>
              <a:buClr>
                <a:srgbClr val="81B838"/>
              </a:buClr>
              <a:defRPr sz="2160">
                <a:solidFill>
                  <a:srgbClr val="596169"/>
                </a:solidFill>
              </a:defRPr>
            </a:lvl2pPr>
            <a:lvl3pPr>
              <a:buClr>
                <a:srgbClr val="81B838"/>
              </a:buClr>
              <a:defRPr sz="1920">
                <a:solidFill>
                  <a:srgbClr val="596169"/>
                </a:solidFill>
              </a:defRPr>
            </a:lvl3pPr>
            <a:lvl4pPr>
              <a:buClr>
                <a:srgbClr val="81B838"/>
              </a:buClr>
              <a:defRPr sz="1680">
                <a:solidFill>
                  <a:srgbClr val="596169"/>
                </a:solidFill>
              </a:defRPr>
            </a:lvl4pPr>
            <a:lvl5pPr>
              <a:buClr>
                <a:srgbClr val="81B838"/>
              </a:buClr>
              <a:defRPr sz="1680">
                <a:solidFill>
                  <a:srgbClr val="596169"/>
                </a:solidFill>
              </a:defRPr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51366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81B838"/>
              </a:buClr>
              <a:defRPr sz="2400">
                <a:solidFill>
                  <a:srgbClr val="596169"/>
                </a:solidFill>
              </a:defRPr>
            </a:lvl1pPr>
            <a:lvl2pPr>
              <a:buClr>
                <a:srgbClr val="81B838"/>
              </a:buClr>
              <a:defRPr sz="2160">
                <a:solidFill>
                  <a:srgbClr val="596169"/>
                </a:solidFill>
              </a:defRPr>
            </a:lvl2pPr>
            <a:lvl3pPr>
              <a:buClr>
                <a:srgbClr val="81B838"/>
              </a:buClr>
              <a:defRPr sz="1920">
                <a:solidFill>
                  <a:srgbClr val="596169"/>
                </a:solidFill>
              </a:defRPr>
            </a:lvl3pPr>
            <a:lvl4pPr>
              <a:buClr>
                <a:srgbClr val="81B838"/>
              </a:buClr>
              <a:defRPr sz="1680">
                <a:solidFill>
                  <a:srgbClr val="596169"/>
                </a:solidFill>
              </a:defRPr>
            </a:lvl4pPr>
            <a:lvl5pPr>
              <a:buClr>
                <a:srgbClr val="81B838"/>
              </a:buClr>
              <a:defRPr sz="1680">
                <a:solidFill>
                  <a:srgbClr val="596169"/>
                </a:solidFill>
              </a:defRPr>
            </a:lvl5pPr>
            <a:lvl6pPr>
              <a:defRPr sz="2160"/>
            </a:lvl6pPr>
            <a:lvl7pPr>
              <a:defRPr sz="2160"/>
            </a:lvl7pPr>
            <a:lvl8pPr>
              <a:defRPr sz="2160"/>
            </a:lvl8pPr>
            <a:lvl9pPr>
              <a:defRPr sz="216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ZoneTexte 4"/>
          <p:cNvSpPr txBox="1"/>
          <p:nvPr userDrawn="1"/>
        </p:nvSpPr>
        <p:spPr>
          <a:xfrm>
            <a:off x="181967" y="6598571"/>
            <a:ext cx="2893325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8640"/>
            <a:r>
              <a:rPr lang="en-US" sz="1440" dirty="0">
                <a:solidFill>
                  <a:srgbClr val="FFFFFF">
                    <a:lumMod val="65000"/>
                  </a:srgbClr>
                </a:solidFill>
              </a:rPr>
              <a:t>SAGLB.DIA15.08.0594</a:t>
            </a:r>
          </a:p>
        </p:txBody>
      </p:sp>
    </p:spTree>
    <p:extLst>
      <p:ext uri="{BB962C8B-B14F-4D97-AF65-F5344CB8AC3E}">
        <p14:creationId xmlns:p14="http://schemas.microsoft.com/office/powerpoint/2010/main" val="4609919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anofi External COPY bg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anofi-COPY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4552" y="1497851"/>
            <a:ext cx="12190993" cy="53640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560000" cy="1143000"/>
          </a:xfrm>
          <a:prstGeom prst="rect">
            <a:avLst/>
          </a:prstGeom>
        </p:spPr>
        <p:txBody>
          <a:bodyPr/>
          <a:lstStyle>
            <a:lvl1pPr>
              <a:defRPr sz="336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ZoneTexte 4"/>
          <p:cNvSpPr txBox="1"/>
          <p:nvPr userDrawn="1"/>
        </p:nvSpPr>
        <p:spPr>
          <a:xfrm>
            <a:off x="181967" y="6598571"/>
            <a:ext cx="2893325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8640"/>
            <a:r>
              <a:rPr lang="en-US" sz="1440" dirty="0">
                <a:solidFill>
                  <a:srgbClr val="FFFFFF">
                    <a:lumMod val="65000"/>
                  </a:srgbClr>
                </a:solidFill>
              </a:rPr>
              <a:t>SAGLB.DIA15.08.0594</a:t>
            </a:r>
          </a:p>
        </p:txBody>
      </p:sp>
    </p:spTree>
    <p:extLst>
      <p:ext uri="{BB962C8B-B14F-4D97-AF65-F5344CB8AC3E}">
        <p14:creationId xmlns:p14="http://schemas.microsoft.com/office/powerpoint/2010/main" val="7001728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anofi External COPY bg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560000" cy="1143000"/>
          </a:xfrm>
          <a:prstGeom prst="rect">
            <a:avLst/>
          </a:prstGeom>
        </p:spPr>
        <p:txBody>
          <a:bodyPr/>
          <a:lstStyle>
            <a:lvl1pPr>
              <a:defRPr sz="3733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129059"/>
            <a:ext cx="10560000" cy="3207176"/>
          </a:xfrm>
          <a:prstGeom prst="rect">
            <a:avLst/>
          </a:prstGeom>
        </p:spPr>
        <p:txBody>
          <a:bodyPr/>
          <a:lstStyle>
            <a:lvl1pPr>
              <a:spcBef>
                <a:spcPts val="1600"/>
              </a:spcBef>
              <a:spcAft>
                <a:spcPts val="0"/>
              </a:spcAft>
              <a:buClr>
                <a:srgbClr val="81BD55"/>
              </a:buClr>
              <a:defRPr sz="3200">
                <a:solidFill>
                  <a:srgbClr val="596169"/>
                </a:solidFill>
              </a:defRPr>
            </a:lvl1pPr>
            <a:lvl2pPr>
              <a:spcBef>
                <a:spcPts val="640"/>
              </a:spcBef>
              <a:spcAft>
                <a:spcPts val="0"/>
              </a:spcAft>
              <a:buClr>
                <a:srgbClr val="81BD55"/>
              </a:buClr>
              <a:defRPr sz="2667">
                <a:solidFill>
                  <a:srgbClr val="596169"/>
                </a:solidFill>
              </a:defRPr>
            </a:lvl2pPr>
            <a:lvl3pPr>
              <a:spcBef>
                <a:spcPts val="640"/>
              </a:spcBef>
              <a:spcAft>
                <a:spcPts val="0"/>
              </a:spcAft>
              <a:buClr>
                <a:srgbClr val="81BD55"/>
              </a:buClr>
              <a:defRPr sz="2400">
                <a:solidFill>
                  <a:srgbClr val="596169"/>
                </a:solidFill>
              </a:defRPr>
            </a:lvl3pPr>
            <a:lvl4pPr>
              <a:spcBef>
                <a:spcPts val="640"/>
              </a:spcBef>
              <a:spcAft>
                <a:spcPts val="0"/>
              </a:spcAft>
              <a:buClr>
                <a:srgbClr val="81BD55"/>
              </a:buClr>
              <a:defRPr sz="2400">
                <a:solidFill>
                  <a:srgbClr val="596169"/>
                </a:solidFill>
              </a:defRPr>
            </a:lvl4pPr>
            <a:lvl5pPr>
              <a:spcBef>
                <a:spcPts val="640"/>
              </a:spcBef>
              <a:spcAft>
                <a:spcPts val="0"/>
              </a:spcAft>
              <a:buClr>
                <a:srgbClr val="81BD55"/>
              </a:buClr>
              <a:defRPr sz="240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09600" y="5656387"/>
            <a:ext cx="10560000" cy="463108"/>
          </a:xfrm>
          <a:prstGeom prst="rect">
            <a:avLst/>
          </a:prstGeom>
        </p:spPr>
        <p:txBody>
          <a:bodyPr/>
          <a:lstStyle>
            <a:lvl1pPr>
              <a:defRPr sz="1067"/>
            </a:lvl1pPr>
          </a:lstStyle>
          <a:p>
            <a:endParaRPr lang="en-GB" dirty="0">
              <a:solidFill>
                <a:srgbClr val="444492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438361"/>
            <a:ext cx="10560051" cy="690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81B838"/>
                </a:solidFill>
              </a:defRPr>
            </a:lvl1pPr>
            <a:lvl2pPr>
              <a:buNone/>
              <a:defRPr>
                <a:solidFill>
                  <a:schemeClr val="tx2"/>
                </a:solidFill>
              </a:defRPr>
            </a:lvl2pPr>
            <a:lvl3pPr>
              <a:buNone/>
              <a:defRPr>
                <a:solidFill>
                  <a:schemeClr val="tx2"/>
                </a:solidFill>
              </a:defRPr>
            </a:lvl3pPr>
            <a:lvl4pPr>
              <a:buNone/>
              <a:defRPr>
                <a:solidFill>
                  <a:schemeClr val="tx2"/>
                </a:solidFill>
              </a:defRPr>
            </a:lvl4pPr>
            <a:lvl5pPr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8059759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Sanofi External COPY bg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560000" cy="1143000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182255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1190625"/>
            <a:ext cx="11379200" cy="4806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ZoneTexte 4"/>
          <p:cNvSpPr txBox="1"/>
          <p:nvPr userDrawn="1"/>
        </p:nvSpPr>
        <p:spPr>
          <a:xfrm>
            <a:off x="181967" y="6598551"/>
            <a:ext cx="28933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FFFF">
                    <a:lumMod val="65000"/>
                  </a:srgbClr>
                </a:solidFill>
              </a:rPr>
              <a:t>SAGLB.DIA15.08.0594</a:t>
            </a:r>
          </a:p>
        </p:txBody>
      </p:sp>
    </p:spTree>
    <p:extLst>
      <p:ext uri="{BB962C8B-B14F-4D97-AF65-F5344CB8AC3E}">
        <p14:creationId xmlns:p14="http://schemas.microsoft.com/office/powerpoint/2010/main" val="119913799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nofi External BLANK bg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560000" cy="1143000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129059"/>
            <a:ext cx="10560000" cy="3207176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0"/>
              </a:spcAft>
              <a:buClr>
                <a:srgbClr val="81BD55"/>
              </a:buClr>
              <a:defRPr sz="2400">
                <a:solidFill>
                  <a:srgbClr val="596169"/>
                </a:solidFill>
              </a:defRPr>
            </a:lvl1pPr>
            <a:lvl2pPr>
              <a:spcBef>
                <a:spcPts val="480"/>
              </a:spcBef>
              <a:spcAft>
                <a:spcPts val="0"/>
              </a:spcAft>
              <a:buClr>
                <a:srgbClr val="81BD55"/>
              </a:buClr>
              <a:defRPr sz="2000">
                <a:solidFill>
                  <a:srgbClr val="596169"/>
                </a:solidFill>
              </a:defRPr>
            </a:lvl2pPr>
            <a:lvl3pPr>
              <a:spcBef>
                <a:spcPts val="480"/>
              </a:spcBef>
              <a:spcAft>
                <a:spcPts val="0"/>
              </a:spcAft>
              <a:buClr>
                <a:srgbClr val="81BD55"/>
              </a:buClr>
              <a:defRPr sz="1800">
                <a:solidFill>
                  <a:srgbClr val="596169"/>
                </a:solidFill>
              </a:defRPr>
            </a:lvl3pPr>
            <a:lvl4pPr>
              <a:spcBef>
                <a:spcPts val="480"/>
              </a:spcBef>
              <a:spcAft>
                <a:spcPts val="0"/>
              </a:spcAft>
              <a:buClr>
                <a:srgbClr val="81BD55"/>
              </a:buClr>
              <a:defRPr sz="1800">
                <a:solidFill>
                  <a:srgbClr val="596169"/>
                </a:solidFill>
              </a:defRPr>
            </a:lvl4pPr>
            <a:lvl5pPr>
              <a:spcBef>
                <a:spcPts val="480"/>
              </a:spcBef>
              <a:spcAft>
                <a:spcPts val="0"/>
              </a:spcAft>
              <a:buClr>
                <a:srgbClr val="81BD55"/>
              </a:buClr>
              <a:defRPr sz="1800">
                <a:solidFill>
                  <a:srgbClr val="596169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09600" y="5685693"/>
            <a:ext cx="10560000" cy="4338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r>
              <a:rPr lang="en-GB" dirty="0">
                <a:solidFill>
                  <a:srgbClr val="444492"/>
                </a:solidFill>
              </a:rPr>
              <a:t>Footer: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438361"/>
            <a:ext cx="10560051" cy="690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81B838"/>
                </a:solidFill>
              </a:defRPr>
            </a:lvl1pPr>
            <a:lvl2pPr>
              <a:buNone/>
              <a:defRPr>
                <a:solidFill>
                  <a:schemeClr val="tx2"/>
                </a:solidFill>
              </a:defRPr>
            </a:lvl2pPr>
            <a:lvl3pPr>
              <a:buNone/>
              <a:defRPr>
                <a:solidFill>
                  <a:schemeClr val="tx2"/>
                </a:solidFill>
              </a:defRPr>
            </a:lvl3pPr>
            <a:lvl4pPr>
              <a:buNone/>
              <a:defRPr>
                <a:solidFill>
                  <a:schemeClr val="tx2"/>
                </a:solidFill>
              </a:defRPr>
            </a:lvl4pPr>
            <a:lvl5pPr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Subtitle style</a:t>
            </a:r>
          </a:p>
        </p:txBody>
      </p:sp>
      <p:sp>
        <p:nvSpPr>
          <p:cNvPr id="7" name="ZoneTexte 4"/>
          <p:cNvSpPr txBox="1"/>
          <p:nvPr userDrawn="1"/>
        </p:nvSpPr>
        <p:spPr>
          <a:xfrm>
            <a:off x="181967" y="6598551"/>
            <a:ext cx="28933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FFFF">
                    <a:lumMod val="65000"/>
                  </a:srgbClr>
                </a:solidFill>
              </a:rPr>
              <a:t>SAGLB.DIA15.08.0594</a:t>
            </a:r>
          </a:p>
        </p:txBody>
      </p:sp>
    </p:spTree>
    <p:extLst>
      <p:ext uri="{BB962C8B-B14F-4D97-AF65-F5344CB8AC3E}">
        <p14:creationId xmlns:p14="http://schemas.microsoft.com/office/powerpoint/2010/main" val="11095139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1190625"/>
            <a:ext cx="11379200" cy="48069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ZoneTexte 4"/>
          <p:cNvSpPr txBox="1"/>
          <p:nvPr userDrawn="1"/>
        </p:nvSpPr>
        <p:spPr>
          <a:xfrm>
            <a:off x="181967" y="6598551"/>
            <a:ext cx="28933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FFFF">
                    <a:lumMod val="65000"/>
                  </a:srgbClr>
                </a:solidFill>
              </a:rPr>
              <a:t>SAGLB.DIA15.08.0594</a:t>
            </a:r>
          </a:p>
        </p:txBody>
      </p:sp>
    </p:spTree>
    <p:extLst>
      <p:ext uri="{BB962C8B-B14F-4D97-AF65-F5344CB8AC3E}">
        <p14:creationId xmlns:p14="http://schemas.microsoft.com/office/powerpoint/2010/main" val="325223226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 userDrawn="1">
            <p:ph idx="1"/>
          </p:nvPr>
        </p:nvSpPr>
        <p:spPr>
          <a:xfrm>
            <a:off x="383119" y="1030819"/>
            <a:ext cx="11474448" cy="4980516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920">
                <a:solidFill>
                  <a:srgbClr val="596169"/>
                </a:solidFill>
              </a:defRPr>
            </a:lvl1pPr>
            <a:lvl2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680">
                <a:solidFill>
                  <a:srgbClr val="596169"/>
                </a:solidFill>
              </a:defRPr>
            </a:lvl2pPr>
            <a:lvl3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3pPr>
            <a:lvl4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4pPr>
            <a:lvl5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40"/>
            <a:ext cx="1873504" cy="401869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-4305" y="6351342"/>
            <a:ext cx="12196308" cy="506659"/>
            <a:chOff x="-3231" y="4763506"/>
            <a:chExt cx="9147231" cy="379994"/>
          </a:xfrm>
        </p:grpSpPr>
        <p:sp>
          <p:nvSpPr>
            <p:cNvPr id="3" name="Freeform 2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160" dirty="0">
                <a:solidFill>
                  <a:srgbClr val="FFFFFF"/>
                </a:solidFill>
              </a:endParaRPr>
            </a:p>
          </p:txBody>
        </p:sp>
        <p:sp>
          <p:nvSpPr>
            <p:cNvPr id="4" name="Freeform 3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60" dirty="0">
                <a:solidFill>
                  <a:srgbClr val="FFFFFF"/>
                </a:solidFill>
              </a:endParaRPr>
            </a:p>
          </p:txBody>
        </p:sp>
      </p:grp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033711" y="6346195"/>
            <a:ext cx="2823887" cy="360096"/>
          </a:xfrm>
          <a:prstGeom prst="rect">
            <a:avLst/>
          </a:prstGeom>
        </p:spPr>
        <p:txBody>
          <a:bodyPr vert="horz" lIns="109728" tIns="54864" rIns="109728" bIns="54864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200" smtClean="0">
                <a:solidFill>
                  <a:srgbClr val="FFFFFF"/>
                </a:solidFill>
              </a:rPr>
              <a:pPr/>
              <a:t>‹#›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34034" y="272731"/>
            <a:ext cx="11523537" cy="4363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defRPr sz="288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83123" y="781346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845627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Sanofi External COPY bg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anofi-COPY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4552" y="1497851"/>
            <a:ext cx="12190993" cy="53640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560000" cy="1143000"/>
          </a:xfrm>
          <a:prstGeom prst="rect">
            <a:avLst/>
          </a:prstGeom>
        </p:spPr>
        <p:txBody>
          <a:bodyPr/>
          <a:lstStyle>
            <a:lvl1pPr>
              <a:defRPr sz="336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97848"/>
            <a:ext cx="10560000" cy="4158538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360"/>
              </a:spcAft>
              <a:buClr>
                <a:srgbClr val="81BD55"/>
              </a:buClr>
              <a:defRPr sz="2880">
                <a:solidFill>
                  <a:srgbClr val="596169"/>
                </a:solidFill>
              </a:defRPr>
            </a:lvl1pPr>
            <a:lvl2pPr>
              <a:spcBef>
                <a:spcPts val="0"/>
              </a:spcBef>
              <a:spcAft>
                <a:spcPts val="360"/>
              </a:spcAft>
              <a:buClr>
                <a:srgbClr val="81BD55"/>
              </a:buClr>
              <a:defRPr sz="2400">
                <a:solidFill>
                  <a:srgbClr val="596169"/>
                </a:solidFill>
              </a:defRPr>
            </a:lvl2pPr>
            <a:lvl3pPr>
              <a:spcBef>
                <a:spcPts val="0"/>
              </a:spcBef>
              <a:spcAft>
                <a:spcPts val="360"/>
              </a:spcAft>
              <a:buClr>
                <a:srgbClr val="81BD55"/>
              </a:buClr>
              <a:defRPr sz="2160">
                <a:solidFill>
                  <a:srgbClr val="596169"/>
                </a:solidFill>
              </a:defRPr>
            </a:lvl3pPr>
            <a:lvl4pPr>
              <a:spcBef>
                <a:spcPts val="0"/>
              </a:spcBef>
              <a:spcAft>
                <a:spcPts val="360"/>
              </a:spcAft>
              <a:buClr>
                <a:srgbClr val="81BD55"/>
              </a:buClr>
              <a:defRPr sz="2160">
                <a:solidFill>
                  <a:srgbClr val="596169"/>
                </a:solidFill>
              </a:defRPr>
            </a:lvl4pPr>
            <a:lvl5pPr>
              <a:spcBef>
                <a:spcPts val="0"/>
              </a:spcBef>
              <a:spcAft>
                <a:spcPts val="360"/>
              </a:spcAft>
              <a:buClr>
                <a:srgbClr val="81BD55"/>
              </a:buClr>
              <a:defRPr sz="216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09600" y="5656401"/>
            <a:ext cx="10560000" cy="463108"/>
          </a:xfrm>
          <a:prstGeom prst="rect">
            <a:avLst/>
          </a:prstGeom>
        </p:spPr>
        <p:txBody>
          <a:bodyPr/>
          <a:lstStyle>
            <a:lvl1pPr>
              <a:defRPr sz="960"/>
            </a:lvl1pPr>
          </a:lstStyle>
          <a:p>
            <a:endParaRPr lang="en-GB" dirty="0">
              <a:solidFill>
                <a:srgbClr val="4444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966572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4800" y="1219200"/>
            <a:ext cx="11582400" cy="4343400"/>
          </a:xfrm>
        </p:spPr>
        <p:txBody>
          <a:bodyPr/>
          <a:lstStyle/>
          <a:p>
            <a:pPr lvl="0"/>
            <a:r>
              <a:rPr lang="en-GB" noProof="0" dirty="0" err="1"/>
              <a:t>Cliquez</a:t>
            </a:r>
            <a:r>
              <a:rPr lang="en-GB" noProof="0" dirty="0"/>
              <a:t> pour modifier les styles du </a:t>
            </a:r>
            <a:r>
              <a:rPr lang="en-GB" noProof="0" dirty="0" err="1"/>
              <a:t>texte</a:t>
            </a:r>
            <a:r>
              <a:rPr lang="en-GB" noProof="0" dirty="0"/>
              <a:t> du masque</a:t>
            </a:r>
          </a:p>
          <a:p>
            <a:pPr lvl="1"/>
            <a:r>
              <a:rPr lang="en-GB" noProof="0" dirty="0" err="1"/>
              <a:t>Deux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2"/>
            <a:r>
              <a:rPr lang="en-GB" noProof="0" dirty="0" err="1"/>
              <a:t>Trois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3"/>
            <a:r>
              <a:rPr lang="en-GB" noProof="0" dirty="0" err="1"/>
              <a:t>Quatr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4"/>
            <a:r>
              <a:rPr lang="en-GB" noProof="0" dirty="0" err="1"/>
              <a:t>Cinqu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5638800"/>
            <a:ext cx="9448800" cy="609600"/>
          </a:xfr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96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84031" y="6616484"/>
            <a:ext cx="2438400" cy="2415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60" dirty="0">
              <a:solidFill>
                <a:srgbClr val="FFFFFF"/>
              </a:solidFill>
            </a:endParaRPr>
          </a:p>
        </p:txBody>
      </p:sp>
      <p:sp>
        <p:nvSpPr>
          <p:cNvPr id="9" name="Footer Placeholder 2">
            <a:extLst>
              <a:ext uri="{FF2B5EF4-FFF2-40B4-BE49-F238E27FC236}">
                <a16:creationId xmlns="" xmlns:a16="http://schemas.microsoft.com/office/drawing/2014/main" id="{88788AF0-2592-4FBA-949F-D5BB1F59F0C7}"/>
              </a:ext>
            </a:extLst>
          </p:cNvPr>
          <p:cNvSpPr txBox="1">
            <a:spLocks/>
          </p:cNvSpPr>
          <p:nvPr userDrawn="1"/>
        </p:nvSpPr>
        <p:spPr>
          <a:xfrm>
            <a:off x="5327917" y="6237288"/>
            <a:ext cx="4567401" cy="55399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48640"/>
            <a:r>
              <a:rPr lang="en-GB" sz="1200" dirty="0">
                <a:solidFill>
                  <a:srgbClr val="FFFFFF">
                    <a:lumMod val="50000"/>
                  </a:srgbClr>
                </a:solidFill>
              </a:rPr>
              <a:t>FOR MEDICAL AND SCIENTIFIC PURPOSES ONLY – INTERNAL USE ONLY</a:t>
            </a:r>
          </a:p>
          <a:p>
            <a:pPr algn="ctr" defTabSz="548640"/>
            <a:r>
              <a:rPr lang="en-GB" sz="1200" dirty="0">
                <a:solidFill>
                  <a:srgbClr val="FFFFFF">
                    <a:lumMod val="50000"/>
                  </a:srgbClr>
                </a:solidFill>
              </a:rPr>
              <a:t>DO NOT DISTRIBUTE OR USE IN PROMOTION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="" xmlns:a16="http://schemas.microsoft.com/office/drawing/2014/main" id="{111CDF42-8B6C-4030-BEEC-150427B518A6}"/>
              </a:ext>
            </a:extLst>
          </p:cNvPr>
          <p:cNvSpPr txBox="1">
            <a:spLocks/>
          </p:cNvSpPr>
          <p:nvPr userDrawn="1"/>
        </p:nvSpPr>
        <p:spPr>
          <a:xfrm>
            <a:off x="55324" y="6628190"/>
            <a:ext cx="4567401" cy="16513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48640"/>
            <a:r>
              <a:rPr lang="en-GB" sz="1080" dirty="0">
                <a:solidFill>
                  <a:srgbClr val="FFFFFF">
                    <a:lumMod val="50000"/>
                  </a:srgbClr>
                </a:solidFill>
              </a:rPr>
              <a:t>SAGLB.DIA.17.06.XXX Approved June 2017</a:t>
            </a:r>
          </a:p>
        </p:txBody>
      </p:sp>
    </p:spTree>
    <p:extLst>
      <p:ext uri="{BB962C8B-B14F-4D97-AF65-F5344CB8AC3E}">
        <p14:creationId xmlns:p14="http://schemas.microsoft.com/office/powerpoint/2010/main" val="414210759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Sanofi External COPY bg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560000" cy="1143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2723" y="6356431"/>
            <a:ext cx="455084" cy="366713"/>
          </a:xfrm>
          <a:prstGeom prst="rect">
            <a:avLst/>
          </a:prstGeom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60" smtClean="0">
                <a:solidFill>
                  <a:srgbClr val="4D4D4F"/>
                </a:solidFill>
                <a:cs typeface="Arial" pitchFamily="34" charset="0"/>
              </a:defRPr>
            </a:lvl1pPr>
          </a:lstStyle>
          <a:p>
            <a:pPr defTabSz="548527" fontAlgn="base">
              <a:spcBef>
                <a:spcPct val="0"/>
              </a:spcBef>
              <a:spcAft>
                <a:spcPct val="0"/>
              </a:spcAft>
              <a:defRPr/>
            </a:pPr>
            <a:fld id="{9F7450CC-1A4E-46EA-A2CC-FE9F6394D87F}" type="slidenum">
              <a:rPr lang="en-GB" altLang="en-US">
                <a:ea typeface="MS PGothic" pitchFamily="34" charset="-128"/>
              </a:rPr>
              <a:pPr defTabSz="548527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 dirty="0">
              <a:ea typeface="MS PGothic" pitchFamily="34" charset="-128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="" xmlns:a16="http://schemas.microsoft.com/office/drawing/2014/main" id="{3054CA82-5DEE-4B2A-9974-F8FE10B451F4}"/>
              </a:ext>
            </a:extLst>
          </p:cNvPr>
          <p:cNvSpPr txBox="1">
            <a:spLocks/>
          </p:cNvSpPr>
          <p:nvPr userDrawn="1"/>
        </p:nvSpPr>
        <p:spPr>
          <a:xfrm>
            <a:off x="5327917" y="6237288"/>
            <a:ext cx="4567401" cy="55399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48640"/>
            <a:r>
              <a:rPr lang="en-GB" sz="1200" dirty="0">
                <a:solidFill>
                  <a:srgbClr val="FFFFFF">
                    <a:lumMod val="50000"/>
                  </a:srgbClr>
                </a:solidFill>
              </a:rPr>
              <a:t>FOR MEDICAL AND SCIENTIFIC PURPOSES ONLY – INTERNAL USE ONLY</a:t>
            </a:r>
          </a:p>
          <a:p>
            <a:pPr algn="ctr" defTabSz="548640"/>
            <a:r>
              <a:rPr lang="en-GB" sz="1200" dirty="0">
                <a:solidFill>
                  <a:srgbClr val="FFFFFF">
                    <a:lumMod val="50000"/>
                  </a:srgbClr>
                </a:solidFill>
              </a:rPr>
              <a:t>DO NOT DISTRIBUTE OR USE IN PROMOTION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="" xmlns:a16="http://schemas.microsoft.com/office/drawing/2014/main" id="{3D2A81B7-1FB4-43C3-AE9A-E3457FC6CCF3}"/>
              </a:ext>
            </a:extLst>
          </p:cNvPr>
          <p:cNvSpPr txBox="1">
            <a:spLocks/>
          </p:cNvSpPr>
          <p:nvPr userDrawn="1"/>
        </p:nvSpPr>
        <p:spPr>
          <a:xfrm>
            <a:off x="55324" y="6628190"/>
            <a:ext cx="4567401" cy="16513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48640"/>
            <a:r>
              <a:rPr lang="en-GB" sz="1080" dirty="0">
                <a:solidFill>
                  <a:srgbClr val="FFFFFF">
                    <a:lumMod val="50000"/>
                  </a:srgbClr>
                </a:solidFill>
              </a:rPr>
              <a:t>SAGLB.DIA.17.06.XXX Approved June 2017</a:t>
            </a:r>
          </a:p>
        </p:txBody>
      </p:sp>
    </p:spTree>
    <p:extLst>
      <p:ext uri="{BB962C8B-B14F-4D97-AF65-F5344CB8AC3E}">
        <p14:creationId xmlns:p14="http://schemas.microsoft.com/office/powerpoint/2010/main" val="397866286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78368" y="1653118"/>
            <a:ext cx="11226801" cy="4607983"/>
          </a:xfrm>
          <a:prstGeom prst="rect">
            <a:avLst/>
          </a:prstGeom>
          <a:solidFill>
            <a:srgbClr val="EDED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60"/>
            <a:endParaRPr lang="fr-FR" sz="162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0001" y="390653"/>
            <a:ext cx="11225167" cy="46535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Conclusion, corps 28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70519" y="1819200"/>
            <a:ext cx="5213237" cy="455155"/>
          </a:xfrm>
        </p:spPr>
        <p:txBody>
          <a:bodyPr/>
          <a:lstStyle>
            <a:lvl1pPr>
              <a:defRPr baseline="0"/>
            </a:lvl1pPr>
            <a:lvl2pPr marL="325756" indent="-163830">
              <a:tabLst/>
              <a:defRPr/>
            </a:lvl2pPr>
            <a:lvl3pPr marL="462916" indent="-158116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Texte 1er niveau, corps 20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TITRE DE LA PRÉSENTATION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0001" y="950417"/>
            <a:ext cx="11225167" cy="465508"/>
          </a:xfrm>
        </p:spPr>
        <p:txBody>
          <a:bodyPr/>
          <a:lstStyle>
            <a:lvl1pPr marL="0" indent="0">
              <a:buNone/>
              <a:defRPr sz="2640" b="0" baseline="0">
                <a:solidFill>
                  <a:schemeClr val="tx1"/>
                </a:solidFill>
              </a:defRPr>
            </a:lvl1pPr>
            <a:lvl2pPr marL="320040" indent="0">
              <a:buNone/>
              <a:defRPr/>
            </a:lvl2pPr>
            <a:lvl3pPr marL="822960" indent="0">
              <a:buNone/>
              <a:defRPr/>
            </a:lvl3pPr>
            <a:lvl4pPr marL="1234440" indent="0">
              <a:buNone/>
              <a:defRPr/>
            </a:lvl4pPr>
            <a:lvl5pPr marL="1645920" indent="0">
              <a:buNone/>
              <a:defRPr/>
            </a:lvl5pPr>
          </a:lstStyle>
          <a:p>
            <a:pPr lvl="0"/>
            <a:r>
              <a:rPr lang="fr-FR" dirty="0"/>
              <a:t>Sous-titre, corps 22</a:t>
            </a:r>
            <a:endParaRPr lang="en-US" dirty="0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670519" y="2279651"/>
            <a:ext cx="10759653" cy="383749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9" hasCustomPrompt="1"/>
          </p:nvPr>
        </p:nvSpPr>
        <p:spPr>
          <a:xfrm>
            <a:off x="670519" y="5899546"/>
            <a:ext cx="3579283" cy="224660"/>
          </a:xfrm>
        </p:spPr>
        <p:txBody>
          <a:bodyPr/>
          <a:lstStyle>
            <a:lvl1pPr marL="0" indent="0">
              <a:buNone/>
              <a:defRPr sz="144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rce du graphique</a:t>
            </a:r>
          </a:p>
        </p:txBody>
      </p:sp>
    </p:spTree>
    <p:extLst>
      <p:ext uri="{BB962C8B-B14F-4D97-AF65-F5344CB8AC3E}">
        <p14:creationId xmlns:p14="http://schemas.microsoft.com/office/powerpoint/2010/main" val="1513359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>
          <p15:clr>
            <a:srgbClr val="FBAE40"/>
          </p15:clr>
        </p15:guide>
        <p15:guide id="7" pos="308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8344212" y="6161622"/>
            <a:ext cx="3268800" cy="3937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aseline="0">
                <a:solidFill>
                  <a:srgbClr val="9A9A9A"/>
                </a:solidFill>
              </a:defRPr>
            </a:lvl1pPr>
            <a:lvl2pPr algn="r">
              <a:lnSpc>
                <a:spcPct val="100000"/>
              </a:lnSpc>
              <a:spcBef>
                <a:spcPts val="0"/>
              </a:spcBef>
              <a:defRPr sz="900"/>
            </a:lvl2pPr>
            <a:lvl3pPr algn="r">
              <a:lnSpc>
                <a:spcPct val="100000"/>
              </a:lnSpc>
              <a:spcBef>
                <a:spcPts val="0"/>
              </a:spcBef>
              <a:defRPr sz="900"/>
            </a:lvl3pPr>
            <a:lvl4pPr algn="r">
              <a:lnSpc>
                <a:spcPct val="100000"/>
              </a:lnSpc>
              <a:spcBef>
                <a:spcPts val="0"/>
              </a:spcBef>
              <a:defRPr sz="900"/>
            </a:lvl4pPr>
            <a:lvl5pPr algn="r"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lvl="0"/>
            <a:endParaRPr lang="en-GB" dirty="0"/>
          </a:p>
          <a:p>
            <a:pPr lvl="0"/>
            <a:r>
              <a:rPr lang="en-GB" dirty="0"/>
              <a:t>Insert Reference her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2546" y="6161622"/>
            <a:ext cx="3268903" cy="3937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333" baseline="0">
                <a:solidFill>
                  <a:srgbClr val="9A9A9A"/>
                </a:solidFill>
              </a:defRPr>
            </a:lvl1pPr>
            <a:lvl2pPr algn="r">
              <a:lnSpc>
                <a:spcPct val="100000"/>
              </a:lnSpc>
              <a:spcBef>
                <a:spcPts val="0"/>
              </a:spcBef>
              <a:defRPr sz="900"/>
            </a:lvl2pPr>
            <a:lvl3pPr algn="r">
              <a:lnSpc>
                <a:spcPct val="100000"/>
              </a:lnSpc>
              <a:spcBef>
                <a:spcPts val="0"/>
              </a:spcBef>
              <a:defRPr sz="900"/>
            </a:lvl3pPr>
            <a:lvl4pPr algn="r">
              <a:lnSpc>
                <a:spcPct val="100000"/>
              </a:lnSpc>
              <a:spcBef>
                <a:spcPts val="0"/>
              </a:spcBef>
              <a:defRPr sz="900"/>
            </a:lvl4pPr>
            <a:lvl5pPr algn="r">
              <a:lnSpc>
                <a:spcPct val="100000"/>
              </a:lnSpc>
              <a:spcBef>
                <a:spcPts val="0"/>
              </a:spcBef>
              <a:defRPr sz="900"/>
            </a:lvl5pPr>
          </a:lstStyle>
          <a:p>
            <a:pPr lvl="0"/>
            <a:endParaRPr lang="en-GB" dirty="0"/>
          </a:p>
          <a:p>
            <a:pPr lvl="0"/>
            <a:r>
              <a:rPr lang="en-GB" dirty="0"/>
              <a:t>Insert Footer he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275167"/>
            <a:ext cx="7289800" cy="11430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9330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 userDrawn="1">
            <p:ph idx="1"/>
          </p:nvPr>
        </p:nvSpPr>
        <p:spPr>
          <a:xfrm>
            <a:off x="726512" y="1030819"/>
            <a:ext cx="11131057" cy="4980516"/>
          </a:xfrm>
          <a:prstGeom prst="rect">
            <a:avLst/>
          </a:prstGeom>
        </p:spPr>
        <p:txBody>
          <a:bodyPr lIns="91436" tIns="45718" rIns="91436" bIns="45718">
            <a:noAutofit/>
          </a:bodyPr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2133">
                <a:solidFill>
                  <a:srgbClr val="596169"/>
                </a:solidFill>
              </a:defRPr>
            </a:lvl1pPr>
            <a:lvl2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867">
                <a:solidFill>
                  <a:srgbClr val="596169"/>
                </a:solidFill>
              </a:defRPr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3pPr>
            <a:lvl4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4pPr>
            <a:lvl5pPr>
              <a:spcBef>
                <a:spcPts val="800"/>
              </a:spcBef>
              <a:spcAft>
                <a:spcPts val="0"/>
              </a:spcAft>
              <a:buClr>
                <a:srgbClr val="81BD55"/>
              </a:buClr>
              <a:defRPr sz="160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36"/>
            <a:ext cx="1873504" cy="401869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-4305" y="6351341"/>
            <a:ext cx="12196308" cy="506659"/>
            <a:chOff x="-3231" y="4763506"/>
            <a:chExt cx="9147231" cy="379994"/>
          </a:xfrm>
        </p:grpSpPr>
        <p:sp>
          <p:nvSpPr>
            <p:cNvPr id="3" name="Freeform 2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  <p:sp>
          <p:nvSpPr>
            <p:cNvPr id="4" name="Freeform 3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033699" y="6346195"/>
            <a:ext cx="2823887" cy="360096"/>
          </a:xfrm>
          <a:prstGeom prst="rect">
            <a:avLst/>
          </a:prstGeom>
        </p:spPr>
        <p:txBody>
          <a:bodyPr vert="horz" lIns="121915" tIns="60957" rIns="121915" bIns="60957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333" smtClean="0">
                <a:solidFill>
                  <a:srgbClr val="FFFFFF"/>
                </a:solidFill>
              </a:rPr>
              <a:pPr/>
              <a:t>‹#›</a:t>
            </a:fld>
            <a:endParaRPr lang="en-GB" sz="1333" dirty="0">
              <a:solidFill>
                <a:srgbClr val="FFFFFF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34032" y="272734"/>
            <a:ext cx="11523537" cy="436361"/>
          </a:xfrm>
          <a:prstGeom prst="rect">
            <a:avLst/>
          </a:prstGeom>
        </p:spPr>
        <p:txBody>
          <a:bodyPr lIns="91436" tIns="45718" rIns="91436" bIns="45718">
            <a:noAutofit/>
          </a:bodyPr>
          <a:lstStyle>
            <a:lvl1pPr marL="0" indent="0">
              <a:defRPr sz="320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83121" y="781347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="" xmlns:a16="http://schemas.microsoft.com/office/drawing/2014/main" id="{AC8AB1B8-F7E7-4C7C-9963-56E2293E6530}"/>
              </a:ext>
            </a:extLst>
          </p:cNvPr>
          <p:cNvSpPr txBox="1">
            <a:spLocks/>
          </p:cNvSpPr>
          <p:nvPr userDrawn="1"/>
        </p:nvSpPr>
        <p:spPr>
          <a:xfrm>
            <a:off x="4237792" y="6640198"/>
            <a:ext cx="3708000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en-US" sz="700" dirty="0">
                <a:solidFill>
                  <a:srgbClr val="FFFFFF"/>
                </a:solidFill>
              </a:rPr>
              <a:t>FOR INTERNAL USE ONLY  –  DO NOT DISTRIBUTE OR USE IN PROMOTION 			</a:t>
            </a:r>
            <a:endParaRPr lang="en-GB" sz="7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77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4800" y="1219200"/>
            <a:ext cx="11582400" cy="4343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5638800"/>
            <a:ext cx="9448800" cy="609600"/>
          </a:xfr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80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24575" y="6647715"/>
            <a:ext cx="351891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>
                <a:solidFill>
                  <a:srgbClr val="444492"/>
                </a:solidFill>
              </a:rPr>
              <a:t>CONFIDENTIAL -  </a:t>
            </a:r>
            <a:r>
              <a:rPr lang="fr-FR" sz="800" dirty="0">
                <a:solidFill>
                  <a:srgbClr val="444492"/>
                </a:solidFill>
              </a:rPr>
              <a:t>NOT FOR DISTRIBUTION OR USE IN PROMOTION </a:t>
            </a:r>
            <a:endParaRPr lang="en-GB" sz="800" dirty="0">
              <a:solidFill>
                <a:srgbClr val="444492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79239" y="6519536"/>
            <a:ext cx="536573" cy="365125"/>
          </a:xfrm>
          <a:prstGeom prst="rect">
            <a:avLst/>
          </a:prstGeom>
        </p:spPr>
        <p:txBody>
          <a:bodyPr/>
          <a:lstStyle>
            <a:lvl1pPr algn="ctr">
              <a:defRPr sz="800" b="0" i="0">
                <a:solidFill>
                  <a:schemeClr val="bg1"/>
                </a:solidFill>
                <a:latin typeface="Helvetica"/>
                <a:cs typeface="Helvetica"/>
              </a:defRPr>
            </a:lvl1pPr>
          </a:lstStyle>
          <a:p>
            <a:fld id="{78509EE6-8B91-7A43-9ECB-7CA57E7055C7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842241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77D764E-A4F5-4D5F-B257-5334478D4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384" y="164639"/>
            <a:ext cx="10944225" cy="40855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B02AB173-39CA-4BF6-B43C-5278CC3854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746A24BB-9915-49CF-86DB-F65DA15B55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88F1C4-6CF7-426E-9582-1E0CD82812B0}" type="slidenum">
              <a:rPr lang="en-GB" smtClean="0">
                <a:solidFill>
                  <a:srgbClr val="4A4A49"/>
                </a:solidFill>
              </a:rPr>
              <a:pPr/>
              <a:t>‹#›</a:t>
            </a:fld>
            <a:endParaRPr lang="en-GB" dirty="0">
              <a:solidFill>
                <a:srgbClr val="4A4A49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CEF4C6EE-C37D-42E2-9CA7-2A01CC7973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93" y="1556798"/>
            <a:ext cx="10944225" cy="408551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cap="all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117442"/>
      </p:ext>
    </p:extLst>
  </p:cSld>
  <p:clrMapOvr>
    <a:masterClrMapping/>
  </p:clrMapOvr>
  <p:transition spd="slow">
    <p:wipe dir="r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2E8B306-862B-434C-BFD9-FF06E4253F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5CB885D0-BF03-46B5-988C-F0A0FDAC02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7" y="2132859"/>
            <a:ext cx="5400676" cy="18843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78180304-AD29-4CF5-B063-864B9C407E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8608" y="2132859"/>
            <a:ext cx="5400000" cy="188434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CB1A37D4-4AD9-4B8F-AF57-FA8F5BAC53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88F1C4-6CF7-426E-9582-1E0CD82812B0}" type="slidenum">
              <a:rPr lang="en-GB" smtClean="0">
                <a:solidFill>
                  <a:srgbClr val="4A4A49"/>
                </a:solidFill>
              </a:rPr>
              <a:pPr/>
              <a:t>‹#›</a:t>
            </a:fld>
            <a:endParaRPr lang="en-GB" dirty="0">
              <a:solidFill>
                <a:srgbClr val="4A4A49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F5F9A866-02DB-4B34-B613-15531ECAD7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93" y="1556798"/>
            <a:ext cx="10944225" cy="408551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cap="all" baseline="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4212244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840">
          <p15:clr>
            <a:srgbClr val="FBAE40"/>
          </p15:clr>
        </p15:guide>
        <p15:guide id="3" pos="3885">
          <p15:clr>
            <a:srgbClr val="FBAE40"/>
          </p15:clr>
        </p15:guide>
        <p15:guide id="4" pos="393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omp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 hasCustomPrompt="1"/>
          </p:nvPr>
        </p:nvSpPr>
        <p:spPr>
          <a:xfrm>
            <a:off x="422400" y="514567"/>
            <a:ext cx="11347200" cy="17152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8000" anchor="ctr" anchorCtr="0">
            <a:noAutofit/>
          </a:bodyPr>
          <a:lstStyle>
            <a:lvl1pPr marL="0" indent="0" algn="l">
              <a:buFontTx/>
              <a:buNone/>
              <a:defRPr sz="1467" baseline="0"/>
            </a:lvl1pPr>
          </a:lstStyle>
          <a:p>
            <a:pPr lvl="0"/>
            <a:r>
              <a:rPr lang="en-GB" noProof="0" dirty="0"/>
              <a:t>Insert </a:t>
            </a:r>
            <a:r>
              <a:rPr lang="en-GB" noProof="0" dirty="0" err="1"/>
              <a:t>trompet</a:t>
            </a:r>
            <a:endParaRPr lang="en-GB" noProof="0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3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Presentation title</a:t>
            </a: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1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82786F"/>
                </a:solidFill>
              </a:rPr>
              <a:t>Date</a:t>
            </a: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488" eaLnBrk="1" hangingPunct="1">
              <a:defRPr sz="8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047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04800" y="1219200"/>
            <a:ext cx="11582400" cy="4343400"/>
          </a:xfrm>
        </p:spPr>
        <p:txBody>
          <a:bodyPr/>
          <a:lstStyle/>
          <a:p>
            <a:pPr lvl="0"/>
            <a:r>
              <a:rPr lang="en-GB" noProof="0" dirty="0" err="1"/>
              <a:t>Cliquez</a:t>
            </a:r>
            <a:r>
              <a:rPr lang="en-GB" noProof="0" dirty="0"/>
              <a:t> pour modifier les styles du </a:t>
            </a:r>
            <a:r>
              <a:rPr lang="en-GB" noProof="0" dirty="0" err="1"/>
              <a:t>texte</a:t>
            </a:r>
            <a:r>
              <a:rPr lang="en-GB" noProof="0" dirty="0"/>
              <a:t> du masque</a:t>
            </a:r>
          </a:p>
          <a:p>
            <a:pPr lvl="1"/>
            <a:r>
              <a:rPr lang="en-GB" noProof="0" dirty="0" err="1"/>
              <a:t>Deux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2"/>
            <a:r>
              <a:rPr lang="en-GB" noProof="0" dirty="0" err="1"/>
              <a:t>Trois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3"/>
            <a:r>
              <a:rPr lang="en-GB" noProof="0" dirty="0" err="1"/>
              <a:t>Quatr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4"/>
            <a:r>
              <a:rPr lang="en-GB" noProof="0" dirty="0" err="1"/>
              <a:t>Cinqu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5638800"/>
            <a:ext cx="9448800" cy="609600"/>
          </a:xfr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96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460690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5638800"/>
            <a:ext cx="9448800" cy="609600"/>
          </a:xfrm>
        </p:spPr>
        <p:txBody>
          <a:bodyPr lIns="0" tIns="0" rIns="0" bIns="0" anchor="b">
            <a:normAutofit/>
          </a:bodyPr>
          <a:lstStyle>
            <a:lvl1pPr marL="0" indent="0" algn="l">
              <a:buNone/>
              <a:defRPr sz="960">
                <a:solidFill>
                  <a:schemeClr val="tx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77183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90655"/>
            <a:ext cx="11226800" cy="46535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Slide texte - 1 colonne, corps 28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8" y="1777415"/>
            <a:ext cx="11226801" cy="4483693"/>
          </a:xfrm>
        </p:spPr>
        <p:txBody>
          <a:bodyPr/>
          <a:lstStyle>
            <a:lvl1pPr>
              <a:defRPr baseline="0"/>
            </a:lvl1pPr>
            <a:lvl3pPr marL="483870" indent="-160020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fr-FR" dirty="0"/>
              <a:t>Texte 1er niveau, corps 18</a:t>
            </a:r>
          </a:p>
          <a:p>
            <a:pPr lvl="1"/>
            <a:r>
              <a:rPr lang="fr-FR" dirty="0"/>
              <a:t>Texte 2e niveau, corps 16</a:t>
            </a:r>
          </a:p>
          <a:p>
            <a:pPr lvl="2"/>
            <a:r>
              <a:rPr lang="fr-FR" dirty="0"/>
              <a:t>Texte 3e niveau, corps 14</a:t>
            </a:r>
          </a:p>
        </p:txBody>
      </p:sp>
      <p:sp>
        <p:nvSpPr>
          <p:cNvPr id="24" name="Espace réservé de la date 2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dirty="0">
                <a:solidFill>
                  <a:srgbClr val="6B747B"/>
                </a:solidFill>
              </a:rPr>
              <a:t>DATE</a:t>
            </a:r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rgbClr val="6B747B"/>
                </a:solidFill>
              </a:rPr>
              <a:t>TITRE DE LA PRÉSENTATION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>
                <a:solidFill>
                  <a:srgbClr val="6B747B"/>
                </a:solidFill>
              </a:rPr>
              <a:pPr/>
              <a:t>‹#›</a:t>
            </a:fld>
            <a:endParaRPr lang="fr-FR" dirty="0">
              <a:solidFill>
                <a:srgbClr val="6B747B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78368" y="950427"/>
            <a:ext cx="11226801" cy="465508"/>
          </a:xfrm>
        </p:spPr>
        <p:txBody>
          <a:bodyPr/>
          <a:lstStyle>
            <a:lvl1pPr marL="0" indent="0">
              <a:buNone/>
              <a:defRPr sz="2640" b="0" baseline="0">
                <a:solidFill>
                  <a:schemeClr val="tx1"/>
                </a:solidFill>
              </a:defRPr>
            </a:lvl1pPr>
            <a:lvl2pPr marL="320040" indent="0">
              <a:buNone/>
              <a:defRPr/>
            </a:lvl2pPr>
            <a:lvl3pPr marL="822960" indent="0">
              <a:buNone/>
              <a:defRPr/>
            </a:lvl3pPr>
            <a:lvl4pPr marL="1234440" indent="0">
              <a:buNone/>
              <a:defRPr/>
            </a:lvl4pPr>
            <a:lvl5pPr marL="1645920" indent="0">
              <a:buNone/>
              <a:defRPr/>
            </a:lvl5pPr>
          </a:lstStyle>
          <a:p>
            <a:pPr lvl="0"/>
            <a:r>
              <a:rPr lang="fr-FR" dirty="0"/>
              <a:t>Sous-titre, corps 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323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89676" y="1030818"/>
            <a:ext cx="5592533" cy="4415366"/>
          </a:xfrm>
          <a:prstGeom prst="rect">
            <a:avLst/>
          </a:prstGeom>
        </p:spPr>
        <p:txBody>
          <a:bodyPr lIns="91414" tIns="45706" rIns="91414" bIns="45706">
            <a:noAutofit/>
          </a:bodyPr>
          <a:lstStyle>
            <a:lvl1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920">
                <a:solidFill>
                  <a:srgbClr val="596169"/>
                </a:solidFill>
              </a:defRPr>
            </a:lvl1pPr>
            <a:lvl2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680">
                <a:solidFill>
                  <a:srgbClr val="596169"/>
                </a:solidFill>
              </a:defRPr>
            </a:lvl2pPr>
            <a:lvl3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3pPr>
            <a:lvl4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4pPr>
            <a:lvl5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2"/>
          </p:nvPr>
        </p:nvSpPr>
        <p:spPr>
          <a:xfrm>
            <a:off x="6209796" y="1030818"/>
            <a:ext cx="5647773" cy="4415366"/>
          </a:xfrm>
          <a:prstGeom prst="rect">
            <a:avLst/>
          </a:prstGeom>
        </p:spPr>
        <p:txBody>
          <a:bodyPr lIns="91414" tIns="45706" rIns="91414" bIns="45706">
            <a:noAutofit/>
          </a:bodyPr>
          <a:lstStyle>
            <a:lvl1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920">
                <a:solidFill>
                  <a:srgbClr val="596169"/>
                </a:solidFill>
              </a:defRPr>
            </a:lvl1pPr>
            <a:lvl2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680">
                <a:solidFill>
                  <a:srgbClr val="596169"/>
                </a:solidFill>
              </a:defRPr>
            </a:lvl2pPr>
            <a:lvl3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3pPr>
            <a:lvl4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4pPr>
            <a:lvl5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-4305" y="6351342"/>
            <a:ext cx="12196309" cy="506659"/>
            <a:chOff x="-3231" y="4763506"/>
            <a:chExt cx="9147231" cy="379994"/>
          </a:xfrm>
        </p:grpSpPr>
        <p:sp>
          <p:nvSpPr>
            <p:cNvPr id="22" name="Freeform 21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160" dirty="0">
                <a:solidFill>
                  <a:srgbClr val="FFFFFF"/>
                </a:solidFill>
              </a:endParaRPr>
            </a:p>
          </p:txBody>
        </p:sp>
        <p:sp>
          <p:nvSpPr>
            <p:cNvPr id="23" name="Freeform 22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60" dirty="0">
                <a:solidFill>
                  <a:srgbClr val="FFFFFF"/>
                </a:solidFill>
              </a:endParaRPr>
            </a:p>
          </p:txBody>
        </p:sp>
      </p:grp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334046" y="272726"/>
            <a:ext cx="11523537" cy="436361"/>
          </a:xfrm>
          <a:prstGeom prst="rect">
            <a:avLst/>
          </a:prstGeom>
        </p:spPr>
        <p:txBody>
          <a:bodyPr lIns="91414" tIns="45706" rIns="91414" bIns="45706">
            <a:noAutofit/>
          </a:bodyPr>
          <a:lstStyle>
            <a:lvl1pPr marL="0" indent="0">
              <a:defRPr sz="288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Slide Number Placeholder 5"/>
          <p:cNvSpPr txBox="1">
            <a:spLocks/>
          </p:cNvSpPr>
          <p:nvPr userDrawn="1"/>
        </p:nvSpPr>
        <p:spPr>
          <a:xfrm>
            <a:off x="9033701" y="6346195"/>
            <a:ext cx="2823887" cy="360096"/>
          </a:xfrm>
          <a:prstGeom prst="rect">
            <a:avLst/>
          </a:prstGeom>
        </p:spPr>
        <p:txBody>
          <a:bodyPr vert="horz" lIns="109697" tIns="54847" rIns="109697" bIns="54847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200" smtClean="0">
                <a:solidFill>
                  <a:srgbClr val="FFFFFF"/>
                </a:solidFill>
              </a:rPr>
              <a:pPr/>
              <a:t>‹#›</a:t>
            </a:fld>
            <a:endParaRPr lang="en-GB" sz="1200" dirty="0">
              <a:solidFill>
                <a:srgbClr val="FFFFFF"/>
              </a:solidFill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50"/>
            <a:ext cx="1873504" cy="401869"/>
          </a:xfrm>
          <a:prstGeom prst="rect">
            <a:avLst/>
          </a:prstGeom>
        </p:spPr>
      </p:pic>
      <p:cxnSp>
        <p:nvCxnSpPr>
          <p:cNvPr id="31" name="Straight Connector 30"/>
          <p:cNvCxnSpPr/>
          <p:nvPr userDrawn="1"/>
        </p:nvCxnSpPr>
        <p:spPr>
          <a:xfrm>
            <a:off x="383136" y="781346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6" name="Text Placeholder 5">
            <a:extLst>
              <a:ext uri="{FF2B5EF4-FFF2-40B4-BE49-F238E27FC236}">
                <a16:creationId xmlns="" xmlns:a16="http://schemas.microsoft.com/office/drawing/2014/main" id="{F6372B03-52F0-404D-93B4-591FB95B16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5781" y="5557613"/>
            <a:ext cx="5606424" cy="381000"/>
          </a:xfrm>
          <a:prstGeom prst="rect">
            <a:avLst/>
          </a:prstGeom>
        </p:spPr>
        <p:txBody>
          <a:bodyPr lIns="91414" tIns="45706" rIns="91414" bIns="45706" anchor="b">
            <a:noAutofit/>
          </a:bodyPr>
          <a:lstStyle>
            <a:lvl1pPr marL="0" indent="0">
              <a:spcAft>
                <a:spcPts val="0"/>
              </a:spcAft>
              <a:buNone/>
              <a:defRPr sz="960"/>
            </a:lvl1pPr>
          </a:lstStyle>
          <a:p>
            <a:pPr lvl="0"/>
            <a:r>
              <a:rPr lang="en-GB" dirty="0"/>
              <a:t>Footnotes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="" xmlns:a16="http://schemas.microsoft.com/office/drawing/2014/main" id="{71A09A5B-6255-4116-8447-574A6C6578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19792" y="5548447"/>
            <a:ext cx="5647773" cy="381000"/>
          </a:xfrm>
          <a:prstGeom prst="rect">
            <a:avLst/>
          </a:prstGeom>
        </p:spPr>
        <p:txBody>
          <a:bodyPr lIns="91414" tIns="45706" rIns="91414" bIns="45706" anchor="b">
            <a:noAutofit/>
          </a:bodyPr>
          <a:lstStyle>
            <a:lvl1pPr marL="0" indent="0" algn="r">
              <a:spcAft>
                <a:spcPts val="0"/>
              </a:spcAft>
              <a:buNone/>
              <a:defRPr sz="960"/>
            </a:lvl1pPr>
          </a:lstStyle>
          <a:p>
            <a:pPr lvl="0"/>
            <a:r>
              <a:rPr lang="en-GB" dirty="0"/>
              <a:t>References</a:t>
            </a:r>
          </a:p>
        </p:txBody>
      </p:sp>
      <p:sp>
        <p:nvSpPr>
          <p:cNvPr id="18" name="ZoneTexte 1">
            <a:extLst>
              <a:ext uri="{FF2B5EF4-FFF2-40B4-BE49-F238E27FC236}">
                <a16:creationId xmlns="" xmlns:a16="http://schemas.microsoft.com/office/drawing/2014/main" id="{B183C65C-C43A-4F64-82DA-C2EA17DF66B5}"/>
              </a:ext>
            </a:extLst>
          </p:cNvPr>
          <p:cNvSpPr txBox="1"/>
          <p:nvPr userDrawn="1"/>
        </p:nvSpPr>
        <p:spPr>
          <a:xfrm>
            <a:off x="3735214" y="6628986"/>
            <a:ext cx="4493540" cy="258498"/>
          </a:xfrm>
          <a:prstGeom prst="rect">
            <a:avLst/>
          </a:prstGeom>
          <a:noFill/>
        </p:spPr>
        <p:txBody>
          <a:bodyPr wrap="none" lIns="109697" tIns="54847" rIns="109697" bIns="54847" rtlCol="0">
            <a:spAutoFit/>
          </a:bodyPr>
          <a:lstStyle/>
          <a:p>
            <a:r>
              <a:rPr lang="fr-FR" sz="960" dirty="0">
                <a:solidFill>
                  <a:srgbClr val="FFFFFF"/>
                </a:solidFill>
              </a:rPr>
              <a:t>FOR MEDICAL and SCIENTIFIC PURPOSES ONLY – INTERNAL USE ONLY</a:t>
            </a:r>
            <a:endParaRPr lang="en-US" sz="96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72711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 userDrawn="1">
            <p:ph idx="1"/>
          </p:nvPr>
        </p:nvSpPr>
        <p:spPr>
          <a:xfrm>
            <a:off x="383119" y="1030819"/>
            <a:ext cx="11474448" cy="4980516"/>
          </a:xfrm>
          <a:prstGeom prst="rect">
            <a:avLst/>
          </a:prstGeom>
        </p:spPr>
        <p:txBody>
          <a:bodyPr lIns="91414" tIns="45706" rIns="91414" bIns="45706">
            <a:noAutofit/>
          </a:bodyPr>
          <a:lstStyle>
            <a:lvl1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920">
                <a:solidFill>
                  <a:srgbClr val="596169"/>
                </a:solidFill>
              </a:defRPr>
            </a:lvl1pPr>
            <a:lvl2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680">
                <a:solidFill>
                  <a:srgbClr val="596169"/>
                </a:solidFill>
              </a:defRPr>
            </a:lvl2pPr>
            <a:lvl3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3pPr>
            <a:lvl4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4pPr>
            <a:lvl5pPr>
              <a:spcBef>
                <a:spcPts val="720"/>
              </a:spcBef>
              <a:spcAft>
                <a:spcPts val="0"/>
              </a:spcAft>
              <a:buClr>
                <a:srgbClr val="81BD55"/>
              </a:buClr>
              <a:defRPr sz="1440">
                <a:solidFill>
                  <a:srgbClr val="59616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50"/>
            <a:ext cx="1873504" cy="401869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-4305" y="6351342"/>
            <a:ext cx="12196309" cy="506659"/>
            <a:chOff x="-3231" y="4763506"/>
            <a:chExt cx="9147231" cy="379994"/>
          </a:xfrm>
        </p:grpSpPr>
        <p:sp>
          <p:nvSpPr>
            <p:cNvPr id="3" name="Freeform 2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160" dirty="0">
                <a:solidFill>
                  <a:srgbClr val="FFFFFF"/>
                </a:solidFill>
              </a:endParaRPr>
            </a:p>
          </p:txBody>
        </p:sp>
        <p:sp>
          <p:nvSpPr>
            <p:cNvPr id="4" name="Freeform 3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60" dirty="0">
                <a:solidFill>
                  <a:srgbClr val="FFFFFF"/>
                </a:solidFill>
              </a:endParaRPr>
            </a:p>
          </p:txBody>
        </p:sp>
      </p:grp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033701" y="6346195"/>
            <a:ext cx="2823887" cy="360096"/>
          </a:xfrm>
          <a:prstGeom prst="rect">
            <a:avLst/>
          </a:prstGeom>
        </p:spPr>
        <p:txBody>
          <a:bodyPr vert="horz" lIns="109697" tIns="54847" rIns="109697" bIns="54847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200" smtClean="0">
                <a:solidFill>
                  <a:srgbClr val="FFFFFF"/>
                </a:solidFill>
              </a:rPr>
              <a:pPr/>
              <a:t>‹#›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34046" y="272726"/>
            <a:ext cx="11523537" cy="436361"/>
          </a:xfrm>
          <a:prstGeom prst="rect">
            <a:avLst/>
          </a:prstGeom>
        </p:spPr>
        <p:txBody>
          <a:bodyPr lIns="91414" tIns="45706" rIns="91414" bIns="45706">
            <a:noAutofit/>
          </a:bodyPr>
          <a:lstStyle>
            <a:lvl1pPr marL="0" indent="0">
              <a:defRPr sz="288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83136" y="781346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1" name="ZoneTexte 1">
            <a:extLst>
              <a:ext uri="{FF2B5EF4-FFF2-40B4-BE49-F238E27FC236}">
                <a16:creationId xmlns="" xmlns:a16="http://schemas.microsoft.com/office/drawing/2014/main" id="{B183C65C-C43A-4F64-82DA-C2EA17DF66B5}"/>
              </a:ext>
            </a:extLst>
          </p:cNvPr>
          <p:cNvSpPr txBox="1"/>
          <p:nvPr userDrawn="1"/>
        </p:nvSpPr>
        <p:spPr>
          <a:xfrm>
            <a:off x="3735214" y="6628986"/>
            <a:ext cx="4493540" cy="258498"/>
          </a:xfrm>
          <a:prstGeom prst="rect">
            <a:avLst/>
          </a:prstGeom>
          <a:noFill/>
        </p:spPr>
        <p:txBody>
          <a:bodyPr wrap="none" lIns="109697" tIns="54847" rIns="109697" bIns="54847" rtlCol="0">
            <a:spAutoFit/>
          </a:bodyPr>
          <a:lstStyle/>
          <a:p>
            <a:r>
              <a:rPr lang="fr-FR" sz="960" dirty="0">
                <a:solidFill>
                  <a:srgbClr val="FFFFFF"/>
                </a:solidFill>
              </a:rPr>
              <a:t>FOR MEDICAL and SCIENTIFIC PURPOSES ONLY – INTERNAL USE ONLY</a:t>
            </a:r>
            <a:endParaRPr lang="en-US" sz="96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38788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-4305" y="6351342"/>
            <a:ext cx="12196309" cy="506659"/>
            <a:chOff x="-3231" y="4763506"/>
            <a:chExt cx="9147231" cy="379994"/>
          </a:xfrm>
        </p:grpSpPr>
        <p:sp>
          <p:nvSpPr>
            <p:cNvPr id="18" name="Freeform 17"/>
            <p:cNvSpPr/>
            <p:nvPr userDrawn="1"/>
          </p:nvSpPr>
          <p:spPr>
            <a:xfrm flipH="1">
              <a:off x="-3231" y="4763506"/>
              <a:ext cx="8290371" cy="228733"/>
            </a:xfrm>
            <a:custGeom>
              <a:avLst/>
              <a:gdLst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1178 h 232578"/>
                <a:gd name="connsiteX1" fmla="*/ 708915 w 2626015"/>
                <a:gd name="connsiteY1" fmla="*/ 12310 h 232578"/>
                <a:gd name="connsiteX2" fmla="*/ 2377441 w 2626015"/>
                <a:gd name="connsiteY2" fmla="*/ 225602 h 232578"/>
                <a:gd name="connsiteX3" fmla="*/ 2626015 w 2626015"/>
                <a:gd name="connsiteY3" fmla="*/ 232578 h 232578"/>
                <a:gd name="connsiteX4" fmla="*/ 1689444 w 2626015"/>
                <a:gd name="connsiteY4" fmla="*/ 215262 h 232578"/>
                <a:gd name="connsiteX5" fmla="*/ 121145 w 2626015"/>
                <a:gd name="connsiteY5" fmla="*/ 49730 h 232578"/>
                <a:gd name="connsiteX6" fmla="*/ 0 w 2626015"/>
                <a:gd name="connsiteY6" fmla="*/ 29916 h 232578"/>
                <a:gd name="connsiteX7" fmla="*/ 16605 w 2626015"/>
                <a:gd name="connsiteY7" fmla="*/ 26933 h 232578"/>
                <a:gd name="connsiteX8" fmla="*/ 515999 w 2626015"/>
                <a:gd name="connsiteY8" fmla="*/ 1178 h 232578"/>
                <a:gd name="connsiteX0" fmla="*/ 515999 w 2626015"/>
                <a:gd name="connsiteY0" fmla="*/ 5789 h 237189"/>
                <a:gd name="connsiteX1" fmla="*/ 708915 w 2626015"/>
                <a:gd name="connsiteY1" fmla="*/ 16921 h 237189"/>
                <a:gd name="connsiteX2" fmla="*/ 2372402 w 2626015"/>
                <a:gd name="connsiteY2" fmla="*/ 192635 h 237189"/>
                <a:gd name="connsiteX3" fmla="*/ 2626015 w 2626015"/>
                <a:gd name="connsiteY3" fmla="*/ 237189 h 237189"/>
                <a:gd name="connsiteX4" fmla="*/ 1689444 w 2626015"/>
                <a:gd name="connsiteY4" fmla="*/ 219873 h 237189"/>
                <a:gd name="connsiteX5" fmla="*/ 121145 w 2626015"/>
                <a:gd name="connsiteY5" fmla="*/ 54341 h 237189"/>
                <a:gd name="connsiteX6" fmla="*/ 0 w 2626015"/>
                <a:gd name="connsiteY6" fmla="*/ 34527 h 237189"/>
                <a:gd name="connsiteX7" fmla="*/ 16605 w 2626015"/>
                <a:gd name="connsiteY7" fmla="*/ 31544 h 237189"/>
                <a:gd name="connsiteX8" fmla="*/ 515999 w 2626015"/>
                <a:gd name="connsiteY8" fmla="*/ 5789 h 237189"/>
                <a:gd name="connsiteX0" fmla="*/ 515999 w 3074443"/>
                <a:gd name="connsiteY0" fmla="*/ 5789 h 237189"/>
                <a:gd name="connsiteX1" fmla="*/ 708915 w 3074443"/>
                <a:gd name="connsiteY1" fmla="*/ 16921 h 237189"/>
                <a:gd name="connsiteX2" fmla="*/ 2372402 w 3074443"/>
                <a:gd name="connsiteY2" fmla="*/ 192635 h 237189"/>
                <a:gd name="connsiteX3" fmla="*/ 3074443 w 3074443"/>
                <a:gd name="connsiteY3" fmla="*/ 237189 h 237189"/>
                <a:gd name="connsiteX4" fmla="*/ 1689444 w 3074443"/>
                <a:gd name="connsiteY4" fmla="*/ 219873 h 237189"/>
                <a:gd name="connsiteX5" fmla="*/ 121145 w 3074443"/>
                <a:gd name="connsiteY5" fmla="*/ 54341 h 237189"/>
                <a:gd name="connsiteX6" fmla="*/ 0 w 3074443"/>
                <a:gd name="connsiteY6" fmla="*/ 34527 h 237189"/>
                <a:gd name="connsiteX7" fmla="*/ 16605 w 3074443"/>
                <a:gd name="connsiteY7" fmla="*/ 31544 h 237189"/>
                <a:gd name="connsiteX8" fmla="*/ 515999 w 3074443"/>
                <a:gd name="connsiteY8" fmla="*/ 5789 h 237189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21145 w 3074443"/>
                <a:gd name="connsiteY5" fmla="*/ 55670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7118 h 238518"/>
                <a:gd name="connsiteX1" fmla="*/ 708915 w 3074443"/>
                <a:gd name="connsiteY1" fmla="*/ 18250 h 238518"/>
                <a:gd name="connsiteX2" fmla="*/ 2367364 w 3074443"/>
                <a:gd name="connsiteY2" fmla="*/ 212753 h 238518"/>
                <a:gd name="connsiteX3" fmla="*/ 3074443 w 3074443"/>
                <a:gd name="connsiteY3" fmla="*/ 238518 h 238518"/>
                <a:gd name="connsiteX4" fmla="*/ 1689444 w 3074443"/>
                <a:gd name="connsiteY4" fmla="*/ 221202 h 238518"/>
                <a:gd name="connsiteX5" fmla="*/ 176994 w 3074443"/>
                <a:gd name="connsiteY5" fmla="*/ 99512 h 238518"/>
                <a:gd name="connsiteX6" fmla="*/ 0 w 3074443"/>
                <a:gd name="connsiteY6" fmla="*/ 35856 h 238518"/>
                <a:gd name="connsiteX7" fmla="*/ 16605 w 3074443"/>
                <a:gd name="connsiteY7" fmla="*/ 32873 h 238518"/>
                <a:gd name="connsiteX8" fmla="*/ 515999 w 3074443"/>
                <a:gd name="connsiteY8" fmla="*/ 7118 h 238518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4443"/>
                <a:gd name="connsiteY0" fmla="*/ 5351 h 236751"/>
                <a:gd name="connsiteX1" fmla="*/ 708915 w 3074443"/>
                <a:gd name="connsiteY1" fmla="*/ 16483 h 236751"/>
                <a:gd name="connsiteX2" fmla="*/ 2365037 w 3074443"/>
                <a:gd name="connsiteY2" fmla="*/ 185934 h 236751"/>
                <a:gd name="connsiteX3" fmla="*/ 3074443 w 3074443"/>
                <a:gd name="connsiteY3" fmla="*/ 236751 h 236751"/>
                <a:gd name="connsiteX4" fmla="*/ 1689444 w 3074443"/>
                <a:gd name="connsiteY4" fmla="*/ 219435 h 236751"/>
                <a:gd name="connsiteX5" fmla="*/ 176994 w 3074443"/>
                <a:gd name="connsiteY5" fmla="*/ 97745 h 236751"/>
                <a:gd name="connsiteX6" fmla="*/ 0 w 3074443"/>
                <a:gd name="connsiteY6" fmla="*/ 34089 h 236751"/>
                <a:gd name="connsiteX7" fmla="*/ 16605 w 3074443"/>
                <a:gd name="connsiteY7" fmla="*/ 31106 h 236751"/>
                <a:gd name="connsiteX8" fmla="*/ 515999 w 3074443"/>
                <a:gd name="connsiteY8" fmla="*/ 5351 h 236751"/>
                <a:gd name="connsiteX0" fmla="*/ 515999 w 3076770"/>
                <a:gd name="connsiteY0" fmla="*/ 5351 h 230488"/>
                <a:gd name="connsiteX1" fmla="*/ 708915 w 3076770"/>
                <a:gd name="connsiteY1" fmla="*/ 16483 h 230488"/>
                <a:gd name="connsiteX2" fmla="*/ 2365037 w 3076770"/>
                <a:gd name="connsiteY2" fmla="*/ 185934 h 230488"/>
                <a:gd name="connsiteX3" fmla="*/ 3076770 w 3076770"/>
                <a:gd name="connsiteY3" fmla="*/ 230488 h 230488"/>
                <a:gd name="connsiteX4" fmla="*/ 1689444 w 3076770"/>
                <a:gd name="connsiteY4" fmla="*/ 219435 h 230488"/>
                <a:gd name="connsiteX5" fmla="*/ 176994 w 3076770"/>
                <a:gd name="connsiteY5" fmla="*/ 97745 h 230488"/>
                <a:gd name="connsiteX6" fmla="*/ 0 w 3076770"/>
                <a:gd name="connsiteY6" fmla="*/ 34089 h 230488"/>
                <a:gd name="connsiteX7" fmla="*/ 16605 w 3076770"/>
                <a:gd name="connsiteY7" fmla="*/ 31106 h 230488"/>
                <a:gd name="connsiteX8" fmla="*/ 515999 w 3076770"/>
                <a:gd name="connsiteY8" fmla="*/ 5351 h 230488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176994 w 3076770"/>
                <a:gd name="connsiteY5" fmla="*/ 97745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5351 h 238224"/>
                <a:gd name="connsiteX1" fmla="*/ 708915 w 3076770"/>
                <a:gd name="connsiteY1" fmla="*/ 16483 h 238224"/>
                <a:gd name="connsiteX2" fmla="*/ 2365037 w 3076770"/>
                <a:gd name="connsiteY2" fmla="*/ 185934 h 238224"/>
                <a:gd name="connsiteX3" fmla="*/ 3076770 w 3076770"/>
                <a:gd name="connsiteY3" fmla="*/ 230488 h 238224"/>
                <a:gd name="connsiteX4" fmla="*/ 1689444 w 3076770"/>
                <a:gd name="connsiteY4" fmla="*/ 238224 h 238224"/>
                <a:gd name="connsiteX5" fmla="*/ 263094 w 3076770"/>
                <a:gd name="connsiteY5" fmla="*/ 116534 h 238224"/>
                <a:gd name="connsiteX6" fmla="*/ 0 w 3076770"/>
                <a:gd name="connsiteY6" fmla="*/ 34089 h 238224"/>
                <a:gd name="connsiteX7" fmla="*/ 16605 w 3076770"/>
                <a:gd name="connsiteY7" fmla="*/ 31106 h 238224"/>
                <a:gd name="connsiteX8" fmla="*/ 515999 w 3076770"/>
                <a:gd name="connsiteY8" fmla="*/ 5351 h 238224"/>
                <a:gd name="connsiteX0" fmla="*/ 515999 w 3076770"/>
                <a:gd name="connsiteY0" fmla="*/ 9187 h 242060"/>
                <a:gd name="connsiteX1" fmla="*/ 708915 w 3076770"/>
                <a:gd name="connsiteY1" fmla="*/ 20319 h 242060"/>
                <a:gd name="connsiteX2" fmla="*/ 2365037 w 3076770"/>
                <a:gd name="connsiteY2" fmla="*/ 189770 h 242060"/>
                <a:gd name="connsiteX3" fmla="*/ 3076770 w 3076770"/>
                <a:gd name="connsiteY3" fmla="*/ 234324 h 242060"/>
                <a:gd name="connsiteX4" fmla="*/ 1689444 w 3076770"/>
                <a:gd name="connsiteY4" fmla="*/ 242060 h 242060"/>
                <a:gd name="connsiteX5" fmla="*/ 263094 w 3076770"/>
                <a:gd name="connsiteY5" fmla="*/ 120370 h 242060"/>
                <a:gd name="connsiteX6" fmla="*/ 0 w 3076770"/>
                <a:gd name="connsiteY6" fmla="*/ 37925 h 242060"/>
                <a:gd name="connsiteX7" fmla="*/ 16605 w 3076770"/>
                <a:gd name="connsiteY7" fmla="*/ 9890 h 242060"/>
                <a:gd name="connsiteX8" fmla="*/ 515999 w 3076770"/>
                <a:gd name="connsiteY8" fmla="*/ 9187 h 242060"/>
                <a:gd name="connsiteX0" fmla="*/ 520653 w 3081424"/>
                <a:gd name="connsiteY0" fmla="*/ 9187 h 242060"/>
                <a:gd name="connsiteX1" fmla="*/ 713569 w 3081424"/>
                <a:gd name="connsiteY1" fmla="*/ 20319 h 242060"/>
                <a:gd name="connsiteX2" fmla="*/ 2369691 w 3081424"/>
                <a:gd name="connsiteY2" fmla="*/ 189770 h 242060"/>
                <a:gd name="connsiteX3" fmla="*/ 3081424 w 3081424"/>
                <a:gd name="connsiteY3" fmla="*/ 234324 h 242060"/>
                <a:gd name="connsiteX4" fmla="*/ 1694098 w 3081424"/>
                <a:gd name="connsiteY4" fmla="*/ 242060 h 242060"/>
                <a:gd name="connsiteX5" fmla="*/ 267748 w 3081424"/>
                <a:gd name="connsiteY5" fmla="*/ 120370 h 242060"/>
                <a:gd name="connsiteX6" fmla="*/ 0 w 3081424"/>
                <a:gd name="connsiteY6" fmla="*/ 6610 h 242060"/>
                <a:gd name="connsiteX7" fmla="*/ 21259 w 3081424"/>
                <a:gd name="connsiteY7" fmla="*/ 9890 h 242060"/>
                <a:gd name="connsiteX8" fmla="*/ 520653 w 3081424"/>
                <a:gd name="connsiteY8" fmla="*/ 9187 h 242060"/>
                <a:gd name="connsiteX0" fmla="*/ 520653 w 3081424"/>
                <a:gd name="connsiteY0" fmla="*/ 1775 h 253437"/>
                <a:gd name="connsiteX1" fmla="*/ 713569 w 3081424"/>
                <a:gd name="connsiteY1" fmla="*/ 31696 h 253437"/>
                <a:gd name="connsiteX2" fmla="*/ 2369691 w 3081424"/>
                <a:gd name="connsiteY2" fmla="*/ 201147 h 253437"/>
                <a:gd name="connsiteX3" fmla="*/ 3081424 w 3081424"/>
                <a:gd name="connsiteY3" fmla="*/ 245701 h 253437"/>
                <a:gd name="connsiteX4" fmla="*/ 1694098 w 3081424"/>
                <a:gd name="connsiteY4" fmla="*/ 253437 h 253437"/>
                <a:gd name="connsiteX5" fmla="*/ 267748 w 3081424"/>
                <a:gd name="connsiteY5" fmla="*/ 131747 h 253437"/>
                <a:gd name="connsiteX6" fmla="*/ 0 w 3081424"/>
                <a:gd name="connsiteY6" fmla="*/ 17987 h 253437"/>
                <a:gd name="connsiteX7" fmla="*/ 21259 w 3081424"/>
                <a:gd name="connsiteY7" fmla="*/ 21267 h 253437"/>
                <a:gd name="connsiteX8" fmla="*/ 520653 w 3081424"/>
                <a:gd name="connsiteY8" fmla="*/ 1775 h 253437"/>
                <a:gd name="connsiteX0" fmla="*/ 522980 w 3081424"/>
                <a:gd name="connsiteY0" fmla="*/ 9188 h 242061"/>
                <a:gd name="connsiteX1" fmla="*/ 713569 w 3081424"/>
                <a:gd name="connsiteY1" fmla="*/ 20320 h 242061"/>
                <a:gd name="connsiteX2" fmla="*/ 2369691 w 3081424"/>
                <a:gd name="connsiteY2" fmla="*/ 189771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713569 w 3086416"/>
                <a:gd name="connsiteY1" fmla="*/ 20320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214823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1424"/>
                <a:gd name="connsiteY0" fmla="*/ 9188 h 242061"/>
                <a:gd name="connsiteX1" fmla="*/ 1646708 w 3081424"/>
                <a:gd name="connsiteY1" fmla="*/ 145581 h 242061"/>
                <a:gd name="connsiteX2" fmla="*/ 3072454 w 3081424"/>
                <a:gd name="connsiteY2" fmla="*/ 196034 h 242061"/>
                <a:gd name="connsiteX3" fmla="*/ 3081424 w 3081424"/>
                <a:gd name="connsiteY3" fmla="*/ 234325 h 242061"/>
                <a:gd name="connsiteX4" fmla="*/ 1694098 w 3081424"/>
                <a:gd name="connsiteY4" fmla="*/ 242061 h 242061"/>
                <a:gd name="connsiteX5" fmla="*/ 267748 w 3081424"/>
                <a:gd name="connsiteY5" fmla="*/ 120371 h 242061"/>
                <a:gd name="connsiteX6" fmla="*/ 0 w 3081424"/>
                <a:gd name="connsiteY6" fmla="*/ 6611 h 242061"/>
                <a:gd name="connsiteX7" fmla="*/ 21259 w 3081424"/>
                <a:gd name="connsiteY7" fmla="*/ 9891 h 242061"/>
                <a:gd name="connsiteX8" fmla="*/ 522980 w 3081424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89771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64370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42061"/>
                <a:gd name="connsiteX1" fmla="*/ 1646708 w 3086416"/>
                <a:gd name="connsiteY1" fmla="*/ 145581 h 242061"/>
                <a:gd name="connsiteX2" fmla="*/ 3086416 w 3086416"/>
                <a:gd name="connsiteY2" fmla="*/ 158456 h 242061"/>
                <a:gd name="connsiteX3" fmla="*/ 3081424 w 3086416"/>
                <a:gd name="connsiteY3" fmla="*/ 234325 h 242061"/>
                <a:gd name="connsiteX4" fmla="*/ 1694098 w 3086416"/>
                <a:gd name="connsiteY4" fmla="*/ 242061 h 242061"/>
                <a:gd name="connsiteX5" fmla="*/ 267748 w 3086416"/>
                <a:gd name="connsiteY5" fmla="*/ 120371 h 242061"/>
                <a:gd name="connsiteX6" fmla="*/ 0 w 3086416"/>
                <a:gd name="connsiteY6" fmla="*/ 6611 h 242061"/>
                <a:gd name="connsiteX7" fmla="*/ 21259 w 3086416"/>
                <a:gd name="connsiteY7" fmla="*/ 9891 h 242061"/>
                <a:gd name="connsiteX8" fmla="*/ 522980 w 3086416"/>
                <a:gd name="connsiteY8" fmla="*/ 9188 h 242061"/>
                <a:gd name="connsiteX0" fmla="*/ 522980 w 3086416"/>
                <a:gd name="connsiteY0" fmla="*/ 9188 h 234325"/>
                <a:gd name="connsiteX1" fmla="*/ 1646708 w 3086416"/>
                <a:gd name="connsiteY1" fmla="*/ 145581 h 234325"/>
                <a:gd name="connsiteX2" fmla="*/ 3086416 w 3086416"/>
                <a:gd name="connsiteY2" fmla="*/ 158456 h 234325"/>
                <a:gd name="connsiteX3" fmla="*/ 3081424 w 3086416"/>
                <a:gd name="connsiteY3" fmla="*/ 234325 h 234325"/>
                <a:gd name="connsiteX4" fmla="*/ 1696425 w 3086416"/>
                <a:gd name="connsiteY4" fmla="*/ 223272 h 234325"/>
                <a:gd name="connsiteX5" fmla="*/ 267748 w 3086416"/>
                <a:gd name="connsiteY5" fmla="*/ 120371 h 234325"/>
                <a:gd name="connsiteX6" fmla="*/ 0 w 3086416"/>
                <a:gd name="connsiteY6" fmla="*/ 6611 h 234325"/>
                <a:gd name="connsiteX7" fmla="*/ 21259 w 3086416"/>
                <a:gd name="connsiteY7" fmla="*/ 9891 h 234325"/>
                <a:gd name="connsiteX8" fmla="*/ 522980 w 3086416"/>
                <a:gd name="connsiteY8" fmla="*/ 9188 h 234325"/>
                <a:gd name="connsiteX0" fmla="*/ 522980 w 3081424"/>
                <a:gd name="connsiteY0" fmla="*/ 9188 h 234325"/>
                <a:gd name="connsiteX1" fmla="*/ 1646708 w 3081424"/>
                <a:gd name="connsiteY1" fmla="*/ 145581 h 234325"/>
                <a:gd name="connsiteX2" fmla="*/ 3080223 w 3081424"/>
                <a:gd name="connsiteY2" fmla="*/ 156075 h 234325"/>
                <a:gd name="connsiteX3" fmla="*/ 3081424 w 3081424"/>
                <a:gd name="connsiteY3" fmla="*/ 234325 h 234325"/>
                <a:gd name="connsiteX4" fmla="*/ 1696425 w 3081424"/>
                <a:gd name="connsiteY4" fmla="*/ 223272 h 234325"/>
                <a:gd name="connsiteX5" fmla="*/ 267748 w 3081424"/>
                <a:gd name="connsiteY5" fmla="*/ 120371 h 234325"/>
                <a:gd name="connsiteX6" fmla="*/ 0 w 3081424"/>
                <a:gd name="connsiteY6" fmla="*/ 6611 h 234325"/>
                <a:gd name="connsiteX7" fmla="*/ 21259 w 3081424"/>
                <a:gd name="connsiteY7" fmla="*/ 9891 h 234325"/>
                <a:gd name="connsiteX8" fmla="*/ 522980 w 3081424"/>
                <a:gd name="connsiteY8" fmla="*/ 9188 h 234325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0371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9188 h 229562"/>
                <a:gd name="connsiteX1" fmla="*/ 1646708 w 3080297"/>
                <a:gd name="connsiteY1" fmla="*/ 145581 h 229562"/>
                <a:gd name="connsiteX2" fmla="*/ 3080223 w 3080297"/>
                <a:gd name="connsiteY2" fmla="*/ 156075 h 229562"/>
                <a:gd name="connsiteX3" fmla="*/ 3079654 w 3080297"/>
                <a:gd name="connsiteY3" fmla="*/ 229562 h 229562"/>
                <a:gd name="connsiteX4" fmla="*/ 1696425 w 3080297"/>
                <a:gd name="connsiteY4" fmla="*/ 223272 h 229562"/>
                <a:gd name="connsiteX5" fmla="*/ 267748 w 3080297"/>
                <a:gd name="connsiteY5" fmla="*/ 127514 h 229562"/>
                <a:gd name="connsiteX6" fmla="*/ 0 w 3080297"/>
                <a:gd name="connsiteY6" fmla="*/ 6611 h 229562"/>
                <a:gd name="connsiteX7" fmla="*/ 21259 w 3080297"/>
                <a:gd name="connsiteY7" fmla="*/ 9891 h 229562"/>
                <a:gd name="connsiteX8" fmla="*/ 522980 w 3080297"/>
                <a:gd name="connsiteY8" fmla="*/ 9188 h 229562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3173 h 225734"/>
                <a:gd name="connsiteX1" fmla="*/ 1646708 w 3080297"/>
                <a:gd name="connsiteY1" fmla="*/ 141753 h 225734"/>
                <a:gd name="connsiteX2" fmla="*/ 3080223 w 3080297"/>
                <a:gd name="connsiteY2" fmla="*/ 152247 h 225734"/>
                <a:gd name="connsiteX3" fmla="*/ 3079654 w 3080297"/>
                <a:gd name="connsiteY3" fmla="*/ 225734 h 225734"/>
                <a:gd name="connsiteX4" fmla="*/ 1696425 w 3080297"/>
                <a:gd name="connsiteY4" fmla="*/ 219444 h 225734"/>
                <a:gd name="connsiteX5" fmla="*/ 267748 w 3080297"/>
                <a:gd name="connsiteY5" fmla="*/ 123686 h 225734"/>
                <a:gd name="connsiteX6" fmla="*/ 0 w 3080297"/>
                <a:gd name="connsiteY6" fmla="*/ 2783 h 225734"/>
                <a:gd name="connsiteX7" fmla="*/ 21259 w 3080297"/>
                <a:gd name="connsiteY7" fmla="*/ 6063 h 225734"/>
                <a:gd name="connsiteX8" fmla="*/ 522980 w 3080297"/>
                <a:gd name="connsiteY8" fmla="*/ 23173 h 225734"/>
                <a:gd name="connsiteX0" fmla="*/ 522980 w 3080297"/>
                <a:gd name="connsiteY0" fmla="*/ 26172 h 228733"/>
                <a:gd name="connsiteX1" fmla="*/ 1646708 w 3080297"/>
                <a:gd name="connsiteY1" fmla="*/ 144752 h 228733"/>
                <a:gd name="connsiteX2" fmla="*/ 3080223 w 3080297"/>
                <a:gd name="connsiteY2" fmla="*/ 155246 h 228733"/>
                <a:gd name="connsiteX3" fmla="*/ 3079654 w 3080297"/>
                <a:gd name="connsiteY3" fmla="*/ 228733 h 228733"/>
                <a:gd name="connsiteX4" fmla="*/ 1696425 w 3080297"/>
                <a:gd name="connsiteY4" fmla="*/ 222443 h 228733"/>
                <a:gd name="connsiteX5" fmla="*/ 267748 w 3080297"/>
                <a:gd name="connsiteY5" fmla="*/ 126685 h 228733"/>
                <a:gd name="connsiteX6" fmla="*/ 0 w 3080297"/>
                <a:gd name="connsiteY6" fmla="*/ 5782 h 228733"/>
                <a:gd name="connsiteX7" fmla="*/ 21259 w 3080297"/>
                <a:gd name="connsiteY7" fmla="*/ 9062 h 228733"/>
                <a:gd name="connsiteX8" fmla="*/ 522980 w 3080297"/>
                <a:gd name="connsiteY8" fmla="*/ 26172 h 228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0297" h="228733">
                  <a:moveTo>
                    <a:pt x="522980" y="26172"/>
                  </a:moveTo>
                  <a:cubicBezTo>
                    <a:pt x="603974" y="44568"/>
                    <a:pt x="1220501" y="123240"/>
                    <a:pt x="1646708" y="144752"/>
                  </a:cubicBezTo>
                  <a:cubicBezTo>
                    <a:pt x="2072915" y="166264"/>
                    <a:pt x="2602385" y="151748"/>
                    <a:pt x="3080223" y="155246"/>
                  </a:cubicBezTo>
                  <a:cubicBezTo>
                    <a:pt x="3080623" y="181329"/>
                    <a:pt x="3079254" y="202650"/>
                    <a:pt x="3079654" y="228733"/>
                  </a:cubicBezTo>
                  <a:lnTo>
                    <a:pt x="1696425" y="222443"/>
                  </a:lnTo>
                  <a:cubicBezTo>
                    <a:pt x="839517" y="174214"/>
                    <a:pt x="597524" y="201353"/>
                    <a:pt x="267748" y="126685"/>
                  </a:cubicBezTo>
                  <a:lnTo>
                    <a:pt x="0" y="5782"/>
                  </a:lnTo>
                  <a:lnTo>
                    <a:pt x="21259" y="9062"/>
                  </a:lnTo>
                  <a:cubicBezTo>
                    <a:pt x="163722" y="-9857"/>
                    <a:pt x="335635" y="3269"/>
                    <a:pt x="522980" y="26172"/>
                  </a:cubicBezTo>
                  <a:close/>
                </a:path>
              </a:pathLst>
            </a:custGeom>
            <a:solidFill>
              <a:srgbClr val="81BC55">
                <a:alpha val="75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2160" dirty="0">
                <a:solidFill>
                  <a:srgbClr val="FFFFFF"/>
                </a:solidFill>
              </a:endParaRPr>
            </a:p>
          </p:txBody>
        </p:sp>
        <p:sp>
          <p:nvSpPr>
            <p:cNvPr id="19" name="Freeform 18"/>
            <p:cNvSpPr/>
            <p:nvPr userDrawn="1"/>
          </p:nvSpPr>
          <p:spPr>
            <a:xfrm flipH="1">
              <a:off x="0" y="4774639"/>
              <a:ext cx="9144000" cy="368861"/>
            </a:xfrm>
            <a:custGeom>
              <a:avLst/>
              <a:gdLst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6656032 w 9144000"/>
                <a:gd name="connsiteY3" fmla="*/ 239574 h 368108"/>
                <a:gd name="connsiteX4" fmla="*/ 7277482 w 9144000"/>
                <a:gd name="connsiteY4" fmla="*/ 246432 h 368108"/>
                <a:gd name="connsiteX5" fmla="*/ 9144000 w 9144000"/>
                <a:gd name="connsiteY5" fmla="*/ 246432 h 368108"/>
                <a:gd name="connsiteX6" fmla="*/ 9144000 w 9144000"/>
                <a:gd name="connsiteY6" fmla="*/ 368107 h 368108"/>
                <a:gd name="connsiteX7" fmla="*/ 9144000 w 9144000"/>
                <a:gd name="connsiteY7" fmla="*/ 368108 h 368108"/>
                <a:gd name="connsiteX8" fmla="*/ 2079523 w 9144000"/>
                <a:gd name="connsiteY8" fmla="*/ 368108 h 368108"/>
                <a:gd name="connsiteX9" fmla="*/ 2079523 w 9144000"/>
                <a:gd name="connsiteY9" fmla="*/ 368107 h 368108"/>
                <a:gd name="connsiteX10" fmla="*/ 0 w 9144000"/>
                <a:gd name="connsiteY10" fmla="*/ 368107 h 368108"/>
                <a:gd name="connsiteX11" fmla="*/ 0 w 9144000"/>
                <a:gd name="connsiteY11" fmla="*/ 5394 h 368108"/>
                <a:gd name="connsiteX12" fmla="*/ 222045 w 9144000"/>
                <a:gd name="connsiteY12" fmla="*/ 616 h 368108"/>
                <a:gd name="connsiteX0" fmla="*/ 222045 w 9144000"/>
                <a:gd name="connsiteY0" fmla="*/ 616 h 368108"/>
                <a:gd name="connsiteX1" fmla="*/ 1101237 w 9144000"/>
                <a:gd name="connsiteY1" fmla="*/ 82665 h 368108"/>
                <a:gd name="connsiteX2" fmla="*/ 2301432 w 9144000"/>
                <a:gd name="connsiteY2" fmla="*/ 218293 h 368108"/>
                <a:gd name="connsiteX3" fmla="*/ 7277482 w 9144000"/>
                <a:gd name="connsiteY3" fmla="*/ 246432 h 368108"/>
                <a:gd name="connsiteX4" fmla="*/ 9144000 w 9144000"/>
                <a:gd name="connsiteY4" fmla="*/ 246432 h 368108"/>
                <a:gd name="connsiteX5" fmla="*/ 9144000 w 9144000"/>
                <a:gd name="connsiteY5" fmla="*/ 368107 h 368108"/>
                <a:gd name="connsiteX6" fmla="*/ 9144000 w 9144000"/>
                <a:gd name="connsiteY6" fmla="*/ 368108 h 368108"/>
                <a:gd name="connsiteX7" fmla="*/ 2079523 w 9144000"/>
                <a:gd name="connsiteY7" fmla="*/ 368108 h 368108"/>
                <a:gd name="connsiteX8" fmla="*/ 2079523 w 9144000"/>
                <a:gd name="connsiteY8" fmla="*/ 368107 h 368108"/>
                <a:gd name="connsiteX9" fmla="*/ 0 w 9144000"/>
                <a:gd name="connsiteY9" fmla="*/ 368107 h 368108"/>
                <a:gd name="connsiteX10" fmla="*/ 0 w 9144000"/>
                <a:gd name="connsiteY10" fmla="*/ 5394 h 368108"/>
                <a:gd name="connsiteX11" fmla="*/ 222045 w 9144000"/>
                <a:gd name="connsiteY11" fmla="*/ 616 h 368108"/>
                <a:gd name="connsiteX0" fmla="*/ 222045 w 9144000"/>
                <a:gd name="connsiteY0" fmla="*/ 24916 h 392408"/>
                <a:gd name="connsiteX1" fmla="*/ 1101237 w 9144000"/>
                <a:gd name="connsiteY1" fmla="*/ 106965 h 392408"/>
                <a:gd name="connsiteX2" fmla="*/ 2301432 w 9144000"/>
                <a:gd name="connsiteY2" fmla="*/ 242593 h 392408"/>
                <a:gd name="connsiteX3" fmla="*/ 7277482 w 9144000"/>
                <a:gd name="connsiteY3" fmla="*/ 270732 h 392408"/>
                <a:gd name="connsiteX4" fmla="*/ 9144000 w 9144000"/>
                <a:gd name="connsiteY4" fmla="*/ 270732 h 392408"/>
                <a:gd name="connsiteX5" fmla="*/ 9144000 w 9144000"/>
                <a:gd name="connsiteY5" fmla="*/ 392407 h 392408"/>
                <a:gd name="connsiteX6" fmla="*/ 9144000 w 9144000"/>
                <a:gd name="connsiteY6" fmla="*/ 392408 h 392408"/>
                <a:gd name="connsiteX7" fmla="*/ 2079523 w 9144000"/>
                <a:gd name="connsiteY7" fmla="*/ 392408 h 392408"/>
                <a:gd name="connsiteX8" fmla="*/ 2079523 w 9144000"/>
                <a:gd name="connsiteY8" fmla="*/ 392407 h 392408"/>
                <a:gd name="connsiteX9" fmla="*/ 0 w 9144000"/>
                <a:gd name="connsiteY9" fmla="*/ 392407 h 392408"/>
                <a:gd name="connsiteX10" fmla="*/ 0 w 9144000"/>
                <a:gd name="connsiteY10" fmla="*/ 29694 h 392408"/>
                <a:gd name="connsiteX11" fmla="*/ 222045 w 9144000"/>
                <a:gd name="connsiteY11" fmla="*/ 24916 h 392408"/>
                <a:gd name="connsiteX0" fmla="*/ 222045 w 9144000"/>
                <a:gd name="connsiteY0" fmla="*/ 3506 h 370998"/>
                <a:gd name="connsiteX1" fmla="*/ 1101237 w 9144000"/>
                <a:gd name="connsiteY1" fmla="*/ 85555 h 370998"/>
                <a:gd name="connsiteX2" fmla="*/ 2301432 w 9144000"/>
                <a:gd name="connsiteY2" fmla="*/ 221183 h 370998"/>
                <a:gd name="connsiteX3" fmla="*/ 7277482 w 9144000"/>
                <a:gd name="connsiteY3" fmla="*/ 249322 h 370998"/>
                <a:gd name="connsiteX4" fmla="*/ 9144000 w 9144000"/>
                <a:gd name="connsiteY4" fmla="*/ 249322 h 370998"/>
                <a:gd name="connsiteX5" fmla="*/ 9144000 w 9144000"/>
                <a:gd name="connsiteY5" fmla="*/ 370997 h 370998"/>
                <a:gd name="connsiteX6" fmla="*/ 9144000 w 9144000"/>
                <a:gd name="connsiteY6" fmla="*/ 370998 h 370998"/>
                <a:gd name="connsiteX7" fmla="*/ 2079523 w 9144000"/>
                <a:gd name="connsiteY7" fmla="*/ 370998 h 370998"/>
                <a:gd name="connsiteX8" fmla="*/ 2079523 w 9144000"/>
                <a:gd name="connsiteY8" fmla="*/ 370997 h 370998"/>
                <a:gd name="connsiteX9" fmla="*/ 0 w 9144000"/>
                <a:gd name="connsiteY9" fmla="*/ 370997 h 370998"/>
                <a:gd name="connsiteX10" fmla="*/ 0 w 9144000"/>
                <a:gd name="connsiteY10" fmla="*/ 8284 h 370998"/>
                <a:gd name="connsiteX11" fmla="*/ 222045 w 9144000"/>
                <a:gd name="connsiteY11" fmla="*/ 3506 h 370998"/>
                <a:gd name="connsiteX0" fmla="*/ 440828 w 9144000"/>
                <a:gd name="connsiteY0" fmla="*/ 1905 h 375007"/>
                <a:gd name="connsiteX1" fmla="*/ 1101237 w 9144000"/>
                <a:gd name="connsiteY1" fmla="*/ 89564 h 375007"/>
                <a:gd name="connsiteX2" fmla="*/ 2301432 w 9144000"/>
                <a:gd name="connsiteY2" fmla="*/ 225192 h 375007"/>
                <a:gd name="connsiteX3" fmla="*/ 7277482 w 9144000"/>
                <a:gd name="connsiteY3" fmla="*/ 253331 h 375007"/>
                <a:gd name="connsiteX4" fmla="*/ 9144000 w 9144000"/>
                <a:gd name="connsiteY4" fmla="*/ 253331 h 375007"/>
                <a:gd name="connsiteX5" fmla="*/ 9144000 w 9144000"/>
                <a:gd name="connsiteY5" fmla="*/ 375006 h 375007"/>
                <a:gd name="connsiteX6" fmla="*/ 9144000 w 9144000"/>
                <a:gd name="connsiteY6" fmla="*/ 375007 h 375007"/>
                <a:gd name="connsiteX7" fmla="*/ 2079523 w 9144000"/>
                <a:gd name="connsiteY7" fmla="*/ 375007 h 375007"/>
                <a:gd name="connsiteX8" fmla="*/ 2079523 w 9144000"/>
                <a:gd name="connsiteY8" fmla="*/ 375006 h 375007"/>
                <a:gd name="connsiteX9" fmla="*/ 0 w 9144000"/>
                <a:gd name="connsiteY9" fmla="*/ 375006 h 375007"/>
                <a:gd name="connsiteX10" fmla="*/ 0 w 9144000"/>
                <a:gd name="connsiteY10" fmla="*/ 12293 h 375007"/>
                <a:gd name="connsiteX11" fmla="*/ 440828 w 9144000"/>
                <a:gd name="connsiteY11" fmla="*/ 1905 h 375007"/>
                <a:gd name="connsiteX0" fmla="*/ 440828 w 9144000"/>
                <a:gd name="connsiteY0" fmla="*/ 6836 h 379938"/>
                <a:gd name="connsiteX1" fmla="*/ 1101237 w 9144000"/>
                <a:gd name="connsiteY1" fmla="*/ 94495 h 379938"/>
                <a:gd name="connsiteX2" fmla="*/ 2301432 w 9144000"/>
                <a:gd name="connsiteY2" fmla="*/ 230123 h 379938"/>
                <a:gd name="connsiteX3" fmla="*/ 7277482 w 9144000"/>
                <a:gd name="connsiteY3" fmla="*/ 258262 h 379938"/>
                <a:gd name="connsiteX4" fmla="*/ 9144000 w 9144000"/>
                <a:gd name="connsiteY4" fmla="*/ 258262 h 379938"/>
                <a:gd name="connsiteX5" fmla="*/ 9144000 w 9144000"/>
                <a:gd name="connsiteY5" fmla="*/ 379937 h 379938"/>
                <a:gd name="connsiteX6" fmla="*/ 9144000 w 9144000"/>
                <a:gd name="connsiteY6" fmla="*/ 379938 h 379938"/>
                <a:gd name="connsiteX7" fmla="*/ 2079523 w 9144000"/>
                <a:gd name="connsiteY7" fmla="*/ 379938 h 379938"/>
                <a:gd name="connsiteX8" fmla="*/ 2079523 w 9144000"/>
                <a:gd name="connsiteY8" fmla="*/ 379937 h 379938"/>
                <a:gd name="connsiteX9" fmla="*/ 0 w 9144000"/>
                <a:gd name="connsiteY9" fmla="*/ 379937 h 379938"/>
                <a:gd name="connsiteX10" fmla="*/ 0 w 9144000"/>
                <a:gd name="connsiteY10" fmla="*/ 17224 h 379938"/>
                <a:gd name="connsiteX11" fmla="*/ 440828 w 9144000"/>
                <a:gd name="connsiteY11" fmla="*/ 6836 h 379938"/>
                <a:gd name="connsiteX0" fmla="*/ 440828 w 9144000"/>
                <a:gd name="connsiteY0" fmla="*/ 6836 h 379938"/>
                <a:gd name="connsiteX1" fmla="*/ 2301432 w 9144000"/>
                <a:gd name="connsiteY1" fmla="*/ 230123 h 379938"/>
                <a:gd name="connsiteX2" fmla="*/ 7277482 w 9144000"/>
                <a:gd name="connsiteY2" fmla="*/ 258262 h 379938"/>
                <a:gd name="connsiteX3" fmla="*/ 9144000 w 9144000"/>
                <a:gd name="connsiteY3" fmla="*/ 258262 h 379938"/>
                <a:gd name="connsiteX4" fmla="*/ 9144000 w 9144000"/>
                <a:gd name="connsiteY4" fmla="*/ 379937 h 379938"/>
                <a:gd name="connsiteX5" fmla="*/ 9144000 w 9144000"/>
                <a:gd name="connsiteY5" fmla="*/ 379938 h 379938"/>
                <a:gd name="connsiteX6" fmla="*/ 2079523 w 9144000"/>
                <a:gd name="connsiteY6" fmla="*/ 379938 h 379938"/>
                <a:gd name="connsiteX7" fmla="*/ 2079523 w 9144000"/>
                <a:gd name="connsiteY7" fmla="*/ 379937 h 379938"/>
                <a:gd name="connsiteX8" fmla="*/ 0 w 9144000"/>
                <a:gd name="connsiteY8" fmla="*/ 379937 h 379938"/>
                <a:gd name="connsiteX9" fmla="*/ 0 w 9144000"/>
                <a:gd name="connsiteY9" fmla="*/ 17224 h 379938"/>
                <a:gd name="connsiteX10" fmla="*/ 440828 w 9144000"/>
                <a:gd name="connsiteY10" fmla="*/ 6836 h 379938"/>
                <a:gd name="connsiteX0" fmla="*/ 440828 w 9144000"/>
                <a:gd name="connsiteY0" fmla="*/ 12901 h 370101"/>
                <a:gd name="connsiteX1" fmla="*/ 2301432 w 9144000"/>
                <a:gd name="connsiteY1" fmla="*/ 220286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316064 w 9144000"/>
                <a:gd name="connsiteY1" fmla="*/ 176395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440828 w 9144000"/>
                <a:gd name="connsiteY0" fmla="*/ 12901 h 370101"/>
                <a:gd name="connsiteX1" fmla="*/ 2296114 w 9144000"/>
                <a:gd name="connsiteY1" fmla="*/ 139819 h 370101"/>
                <a:gd name="connsiteX2" fmla="*/ 7277482 w 9144000"/>
                <a:gd name="connsiteY2" fmla="*/ 248425 h 370101"/>
                <a:gd name="connsiteX3" fmla="*/ 9144000 w 9144000"/>
                <a:gd name="connsiteY3" fmla="*/ 248425 h 370101"/>
                <a:gd name="connsiteX4" fmla="*/ 9144000 w 9144000"/>
                <a:gd name="connsiteY4" fmla="*/ 370100 h 370101"/>
                <a:gd name="connsiteX5" fmla="*/ 9144000 w 9144000"/>
                <a:gd name="connsiteY5" fmla="*/ 370101 h 370101"/>
                <a:gd name="connsiteX6" fmla="*/ 2079523 w 9144000"/>
                <a:gd name="connsiteY6" fmla="*/ 370101 h 370101"/>
                <a:gd name="connsiteX7" fmla="*/ 2079523 w 9144000"/>
                <a:gd name="connsiteY7" fmla="*/ 370100 h 370101"/>
                <a:gd name="connsiteX8" fmla="*/ 0 w 9144000"/>
                <a:gd name="connsiteY8" fmla="*/ 370100 h 370101"/>
                <a:gd name="connsiteX9" fmla="*/ 0 w 9144000"/>
                <a:gd name="connsiteY9" fmla="*/ 7387 h 370101"/>
                <a:gd name="connsiteX10" fmla="*/ 440828 w 9144000"/>
                <a:gd name="connsiteY10" fmla="*/ 12901 h 370101"/>
                <a:gd name="connsiteX0" fmla="*/ 700186 w 9144000"/>
                <a:gd name="connsiteY0" fmla="*/ 14986 h 368861"/>
                <a:gd name="connsiteX1" fmla="*/ 2296114 w 9144000"/>
                <a:gd name="connsiteY1" fmla="*/ 1385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96114 w 9144000"/>
                <a:gd name="connsiteY1" fmla="*/ 168504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349316 w 9144000"/>
                <a:gd name="connsiteY1" fmla="*/ 151879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  <a:gd name="connsiteX0" fmla="*/ 700186 w 9144000"/>
                <a:gd name="connsiteY0" fmla="*/ 14986 h 368861"/>
                <a:gd name="connsiteX1" fmla="*/ 2242845 w 9144000"/>
                <a:gd name="connsiteY1" fmla="*/ 189457 h 368861"/>
                <a:gd name="connsiteX2" fmla="*/ 7277482 w 9144000"/>
                <a:gd name="connsiteY2" fmla="*/ 247185 h 368861"/>
                <a:gd name="connsiteX3" fmla="*/ 9144000 w 9144000"/>
                <a:gd name="connsiteY3" fmla="*/ 247185 h 368861"/>
                <a:gd name="connsiteX4" fmla="*/ 9144000 w 9144000"/>
                <a:gd name="connsiteY4" fmla="*/ 368860 h 368861"/>
                <a:gd name="connsiteX5" fmla="*/ 9144000 w 9144000"/>
                <a:gd name="connsiteY5" fmla="*/ 368861 h 368861"/>
                <a:gd name="connsiteX6" fmla="*/ 2079523 w 9144000"/>
                <a:gd name="connsiteY6" fmla="*/ 368861 h 368861"/>
                <a:gd name="connsiteX7" fmla="*/ 2079523 w 9144000"/>
                <a:gd name="connsiteY7" fmla="*/ 368860 h 368861"/>
                <a:gd name="connsiteX8" fmla="*/ 0 w 9144000"/>
                <a:gd name="connsiteY8" fmla="*/ 368860 h 368861"/>
                <a:gd name="connsiteX9" fmla="*/ 0 w 9144000"/>
                <a:gd name="connsiteY9" fmla="*/ 6147 h 368861"/>
                <a:gd name="connsiteX10" fmla="*/ 700186 w 9144000"/>
                <a:gd name="connsiteY10" fmla="*/ 14986 h 36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44000" h="368861">
                  <a:moveTo>
                    <a:pt x="700186" y="14986"/>
                  </a:moveTo>
                  <a:cubicBezTo>
                    <a:pt x="1318615" y="57292"/>
                    <a:pt x="1100853" y="144335"/>
                    <a:pt x="2242845" y="189457"/>
                  </a:cubicBezTo>
                  <a:cubicBezTo>
                    <a:pt x="3384837" y="234579"/>
                    <a:pt x="6137054" y="242495"/>
                    <a:pt x="7277482" y="247185"/>
                  </a:cubicBezTo>
                  <a:lnTo>
                    <a:pt x="9144000" y="247185"/>
                  </a:lnTo>
                  <a:lnTo>
                    <a:pt x="9144000" y="368860"/>
                  </a:lnTo>
                  <a:lnTo>
                    <a:pt x="9144000" y="368861"/>
                  </a:lnTo>
                  <a:lnTo>
                    <a:pt x="2079523" y="368861"/>
                  </a:lnTo>
                  <a:lnTo>
                    <a:pt x="2079523" y="368860"/>
                  </a:lnTo>
                  <a:lnTo>
                    <a:pt x="0" y="368860"/>
                  </a:lnTo>
                  <a:lnTo>
                    <a:pt x="0" y="6147"/>
                  </a:lnTo>
                  <a:cubicBezTo>
                    <a:pt x="93105" y="-4612"/>
                    <a:pt x="442856" y="-985"/>
                    <a:pt x="700186" y="14986"/>
                  </a:cubicBezTo>
                  <a:close/>
                </a:path>
              </a:pathLst>
            </a:custGeom>
            <a:solidFill>
              <a:srgbClr val="1347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60" dirty="0">
                <a:solidFill>
                  <a:srgbClr val="FFFFFF"/>
                </a:solidFill>
              </a:endParaRPr>
            </a:p>
          </p:txBody>
        </p:sp>
      </p:grpSp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334042" y="272725"/>
            <a:ext cx="11523537" cy="436361"/>
          </a:xfrm>
          <a:prstGeom prst="rect">
            <a:avLst/>
          </a:prstGeom>
        </p:spPr>
        <p:txBody>
          <a:bodyPr lIns="91414" tIns="45706" rIns="91414" bIns="45706">
            <a:noAutofit/>
          </a:bodyPr>
          <a:lstStyle>
            <a:lvl1pPr marL="0" indent="0">
              <a:defRPr sz="2880" b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9033694" y="6346195"/>
            <a:ext cx="2823887" cy="360096"/>
          </a:xfrm>
          <a:prstGeom prst="rect">
            <a:avLst/>
          </a:prstGeom>
        </p:spPr>
        <p:txBody>
          <a:bodyPr vert="horz" lIns="109697" tIns="54847" rIns="109697" bIns="54847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3A60AA-2399-48DC-9473-E7280D604B21}" type="slidenum">
              <a:rPr lang="en-GB" sz="1200" smtClean="0">
                <a:solidFill>
                  <a:srgbClr val="FFFFFF"/>
                </a:solidFill>
              </a:rPr>
              <a:pPr/>
              <a:t>‹#›</a:t>
            </a:fld>
            <a:endParaRPr lang="en-GB" sz="1200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75" y="6072350"/>
            <a:ext cx="1873504" cy="401869"/>
          </a:xfrm>
          <a:prstGeom prst="rect">
            <a:avLst/>
          </a:prstGeom>
        </p:spPr>
      </p:pic>
      <p:cxnSp>
        <p:nvCxnSpPr>
          <p:cNvPr id="20" name="Straight Connector 19"/>
          <p:cNvCxnSpPr/>
          <p:nvPr userDrawn="1"/>
        </p:nvCxnSpPr>
        <p:spPr>
          <a:xfrm>
            <a:off x="383132" y="781346"/>
            <a:ext cx="11474449" cy="0"/>
          </a:xfrm>
          <a:prstGeom prst="line">
            <a:avLst/>
          </a:prstGeom>
          <a:ln>
            <a:solidFill>
              <a:srgbClr val="134782"/>
            </a:solidFill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/>
        </p:nvSpPr>
        <p:spPr>
          <a:xfrm>
            <a:off x="3757598" y="6618218"/>
            <a:ext cx="4493540" cy="258498"/>
          </a:xfrm>
          <a:prstGeom prst="rect">
            <a:avLst/>
          </a:prstGeom>
        </p:spPr>
        <p:txBody>
          <a:bodyPr wrap="none" lIns="109697" tIns="54847" rIns="109697" bIns="54847">
            <a:spAutoFit/>
          </a:bodyPr>
          <a:lstStyle/>
          <a:p>
            <a:r>
              <a:rPr lang="fr-FR" sz="960" dirty="0">
                <a:solidFill>
                  <a:srgbClr val="FFFFFF"/>
                </a:solidFill>
              </a:rPr>
              <a:t>FOR MEDICAL and SCIENTIFIC PURPOSES ONLY – INTERNAL USE ONLY</a:t>
            </a:r>
            <a:endParaRPr lang="en-US" sz="96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6842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628" y="236540"/>
            <a:ext cx="9286409" cy="7588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15625" y="1071239"/>
            <a:ext cx="11222400" cy="5112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2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add Secondary title</a:t>
            </a:r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515626" y="1749383"/>
            <a:ext cx="11227109" cy="442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914009"/>
      </p:ext>
    </p:extLst>
  </p:cSld>
  <p:clrMapOvr>
    <a:masterClrMapping/>
  </p:clrMapOvr>
  <p:transition spd="med">
    <p:wipe dir="r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>
            <a:extLst>
              <a:ext uri="{FF2B5EF4-FFF2-40B4-BE49-F238E27FC236}">
                <a16:creationId xmlns="" xmlns:a16="http://schemas.microsoft.com/office/drawing/2014/main" id="{51E589B6-C3D3-4C25-AD5C-18E818C664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799" y="6346749"/>
            <a:ext cx="4384541" cy="415700"/>
          </a:xfrm>
        </p:spPr>
        <p:txBody>
          <a:bodyPr rIns="0" bIns="0" anchor="b"/>
          <a:lstStyle>
            <a:lvl1pPr marL="0" indent="0">
              <a:spcAft>
                <a:spcPts val="0"/>
              </a:spcAft>
              <a:buNone/>
              <a:defRPr sz="1067">
                <a:solidFill>
                  <a:schemeClr val="tx1"/>
                </a:solidFill>
              </a:defRPr>
            </a:lvl1pPr>
            <a:lvl2pPr marL="237061" indent="0">
              <a:buNone/>
              <a:defRPr sz="1600"/>
            </a:lvl2pPr>
            <a:lvl3pPr marL="480471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="" xmlns:a16="http://schemas.microsoft.com/office/drawing/2014/main" id="{A8770C68-70EB-47CF-A398-7339298902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75194" y="6346749"/>
            <a:ext cx="4384541" cy="415700"/>
          </a:xfrm>
        </p:spPr>
        <p:txBody>
          <a:bodyPr rIns="0" bIns="0" anchor="b"/>
          <a:lstStyle>
            <a:lvl1pPr marL="0" indent="0" algn="r">
              <a:spcAft>
                <a:spcPts val="0"/>
              </a:spcAft>
              <a:buNone/>
              <a:defRPr sz="1067">
                <a:solidFill>
                  <a:schemeClr val="tx1"/>
                </a:solidFill>
              </a:defRPr>
            </a:lvl1pPr>
            <a:lvl2pPr marL="237061" indent="0">
              <a:buNone/>
              <a:defRPr sz="1600"/>
            </a:lvl2pPr>
            <a:lvl3pPr marL="480471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="" xmlns:a16="http://schemas.microsoft.com/office/drawing/2014/main" id="{998260A9-147E-4FAD-8844-3AC5E4D3A2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t="24480" r="34917"/>
          <a:stretch/>
        </p:blipFill>
        <p:spPr>
          <a:xfrm>
            <a:off x="10635742" y="-1"/>
            <a:ext cx="1556295" cy="1805863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9A7C88E7-FD43-4195-B509-DFFFB2B44B50}"/>
              </a:ext>
            </a:extLst>
          </p:cNvPr>
          <p:cNvSpPr/>
          <p:nvPr userDrawn="1"/>
        </p:nvSpPr>
        <p:spPr>
          <a:xfrm>
            <a:off x="10434320" y="4"/>
            <a:ext cx="1757680" cy="1879601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>
              <a:solidFill>
                <a:srgbClr val="FFFFFF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="" xmlns:a16="http://schemas.microsoft.com/office/drawing/2014/main" id="{D9EAB8F4-D99B-4E3D-9B01-3227B7E8AF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74640"/>
            <a:ext cx="9667240" cy="1076640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590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274640"/>
            <a:ext cx="9667240" cy="1076640"/>
          </a:xfrm>
          <a:prstGeom prst="rect">
            <a:avLst/>
          </a:prstGeom>
        </p:spPr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879600"/>
            <a:ext cx="11328400" cy="40163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31799" y="6346749"/>
            <a:ext cx="4384541" cy="415700"/>
          </a:xfrm>
          <a:prstGeom prst="rect">
            <a:avLst/>
          </a:prstGeom>
        </p:spPr>
        <p:txBody>
          <a:bodyPr rIns="0" bIns="0" anchor="b"/>
          <a:lstStyle>
            <a:lvl1pPr marL="0" indent="0">
              <a:spcAft>
                <a:spcPts val="0"/>
              </a:spcAft>
              <a:buNone/>
              <a:defRPr sz="1067">
                <a:solidFill>
                  <a:schemeClr val="tx1"/>
                </a:solidFill>
              </a:defRPr>
            </a:lvl1pPr>
            <a:lvl2pPr marL="237061" indent="0">
              <a:buNone/>
              <a:defRPr sz="1600"/>
            </a:lvl2pPr>
            <a:lvl3pPr marL="480471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7375194" y="6346749"/>
            <a:ext cx="4384541" cy="415700"/>
          </a:xfrm>
          <a:prstGeom prst="rect">
            <a:avLst/>
          </a:prstGeom>
        </p:spPr>
        <p:txBody>
          <a:bodyPr rIns="0" bIns="0" anchor="b"/>
          <a:lstStyle>
            <a:lvl1pPr marL="0" indent="0" algn="r">
              <a:spcAft>
                <a:spcPts val="0"/>
              </a:spcAft>
              <a:buNone/>
              <a:defRPr sz="1067">
                <a:solidFill>
                  <a:schemeClr val="tx1"/>
                </a:solidFill>
              </a:defRPr>
            </a:lvl1pPr>
            <a:lvl2pPr marL="237061" indent="0">
              <a:buNone/>
              <a:defRPr sz="1600"/>
            </a:lvl2pPr>
            <a:lvl3pPr marL="480471" indent="0">
              <a:buNone/>
              <a:defRPr sz="1600"/>
            </a:lvl3pPr>
            <a:lvl4pPr marL="1828754" indent="0">
              <a:buNone/>
              <a:defRPr sz="1600"/>
            </a:lvl4pPr>
            <a:lvl5pPr marL="2438339" indent="0">
              <a:buNone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="" xmlns:a16="http://schemas.microsoft.com/office/drawing/2014/main" id="{379534F6-0504-44F2-A38A-DC80B1605C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t="24480" r="34917"/>
          <a:stretch/>
        </p:blipFill>
        <p:spPr>
          <a:xfrm>
            <a:off x="10635742" y="-1"/>
            <a:ext cx="1556295" cy="1805863"/>
          </a:xfrm>
          <a:prstGeom prst="rect">
            <a:avLst/>
          </a:prstGeom>
        </p:spPr>
      </p:pic>
      <p:sp>
        <p:nvSpPr>
          <p:cNvPr id="164" name="Rectangle 163">
            <a:extLst>
              <a:ext uri="{FF2B5EF4-FFF2-40B4-BE49-F238E27FC236}">
                <a16:creationId xmlns="" xmlns:a16="http://schemas.microsoft.com/office/drawing/2014/main" id="{808B8590-2966-4513-881A-15114B311D9C}"/>
              </a:ext>
            </a:extLst>
          </p:cNvPr>
          <p:cNvSpPr/>
          <p:nvPr userDrawn="1"/>
        </p:nvSpPr>
        <p:spPr>
          <a:xfrm>
            <a:off x="10434320" y="4"/>
            <a:ext cx="1757680" cy="1879601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997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vmlDrawing" Target="../drawings/vmlDrawing1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slideLayout" Target="../slideLayouts/slideLayout71.xml"/><Relationship Id="rId39" Type="http://schemas.openxmlformats.org/officeDocument/2006/relationships/slideLayout" Target="../slideLayouts/slideLayout84.xml"/><Relationship Id="rId21" Type="http://schemas.openxmlformats.org/officeDocument/2006/relationships/slideLayout" Target="../slideLayouts/slideLayout66.xml"/><Relationship Id="rId34" Type="http://schemas.openxmlformats.org/officeDocument/2006/relationships/slideLayout" Target="../slideLayouts/slideLayout79.xml"/><Relationship Id="rId42" Type="http://schemas.openxmlformats.org/officeDocument/2006/relationships/slideLayout" Target="../slideLayouts/slideLayout87.xml"/><Relationship Id="rId47" Type="http://schemas.openxmlformats.org/officeDocument/2006/relationships/theme" Target="../theme/theme2.xml"/><Relationship Id="rId50" Type="http://schemas.openxmlformats.org/officeDocument/2006/relationships/oleObject" Target="../embeddings/oleObject3.bin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32" Type="http://schemas.openxmlformats.org/officeDocument/2006/relationships/slideLayout" Target="../slideLayouts/slideLayout77.xml"/><Relationship Id="rId37" Type="http://schemas.openxmlformats.org/officeDocument/2006/relationships/slideLayout" Target="../slideLayouts/slideLayout82.xml"/><Relationship Id="rId40" Type="http://schemas.openxmlformats.org/officeDocument/2006/relationships/slideLayout" Target="../slideLayouts/slideLayout85.xml"/><Relationship Id="rId45" Type="http://schemas.openxmlformats.org/officeDocument/2006/relationships/slideLayout" Target="../slideLayouts/slideLayout90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slideLayout" Target="../slideLayouts/slideLayout73.xml"/><Relationship Id="rId36" Type="http://schemas.openxmlformats.org/officeDocument/2006/relationships/slideLayout" Target="../slideLayouts/slideLayout81.xml"/><Relationship Id="rId49" Type="http://schemas.openxmlformats.org/officeDocument/2006/relationships/tags" Target="../tags/tag3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31" Type="http://schemas.openxmlformats.org/officeDocument/2006/relationships/slideLayout" Target="../slideLayouts/slideLayout76.xml"/><Relationship Id="rId44" Type="http://schemas.openxmlformats.org/officeDocument/2006/relationships/slideLayout" Target="../slideLayouts/slideLayout89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slideLayout" Target="../slideLayouts/slideLayout72.xml"/><Relationship Id="rId30" Type="http://schemas.openxmlformats.org/officeDocument/2006/relationships/slideLayout" Target="../slideLayouts/slideLayout75.xml"/><Relationship Id="rId35" Type="http://schemas.openxmlformats.org/officeDocument/2006/relationships/slideLayout" Target="../slideLayouts/slideLayout80.xml"/><Relationship Id="rId43" Type="http://schemas.openxmlformats.org/officeDocument/2006/relationships/slideLayout" Target="../slideLayouts/slideLayout88.xml"/><Relationship Id="rId48" Type="http://schemas.openxmlformats.org/officeDocument/2006/relationships/vmlDrawing" Target="../drawings/vmlDrawing3.vml"/><Relationship Id="rId8" Type="http://schemas.openxmlformats.org/officeDocument/2006/relationships/slideLayout" Target="../slideLayouts/slideLayout53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33" Type="http://schemas.openxmlformats.org/officeDocument/2006/relationships/slideLayout" Target="../slideLayouts/slideLayout78.xml"/><Relationship Id="rId38" Type="http://schemas.openxmlformats.org/officeDocument/2006/relationships/slideLayout" Target="../slideLayouts/slideLayout83.xml"/><Relationship Id="rId4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65.xml"/><Relationship Id="rId41" Type="http://schemas.openxmlformats.org/officeDocument/2006/relationships/slideLayout" Target="../slideLayouts/slideLayout86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4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" name="Diapositive think-cell" r:id="rId49" imgW="360" imgH="360" progId="TCLayout.ActiveDocument.1">
                  <p:embed/>
                </p:oleObj>
              </mc:Choice>
              <mc:Fallback>
                <p:oleObj name="Diapositive think-cell" r:id="rId49" imgW="360" imgH="360" progId="TCLayout.ActiveDocument.1">
                  <p:embed/>
                  <p:pic>
                    <p:nvPicPr>
                      <p:cNvPr id="0" name="Picture 1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AC8AB1B8-F7E7-4C7C-9963-56E2293E6530}"/>
              </a:ext>
            </a:extLst>
          </p:cNvPr>
          <p:cNvSpPr txBox="1">
            <a:spLocks/>
          </p:cNvSpPr>
          <p:nvPr userDrawn="1"/>
        </p:nvSpPr>
        <p:spPr>
          <a:xfrm>
            <a:off x="593776" y="6653846"/>
            <a:ext cx="10842170" cy="32633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en-US" sz="700" dirty="0">
                <a:solidFill>
                  <a:srgbClr val="FFFFFF"/>
                </a:solidFill>
              </a:rPr>
              <a:t>FOR MEDICAL and SCIENTIFIC PURPOSES ONLY – INTERNAL USE ONLY  			DO NOT DISTRIBUTE OR USE IN PROMOTION 			</a:t>
            </a:r>
            <a:r>
              <a:rPr lang="en-GB" sz="700" dirty="0">
                <a:solidFill>
                  <a:srgbClr val="FFFFFF"/>
                </a:solidFill>
              </a:rPr>
              <a:t>SAGLB.TJO.18.09.1130.  Dated </a:t>
            </a:r>
            <a:r>
              <a:rPr lang="en-GB" sz="700" dirty="0">
                <a:solidFill>
                  <a:srgbClr val="FF0000"/>
                </a:solidFill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2717149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2" r:id="rId29"/>
    <p:sldLayoutId id="2147483693" r:id="rId30"/>
    <p:sldLayoutId id="2147483694" r:id="rId31"/>
    <p:sldLayoutId id="2147483695" r:id="rId32"/>
    <p:sldLayoutId id="2147483696" r:id="rId33"/>
    <p:sldLayoutId id="2147483697" r:id="rId34"/>
    <p:sldLayoutId id="2147483698" r:id="rId35"/>
    <p:sldLayoutId id="2147483699" r:id="rId36"/>
    <p:sldLayoutId id="2147483700" r:id="rId37"/>
    <p:sldLayoutId id="2147483701" r:id="rId38"/>
    <p:sldLayoutId id="2147483702" r:id="rId39"/>
    <p:sldLayoutId id="2147483704" r:id="rId40"/>
    <p:sldLayoutId id="2147483705" r:id="rId41"/>
    <p:sldLayoutId id="2147483706" r:id="rId42"/>
    <p:sldLayoutId id="2147483707" r:id="rId43"/>
    <p:sldLayoutId id="2147483708" r:id="rId44"/>
    <p:sldLayoutId id="2147483756" r:id="rId4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609555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6468" indent="-226468" algn="l" defTabSz="609555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2"/>
        </a:buClr>
        <a:buFont typeface="Arial"/>
        <a:buChar char="•"/>
        <a:defRPr sz="2667" kern="1200">
          <a:solidFill>
            <a:srgbClr val="596169"/>
          </a:solidFill>
          <a:latin typeface="+mn-lt"/>
          <a:ea typeface="+mn-ea"/>
          <a:cs typeface="+mn-cs"/>
        </a:defRPr>
      </a:lvl1pPr>
      <a:lvl2pPr marL="480448" indent="-245515" algn="l" defTabSz="609555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2"/>
        </a:buClr>
        <a:buFont typeface="Arial"/>
        <a:buChar char="–"/>
        <a:defRPr sz="2400" kern="1200">
          <a:solidFill>
            <a:srgbClr val="596169"/>
          </a:solidFill>
          <a:latin typeface="+mn-lt"/>
          <a:ea typeface="+mn-ea"/>
          <a:cs typeface="+mn-cs"/>
        </a:defRPr>
      </a:lvl2pPr>
      <a:lvl3pPr marL="715379" indent="-234933" algn="l" defTabSz="609555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2"/>
        </a:buClr>
        <a:buFont typeface="Arial"/>
        <a:buChar char="•"/>
        <a:defRPr sz="2133" kern="1200">
          <a:solidFill>
            <a:srgbClr val="596169"/>
          </a:solidFill>
          <a:latin typeface="+mn-lt"/>
          <a:ea typeface="+mn-ea"/>
          <a:cs typeface="+mn-cs"/>
        </a:defRPr>
      </a:lvl3pPr>
      <a:lvl4pPr marL="958779" indent="-243399" algn="l" defTabSz="609555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2"/>
        </a:buClr>
        <a:buFont typeface="Arial"/>
        <a:buChar char="–"/>
        <a:defRPr sz="1867" kern="1200">
          <a:solidFill>
            <a:srgbClr val="596169"/>
          </a:solidFill>
          <a:latin typeface="+mn-lt"/>
          <a:ea typeface="+mn-ea"/>
          <a:cs typeface="+mn-cs"/>
        </a:defRPr>
      </a:lvl4pPr>
      <a:lvl5pPr marL="1193711" indent="-234933" algn="l" defTabSz="609555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2"/>
        </a:buClr>
        <a:buFont typeface="Arial"/>
        <a:buChar char="»"/>
        <a:defRPr sz="1600" kern="1200">
          <a:solidFill>
            <a:srgbClr val="596169"/>
          </a:solidFill>
          <a:latin typeface="+mn-lt"/>
          <a:ea typeface="+mn-ea"/>
          <a:cs typeface="+mn-cs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4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" name="Diapositive think-cell" r:id="rId50" imgW="360" imgH="360" progId="TCLayout.ActiveDocument.1">
                  <p:embed/>
                </p:oleObj>
              </mc:Choice>
              <mc:Fallback>
                <p:oleObj name="Diapositive think-cell" r:id="rId5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AC8AB1B8-F7E7-4C7C-9963-56E2293E6530}"/>
              </a:ext>
            </a:extLst>
          </p:cNvPr>
          <p:cNvSpPr txBox="1">
            <a:spLocks/>
          </p:cNvSpPr>
          <p:nvPr userDrawn="1"/>
        </p:nvSpPr>
        <p:spPr>
          <a:xfrm>
            <a:off x="593776" y="6653846"/>
            <a:ext cx="10842170" cy="32633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en-US" sz="700" dirty="0">
                <a:solidFill>
                  <a:srgbClr val="FFFFFF"/>
                </a:solidFill>
              </a:rPr>
              <a:t>FOR MEDICAL and SCIENTIFIC PURPOSES ONLY – INTERNAL USE ONLY  			DO NOT DISTRIBUTE OR USE IN PROMOTION 			</a:t>
            </a:r>
            <a:r>
              <a:rPr lang="en-GB" sz="700" dirty="0">
                <a:solidFill>
                  <a:srgbClr val="FFFFFF"/>
                </a:solidFill>
              </a:rPr>
              <a:t>SAGLB.TJO.18.09.1130.  Dated </a:t>
            </a:r>
            <a:r>
              <a:rPr lang="en-GB" sz="700" dirty="0">
                <a:solidFill>
                  <a:srgbClr val="FF0000"/>
                </a:solidFill>
              </a:rPr>
              <a:t>XXX</a:t>
            </a:r>
          </a:p>
        </p:txBody>
      </p:sp>
    </p:spTree>
    <p:extLst>
      <p:ext uri="{BB962C8B-B14F-4D97-AF65-F5344CB8AC3E}">
        <p14:creationId xmlns:p14="http://schemas.microsoft.com/office/powerpoint/2010/main" val="3068589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0" r:id="rId31"/>
    <p:sldLayoutId id="2147483741" r:id="rId32"/>
    <p:sldLayoutId id="2147483742" r:id="rId33"/>
    <p:sldLayoutId id="2147483743" r:id="rId34"/>
    <p:sldLayoutId id="2147483744" r:id="rId35"/>
    <p:sldLayoutId id="2147483745" r:id="rId36"/>
    <p:sldLayoutId id="2147483746" r:id="rId37"/>
    <p:sldLayoutId id="2147483747" r:id="rId38"/>
    <p:sldLayoutId id="2147483748" r:id="rId39"/>
    <p:sldLayoutId id="2147483749" r:id="rId40"/>
    <p:sldLayoutId id="2147483750" r:id="rId41"/>
    <p:sldLayoutId id="2147483751" r:id="rId42"/>
    <p:sldLayoutId id="2147483752" r:id="rId43"/>
    <p:sldLayoutId id="2147483753" r:id="rId44"/>
    <p:sldLayoutId id="2147483754" r:id="rId45"/>
    <p:sldLayoutId id="2147483755" r:id="rId4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609555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6468" indent="-226468" algn="l" defTabSz="609555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2"/>
        </a:buClr>
        <a:buFont typeface="Arial"/>
        <a:buChar char="•"/>
        <a:defRPr sz="2667" kern="1200">
          <a:solidFill>
            <a:srgbClr val="596169"/>
          </a:solidFill>
          <a:latin typeface="+mn-lt"/>
          <a:ea typeface="+mn-ea"/>
          <a:cs typeface="+mn-cs"/>
        </a:defRPr>
      </a:lvl1pPr>
      <a:lvl2pPr marL="480448" indent="-245515" algn="l" defTabSz="609555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2"/>
        </a:buClr>
        <a:buFont typeface="Arial"/>
        <a:buChar char="–"/>
        <a:defRPr sz="2400" kern="1200">
          <a:solidFill>
            <a:srgbClr val="596169"/>
          </a:solidFill>
          <a:latin typeface="+mn-lt"/>
          <a:ea typeface="+mn-ea"/>
          <a:cs typeface="+mn-cs"/>
        </a:defRPr>
      </a:lvl2pPr>
      <a:lvl3pPr marL="715379" indent="-234933" algn="l" defTabSz="609555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2"/>
        </a:buClr>
        <a:buFont typeface="Arial"/>
        <a:buChar char="•"/>
        <a:defRPr sz="2133" kern="1200">
          <a:solidFill>
            <a:srgbClr val="596169"/>
          </a:solidFill>
          <a:latin typeface="+mn-lt"/>
          <a:ea typeface="+mn-ea"/>
          <a:cs typeface="+mn-cs"/>
        </a:defRPr>
      </a:lvl3pPr>
      <a:lvl4pPr marL="958779" indent="-243399" algn="l" defTabSz="609555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2"/>
        </a:buClr>
        <a:buFont typeface="Arial"/>
        <a:buChar char="–"/>
        <a:defRPr sz="1867" kern="1200">
          <a:solidFill>
            <a:srgbClr val="596169"/>
          </a:solidFill>
          <a:latin typeface="+mn-lt"/>
          <a:ea typeface="+mn-ea"/>
          <a:cs typeface="+mn-cs"/>
        </a:defRPr>
      </a:lvl4pPr>
      <a:lvl5pPr marL="1193711" indent="-234933" algn="l" defTabSz="609555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2"/>
        </a:buClr>
        <a:buFont typeface="Arial"/>
        <a:buChar char="»"/>
        <a:defRPr sz="1600" kern="1200">
          <a:solidFill>
            <a:srgbClr val="596169"/>
          </a:solidFill>
          <a:latin typeface="+mn-lt"/>
          <a:ea typeface="+mn-ea"/>
          <a:cs typeface="+mn-cs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="" xmlns:a16="http://schemas.microsoft.com/office/drawing/2014/main" id="{A43454BB-E09F-40BB-A63C-5CF5D72FAD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1510" y="4373123"/>
            <a:ext cx="11523133" cy="1136160"/>
          </a:xfrm>
        </p:spPr>
        <p:txBody>
          <a:bodyPr>
            <a:normAutofit fontScale="90000"/>
          </a:bodyPr>
          <a:lstStyle/>
          <a:p>
            <a:r>
              <a:rPr lang="fa-IR" sz="4800" dirty="0"/>
              <a:t/>
            </a:r>
            <a:br>
              <a:rPr lang="fa-IR" sz="4800" dirty="0"/>
            </a:br>
            <a:r>
              <a:rPr lang="fa-IR" sz="4800" dirty="0"/>
              <a:t/>
            </a:r>
            <a:br>
              <a:rPr lang="fa-IR" sz="4800" dirty="0"/>
            </a:br>
            <a:r>
              <a:rPr lang="fa-IR" sz="4800" dirty="0"/>
              <a:t/>
            </a:r>
            <a:br>
              <a:rPr lang="fa-IR" sz="4800" dirty="0"/>
            </a:br>
            <a:r>
              <a:rPr lang="en-US" sz="4800" dirty="0"/>
              <a:t/>
            </a:r>
            <a:br>
              <a:rPr lang="en-US" sz="4800" dirty="0"/>
            </a:br>
            <a:r>
              <a:rPr lang="en-US" sz="4800" dirty="0"/>
              <a:t/>
            </a:r>
            <a:br>
              <a:rPr lang="en-US" sz="4800" dirty="0"/>
            </a:br>
            <a:r>
              <a:rPr lang="en-US" sz="4800" dirty="0"/>
              <a:t/>
            </a:r>
            <a:br>
              <a:rPr lang="en-US" sz="4800" dirty="0"/>
            </a:br>
            <a:r>
              <a:rPr lang="en-US" sz="4800" dirty="0"/>
              <a:t/>
            </a:r>
            <a:br>
              <a:rPr lang="en-US" sz="4800" dirty="0"/>
            </a:br>
            <a:r>
              <a:rPr lang="en-US" sz="4000" dirty="0"/>
              <a:t>Gla-300 in patients with type 1 diabetes: Overview of meta-analysis of 6-month phase 3 clinical trials</a:t>
            </a:r>
            <a:endParaRPr lang="en-US" altLang="fr-FR" sz="4133" dirty="0"/>
          </a:p>
        </p:txBody>
      </p:sp>
    </p:spTree>
    <p:extLst>
      <p:ext uri="{BB962C8B-B14F-4D97-AF65-F5344CB8AC3E}">
        <p14:creationId xmlns:p14="http://schemas.microsoft.com/office/powerpoint/2010/main" val="3809674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3E845BF3-6203-46ED-A211-C3B4085177ED}"/>
              </a:ext>
            </a:extLst>
          </p:cNvPr>
          <p:cNvSpPr/>
          <p:nvPr/>
        </p:nvSpPr>
        <p:spPr>
          <a:xfrm>
            <a:off x="334032" y="2425422"/>
            <a:ext cx="11523537" cy="36586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50000"/>
              </a:lnSpc>
            </a:pPr>
            <a:endParaRPr lang="fa-IR" b="1" dirty="0" smtClean="0">
              <a:solidFill>
                <a:srgbClr val="444492"/>
              </a:solidFill>
              <a:latin typeface="Arial" panose="020B0604020202020204" pitchFamily="34" charset="0"/>
            </a:endParaRPr>
          </a:p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Severe hypoglycemia </a:t>
            </a:r>
            <a:r>
              <a:rPr lang="en-US" b="1" dirty="0" smtClean="0"/>
              <a:t>definition</a:t>
            </a:r>
            <a:endParaRPr lang="fa-IR" b="1" dirty="0">
              <a:solidFill>
                <a:srgbClr val="444492"/>
              </a:solidFill>
              <a:latin typeface="Arial" panose="020B0604020202020204" pitchFamily="34" charset="0"/>
            </a:endParaRPr>
          </a:p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rgbClr val="444492"/>
                </a:solidFill>
                <a:latin typeface="Arial" panose="020B0604020202020204" pitchFamily="34" charset="0"/>
              </a:rPr>
              <a:t>In </a:t>
            </a:r>
            <a:r>
              <a:rPr lang="en-US" b="1" dirty="0">
                <a:solidFill>
                  <a:srgbClr val="444492"/>
                </a:solidFill>
                <a:latin typeface="Arial" panose="020B0604020202020204" pitchFamily="34" charset="0"/>
              </a:rPr>
              <a:t>adults </a:t>
            </a:r>
            <a:r>
              <a:rPr lang="en-US" dirty="0">
                <a:solidFill>
                  <a:srgbClr val="444492"/>
                </a:solidFill>
                <a:latin typeface="Arial" panose="020B0604020202020204" pitchFamily="34" charset="0"/>
              </a:rPr>
              <a:t>as hypoglycemic event that required assistance of another person to actively administer carbohydrate, glucagon, or other resuscitative actions</a:t>
            </a:r>
            <a:r>
              <a:rPr lang="en-US" baseline="30000" dirty="0">
                <a:solidFill>
                  <a:srgbClr val="444492"/>
                </a:solidFill>
                <a:latin typeface="Arial" panose="020B0604020202020204" pitchFamily="34" charset="0"/>
              </a:rPr>
              <a:t>7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>
              <a:solidFill>
                <a:srgbClr val="444492"/>
              </a:solidFill>
              <a:latin typeface="Arial" panose="020B0604020202020204" pitchFamily="34" charset="0"/>
            </a:endParaRPr>
          </a:p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444492"/>
                </a:solidFill>
                <a:latin typeface="Arial" panose="020B0604020202020204" pitchFamily="34" charset="0"/>
              </a:rPr>
              <a:t>In children and adolescents </a:t>
            </a:r>
            <a:r>
              <a:rPr lang="en-US" dirty="0">
                <a:solidFill>
                  <a:srgbClr val="444492"/>
                </a:solidFill>
                <a:latin typeface="Arial" panose="020B0604020202020204" pitchFamily="34" charset="0"/>
              </a:rPr>
              <a:t>as having altered mental status and inability to assist in their care, being semiconscious or unconscious, or in coma ± convulsions that may require parenteral therapy (glucagon and/ or glucose)</a:t>
            </a:r>
            <a:r>
              <a:rPr lang="en-US" baseline="30000" dirty="0">
                <a:solidFill>
                  <a:srgbClr val="444492"/>
                </a:solidFill>
                <a:latin typeface="Arial" panose="020B0604020202020204" pitchFamily="34" charset="0"/>
              </a:rPr>
              <a:t> 8</a:t>
            </a:r>
            <a:endParaRPr lang="en-US" dirty="0">
              <a:solidFill>
                <a:srgbClr val="444492"/>
              </a:solidFill>
              <a:latin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05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xmlns="" id="{AB95A9B3-27C0-4051-8BC7-E651DBF81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032" y="272734"/>
            <a:ext cx="11523537" cy="436361"/>
          </a:xfrm>
        </p:spPr>
        <p:txBody>
          <a:bodyPr/>
          <a:lstStyle/>
          <a:p>
            <a:endParaRPr lang="en-US" b="1" dirty="0"/>
          </a:p>
        </p:txBody>
      </p:sp>
      <p:sp>
        <p:nvSpPr>
          <p:cNvPr id="6" name="Rounded Rectangle 83">
            <a:extLst>
              <a:ext uri="{FF2B5EF4-FFF2-40B4-BE49-F238E27FC236}">
                <a16:creationId xmlns:a16="http://schemas.microsoft.com/office/drawing/2014/main" xmlns="" id="{6727C5D6-537A-4F4A-907E-1E143B4D806E}"/>
              </a:ext>
            </a:extLst>
          </p:cNvPr>
          <p:cNvSpPr/>
          <p:nvPr/>
        </p:nvSpPr>
        <p:spPr>
          <a:xfrm>
            <a:off x="10483912" y="87443"/>
            <a:ext cx="1621189" cy="436361"/>
          </a:xfrm>
          <a:prstGeom prst="roundRect">
            <a:avLst/>
          </a:prstGeom>
          <a:solidFill>
            <a:srgbClr val="44449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47992" rIns="0" bIns="47992" spcCol="1271" anchor="ctr"/>
          <a:lstStyle/>
          <a:p>
            <a:pPr algn="ctr" defTabSz="829593">
              <a:lnSpc>
                <a:spcPct val="90000"/>
              </a:lnSpc>
              <a:defRPr/>
            </a:pPr>
            <a:r>
              <a:rPr lang="de-DE" sz="1600" b="1" dirty="0">
                <a:solidFill>
                  <a:srgbClr val="FFFFFF"/>
                </a:solidFill>
                <a:cs typeface="Arial" panose="020B0604020202020204" pitchFamily="34" charset="0"/>
              </a:rPr>
              <a:t>T1D </a:t>
            </a:r>
            <a:br>
              <a:rPr lang="de-DE" sz="16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de-DE" sz="1600" b="1" dirty="0">
                <a:solidFill>
                  <a:srgbClr val="FFFFFF"/>
                </a:solidFill>
                <a:cs typeface="Arial" panose="020B0604020202020204" pitchFamily="34" charset="0"/>
              </a:rPr>
              <a:t>meta-analysis</a:t>
            </a:r>
          </a:p>
        </p:txBody>
      </p:sp>
      <p:sp>
        <p:nvSpPr>
          <p:cNvPr id="8" name="Rectangle: Rounded Corners 3">
            <a:extLst>
              <a:ext uri="{FF2B5EF4-FFF2-40B4-BE49-F238E27FC236}">
                <a16:creationId xmlns="" xmlns:a16="http://schemas.microsoft.com/office/drawing/2014/main" id="{241CFC65-D3EE-468B-9DCC-5C5872D500EE}"/>
              </a:ext>
            </a:extLst>
          </p:cNvPr>
          <p:cNvSpPr/>
          <p:nvPr/>
        </p:nvSpPr>
        <p:spPr>
          <a:xfrm>
            <a:off x="569970" y="1214040"/>
            <a:ext cx="11049712" cy="884159"/>
          </a:xfrm>
          <a:prstGeom prst="roundRect">
            <a:avLst/>
          </a:prstGeom>
          <a:solidFill>
            <a:srgbClr val="44449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</a:rPr>
              <a:t>Objective: This meta-analysis explores the risk for severe hypoglycemia with </a:t>
            </a:r>
            <a:br>
              <a:rPr lang="en-US" b="1" dirty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</a:rPr>
              <a:t>Gla-300 versus Gla-100 in the pool of studied patients with T1D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>
          <a:xfrm>
            <a:off x="2468031" y="6117700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chemeClr val="accent2"/>
              </a:buClr>
              <a:defRPr/>
            </a:pPr>
            <a:r>
              <a:rPr lang="en-US" sz="1100" dirty="0" err="1">
                <a:solidFill>
                  <a:schemeClr val="tx1">
                    <a:lumMod val="75000"/>
                  </a:schemeClr>
                </a:solidFill>
              </a:rPr>
              <a:t>Danne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 T, et al. </a:t>
            </a:r>
            <a:r>
              <a:rPr lang="en-US" sz="1100" dirty="0" err="1">
                <a:solidFill>
                  <a:schemeClr val="tx1">
                    <a:lumMod val="75000"/>
                  </a:schemeClr>
                </a:solidFill>
              </a:rPr>
              <a:t>Pediatr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 Diabetes 2019;20 (</a:t>
            </a:r>
            <a:r>
              <a:rPr lang="en-US" sz="1100" dirty="0" err="1">
                <a:solidFill>
                  <a:schemeClr val="tx1">
                    <a:lumMod val="75000"/>
                  </a:schemeClr>
                </a:solidFill>
              </a:rPr>
              <a:t>Suppl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 28):P236. </a:t>
            </a:r>
          </a:p>
        </p:txBody>
      </p:sp>
    </p:spTree>
    <p:extLst>
      <p:ext uri="{BB962C8B-B14F-4D97-AF65-F5344CB8AC3E}">
        <p14:creationId xmlns:p14="http://schemas.microsoft.com/office/powerpoint/2010/main" val="26656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b="1" dirty="0"/>
              <a:t>Study design and previous basal insulin use</a:t>
            </a:r>
            <a:endParaRPr lang="en-GB" b="1" baseline="30000" dirty="0"/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3E845BF3-6203-46ED-A211-C3B4085177ED}"/>
              </a:ext>
            </a:extLst>
          </p:cNvPr>
          <p:cNvSpPr/>
          <p:nvPr/>
        </p:nvSpPr>
        <p:spPr>
          <a:xfrm>
            <a:off x="383116" y="798948"/>
            <a:ext cx="1152353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444492"/>
                </a:solidFill>
                <a:latin typeface="Arial" panose="020B0604020202020204" pitchFamily="34" charset="0"/>
              </a:rPr>
              <a:t>The following patients with T1D were pooled in the present study: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rgbClr val="444492"/>
                </a:solidFill>
                <a:latin typeface="Arial" panose="020B0604020202020204" pitchFamily="34" charset="0"/>
              </a:rPr>
              <a:t>− EDITION 4 (n=549): adult patients (age ≥18 years), worldwide</a:t>
            </a:r>
            <a:r>
              <a:rPr lang="en-US" baseline="30000" dirty="0">
                <a:solidFill>
                  <a:srgbClr val="444492"/>
                </a:solidFill>
                <a:latin typeface="Arial" panose="020B0604020202020204" pitchFamily="34" charset="0"/>
              </a:rPr>
              <a:t>9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rgbClr val="444492"/>
                </a:solidFill>
                <a:latin typeface="Arial" panose="020B0604020202020204" pitchFamily="34" charset="0"/>
              </a:rPr>
              <a:t>− EDITION JP 1 (n=243): adult patients (age ≥18 years), Japan</a:t>
            </a:r>
            <a:r>
              <a:rPr lang="en-US" baseline="30000" dirty="0">
                <a:solidFill>
                  <a:srgbClr val="444492"/>
                </a:solidFill>
                <a:latin typeface="Arial" panose="020B0604020202020204" pitchFamily="34" charset="0"/>
              </a:rPr>
              <a:t>10</a:t>
            </a:r>
          </a:p>
          <a:p>
            <a:pPr lvl="1">
              <a:lnSpc>
                <a:spcPct val="150000"/>
              </a:lnSpc>
            </a:pPr>
            <a:r>
              <a:rPr lang="en-US" dirty="0">
                <a:solidFill>
                  <a:srgbClr val="444492"/>
                </a:solidFill>
                <a:latin typeface="Arial" panose="020B0604020202020204" pitchFamily="34" charset="0"/>
              </a:rPr>
              <a:t>− EDITION JUNIOR (n=463): children and adolescents (age 6−17 years), worldwide</a:t>
            </a:r>
            <a:r>
              <a:rPr lang="en-US" baseline="30000" dirty="0">
                <a:solidFill>
                  <a:srgbClr val="444492"/>
                </a:solidFill>
                <a:latin typeface="Arial" panose="020B0604020202020204" pitchFamily="34" charset="0"/>
              </a:rPr>
              <a:t>11</a:t>
            </a:r>
            <a:endParaRPr lang="en-US" sz="1050" baseline="30000" dirty="0">
              <a:solidFill>
                <a:srgbClr val="444492"/>
              </a:solidFill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4897D355-BBFD-4B1F-A4E1-094308BEF2E3}"/>
              </a:ext>
            </a:extLst>
          </p:cNvPr>
          <p:cNvSpPr/>
          <p:nvPr/>
        </p:nvSpPr>
        <p:spPr>
          <a:xfrm>
            <a:off x="8241590" y="2809862"/>
            <a:ext cx="25650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444492"/>
                </a:solidFill>
                <a:latin typeface="Arial" panose="020B0604020202020204" pitchFamily="34" charset="0"/>
              </a:rPr>
              <a:t> </a:t>
            </a:r>
            <a:r>
              <a:rPr lang="en-US" sz="1600" b="1" dirty="0">
                <a:solidFill>
                  <a:srgbClr val="444492"/>
                </a:solidFill>
                <a:latin typeface="Arial" panose="020B0604020202020204" pitchFamily="34" charset="0"/>
              </a:rPr>
              <a:t>Previous basal insulin</a:t>
            </a:r>
            <a:endParaRPr lang="en-US" sz="1600" b="1" dirty="0">
              <a:solidFill>
                <a:srgbClr val="444492"/>
              </a:solidFill>
            </a:endParaRPr>
          </a:p>
        </p:txBody>
      </p:sp>
      <p:sp>
        <p:nvSpPr>
          <p:cNvPr id="10" name="Rounded Rectangle 83">
            <a:extLst>
              <a:ext uri="{FF2B5EF4-FFF2-40B4-BE49-F238E27FC236}">
                <a16:creationId xmlns="" xmlns:a16="http://schemas.microsoft.com/office/drawing/2014/main" id="{57318ECF-202B-4ACC-A433-B39E654F64F5}"/>
              </a:ext>
            </a:extLst>
          </p:cNvPr>
          <p:cNvSpPr/>
          <p:nvPr/>
        </p:nvSpPr>
        <p:spPr>
          <a:xfrm>
            <a:off x="10483912" y="87443"/>
            <a:ext cx="1621189" cy="436361"/>
          </a:xfrm>
          <a:prstGeom prst="roundRect">
            <a:avLst/>
          </a:prstGeom>
          <a:solidFill>
            <a:srgbClr val="44449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47992" rIns="0" bIns="47992" spcCol="1271" anchor="ctr"/>
          <a:lstStyle/>
          <a:p>
            <a:pPr algn="ctr" defTabSz="829593">
              <a:lnSpc>
                <a:spcPct val="90000"/>
              </a:lnSpc>
              <a:defRPr/>
            </a:pPr>
            <a:r>
              <a:rPr lang="de-DE" sz="1600" b="1" dirty="0">
                <a:solidFill>
                  <a:srgbClr val="FFFFFF"/>
                </a:solidFill>
                <a:cs typeface="Arial" panose="020B0604020202020204" pitchFamily="34" charset="0"/>
              </a:rPr>
              <a:t>T1D </a:t>
            </a:r>
            <a:br>
              <a:rPr lang="de-DE" sz="16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de-DE" sz="1600" b="1" dirty="0">
                <a:solidFill>
                  <a:srgbClr val="FFFFFF"/>
                </a:solidFill>
                <a:cs typeface="Arial" panose="020B0604020202020204" pitchFamily="34" charset="0"/>
              </a:rPr>
              <a:t>meta-analysi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966EB93A-4A32-4478-BA56-60717A5ADF0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216" b="13423"/>
          <a:stretch/>
        </p:blipFill>
        <p:spPr>
          <a:xfrm>
            <a:off x="8011621" y="3182459"/>
            <a:ext cx="3427369" cy="20721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60C68FF5-4ECE-4A2E-B62D-76288D5FC9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2220" y="3499071"/>
            <a:ext cx="6095998" cy="171390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8EDD9174-8878-45A6-B8AD-94B0BFB3B60B}"/>
              </a:ext>
            </a:extLst>
          </p:cNvPr>
          <p:cNvSpPr/>
          <p:nvPr/>
        </p:nvSpPr>
        <p:spPr>
          <a:xfrm>
            <a:off x="2940742" y="2809862"/>
            <a:ext cx="146034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444492"/>
                </a:solidFill>
                <a:latin typeface="Arial" panose="020B0604020202020204" pitchFamily="34" charset="0"/>
              </a:rPr>
              <a:t>Study design</a:t>
            </a:r>
            <a:endParaRPr lang="en-US" sz="2000" b="1" dirty="0">
              <a:solidFill>
                <a:srgbClr val="444492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468031" y="6117700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chemeClr val="accent2"/>
              </a:buClr>
              <a:defRPr/>
            </a:pPr>
            <a:r>
              <a:rPr lang="en-US" sz="1100" dirty="0" err="1">
                <a:solidFill>
                  <a:schemeClr val="tx1">
                    <a:lumMod val="75000"/>
                  </a:schemeClr>
                </a:solidFill>
              </a:rPr>
              <a:t>Danne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 T, et al. </a:t>
            </a:r>
            <a:r>
              <a:rPr lang="en-US" sz="1100" dirty="0" err="1">
                <a:solidFill>
                  <a:schemeClr val="tx1">
                    <a:lumMod val="75000"/>
                  </a:schemeClr>
                </a:solidFill>
              </a:rPr>
              <a:t>Pediatr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 Diabetes 2019;20 (</a:t>
            </a:r>
            <a:r>
              <a:rPr lang="en-US" sz="1100" dirty="0" err="1">
                <a:solidFill>
                  <a:schemeClr val="tx1">
                    <a:lumMod val="75000"/>
                  </a:schemeClr>
                </a:solidFill>
              </a:rPr>
              <a:t>Suppl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 28):P236. </a:t>
            </a:r>
          </a:p>
        </p:txBody>
      </p:sp>
    </p:spTree>
    <p:extLst>
      <p:ext uri="{BB962C8B-B14F-4D97-AF65-F5344CB8AC3E}">
        <p14:creationId xmlns:p14="http://schemas.microsoft.com/office/powerpoint/2010/main" val="1502532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HbA</a:t>
            </a:r>
            <a:r>
              <a:rPr lang="en-US" b="1" baseline="-25000" dirty="0"/>
              <a:t>1c</a:t>
            </a:r>
            <a:r>
              <a:rPr lang="en-US" b="1" dirty="0"/>
              <a:t> reduction from baseline to week 26</a:t>
            </a:r>
            <a:endParaRPr lang="en-GB" b="1" dirty="0"/>
          </a:p>
        </p:txBody>
      </p:sp>
      <p:sp>
        <p:nvSpPr>
          <p:cNvPr id="194" name="Rounded Rectangle 83">
            <a:extLst>
              <a:ext uri="{FF2B5EF4-FFF2-40B4-BE49-F238E27FC236}">
                <a16:creationId xmlns="" xmlns:a16="http://schemas.microsoft.com/office/drawing/2014/main" id="{EE592C55-4082-4AD0-BC7D-99CB1925DD4F}"/>
              </a:ext>
            </a:extLst>
          </p:cNvPr>
          <p:cNvSpPr/>
          <p:nvPr/>
        </p:nvSpPr>
        <p:spPr>
          <a:xfrm>
            <a:off x="383117" y="4823731"/>
            <a:ext cx="11523535" cy="540000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47992" rIns="0" bIns="47992" spcCol="1271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</a:rPr>
              <a:t>HbA</a:t>
            </a:r>
            <a:r>
              <a:rPr lang="en-US" b="1" baseline="-25000" dirty="0">
                <a:solidFill>
                  <a:schemeClr val="bg1"/>
                </a:solidFill>
                <a:latin typeface="Arial" panose="020B0604020202020204" pitchFamily="34" charset="0"/>
              </a:rPr>
              <a:t>1c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</a:rPr>
              <a:t> reduction with Gla-300 was </a:t>
            </a:r>
            <a:r>
              <a:rPr lang="en-US" b="1" u="sng" dirty="0">
                <a:solidFill>
                  <a:schemeClr val="bg1"/>
                </a:solidFill>
                <a:latin typeface="Arial" panose="020B0604020202020204" pitchFamily="34" charset="0"/>
              </a:rPr>
              <a:t>non-inferior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</a:rPr>
              <a:t> to Gla-100 across trials at the 0.3% margin</a:t>
            </a:r>
          </a:p>
        </p:txBody>
      </p:sp>
      <p:sp>
        <p:nvSpPr>
          <p:cNvPr id="9" name="Rounded Rectangle 83">
            <a:extLst>
              <a:ext uri="{FF2B5EF4-FFF2-40B4-BE49-F238E27FC236}">
                <a16:creationId xmlns="" xmlns:a16="http://schemas.microsoft.com/office/drawing/2014/main" id="{9EE4A6B1-4D07-400B-B65D-B570C94A5734}"/>
              </a:ext>
            </a:extLst>
          </p:cNvPr>
          <p:cNvSpPr/>
          <p:nvPr/>
        </p:nvSpPr>
        <p:spPr>
          <a:xfrm>
            <a:off x="10483912" y="87443"/>
            <a:ext cx="1621189" cy="436361"/>
          </a:xfrm>
          <a:prstGeom prst="roundRect">
            <a:avLst/>
          </a:prstGeom>
          <a:solidFill>
            <a:srgbClr val="44449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47992" rIns="0" bIns="47992" spcCol="1271" anchor="ctr"/>
          <a:lstStyle/>
          <a:p>
            <a:pPr algn="ctr" defTabSz="829593">
              <a:lnSpc>
                <a:spcPct val="90000"/>
              </a:lnSpc>
              <a:defRPr/>
            </a:pPr>
            <a:r>
              <a:rPr lang="de-DE" sz="1600" b="1" dirty="0">
                <a:solidFill>
                  <a:srgbClr val="FFFFFF"/>
                </a:solidFill>
                <a:cs typeface="Arial" panose="020B0604020202020204" pitchFamily="34" charset="0"/>
              </a:rPr>
              <a:t>T1D </a:t>
            </a:r>
            <a:br>
              <a:rPr lang="de-DE" sz="16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de-DE" sz="1600" b="1" dirty="0">
                <a:solidFill>
                  <a:srgbClr val="FFFFFF"/>
                </a:solidFill>
                <a:cs typeface="Arial" panose="020B0604020202020204" pitchFamily="34" charset="0"/>
              </a:rPr>
              <a:t>meta-analysi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779B5CD5-FEE0-4276-B13F-AB8DFC0A43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626" y="967144"/>
            <a:ext cx="5324402" cy="366250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5A0311F0-EB3B-4BFC-83EF-48244E1EAC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2213" y="944177"/>
            <a:ext cx="3938057" cy="375053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C4700B71-2D98-49BE-A104-F3B0C44D2BD9}"/>
              </a:ext>
            </a:extLst>
          </p:cNvPr>
          <p:cNvSpPr/>
          <p:nvPr/>
        </p:nvSpPr>
        <p:spPr>
          <a:xfrm>
            <a:off x="6992213" y="3695699"/>
            <a:ext cx="3938057" cy="762001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/>
        </p:nvSpPr>
        <p:spPr>
          <a:xfrm>
            <a:off x="2468031" y="6117700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chemeClr val="accent2"/>
              </a:buClr>
              <a:defRPr/>
            </a:pPr>
            <a:r>
              <a:rPr lang="en-US" sz="1100" dirty="0" err="1">
                <a:solidFill>
                  <a:schemeClr val="tx1">
                    <a:lumMod val="75000"/>
                  </a:schemeClr>
                </a:solidFill>
              </a:rPr>
              <a:t>Danne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 T, et al. </a:t>
            </a:r>
            <a:r>
              <a:rPr lang="en-US" sz="1100" dirty="0" err="1">
                <a:solidFill>
                  <a:schemeClr val="tx1">
                    <a:lumMod val="75000"/>
                  </a:schemeClr>
                </a:solidFill>
              </a:rPr>
              <a:t>Pediatr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 Diabetes 2019;20 (</a:t>
            </a:r>
            <a:r>
              <a:rPr lang="en-US" sz="1100" dirty="0" err="1">
                <a:solidFill>
                  <a:schemeClr val="tx1">
                    <a:lumMod val="75000"/>
                  </a:schemeClr>
                </a:solidFill>
              </a:rPr>
              <a:t>Suppl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 28):P236. </a:t>
            </a:r>
          </a:p>
        </p:txBody>
      </p:sp>
    </p:spTree>
    <p:extLst>
      <p:ext uri="{BB962C8B-B14F-4D97-AF65-F5344CB8AC3E}">
        <p14:creationId xmlns:p14="http://schemas.microsoft.com/office/powerpoint/2010/main" val="2780817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34032" y="91759"/>
            <a:ext cx="11523537" cy="436361"/>
          </a:xfrm>
        </p:spPr>
        <p:txBody>
          <a:bodyPr/>
          <a:lstStyle/>
          <a:p>
            <a:r>
              <a:rPr lang="en-US" b="1" dirty="0"/>
              <a:t>Lower percentage of patients with ≥1 severe hypoglycemic event </a:t>
            </a:r>
            <a:br>
              <a:rPr lang="en-US" b="1" dirty="0"/>
            </a:br>
            <a:r>
              <a:rPr lang="en-US" b="1" dirty="0"/>
              <a:t>with Gla-300 vs. Gla-100 from baseline to month 6</a:t>
            </a:r>
            <a:endParaRPr lang="en-GB" b="1" dirty="0"/>
          </a:p>
        </p:txBody>
      </p:sp>
      <p:sp>
        <p:nvSpPr>
          <p:cNvPr id="9" name="Rounded Rectangle 83">
            <a:extLst>
              <a:ext uri="{FF2B5EF4-FFF2-40B4-BE49-F238E27FC236}">
                <a16:creationId xmlns="" xmlns:a16="http://schemas.microsoft.com/office/drawing/2014/main" id="{3C4445A8-5AEA-4491-AFCC-0CA9164A9BB1}"/>
              </a:ext>
            </a:extLst>
          </p:cNvPr>
          <p:cNvSpPr/>
          <p:nvPr/>
        </p:nvSpPr>
        <p:spPr>
          <a:xfrm>
            <a:off x="383117" y="4985656"/>
            <a:ext cx="11523535" cy="540000"/>
          </a:xfrm>
          <a:prstGeom prst="roundRect">
            <a:avLst/>
          </a:prstGeom>
          <a:solidFill>
            <a:srgbClr val="81B83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47992" rIns="0" bIns="47992" spcCol="1271" anchor="ctr"/>
          <a:lstStyle/>
          <a:p>
            <a:pPr algn="ctr"/>
            <a:r>
              <a:rPr lang="en-US" b="1" u="sng" dirty="0">
                <a:solidFill>
                  <a:schemeClr val="bg1"/>
                </a:solidFill>
                <a:latin typeface="Arial" panose="020B0604020202020204" pitchFamily="34" charset="0"/>
              </a:rPr>
              <a:t>Fewer patients 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</a:rPr>
              <a:t>experienced severe hypoglycemic events with Gla-300 versus Gla-100</a:t>
            </a:r>
          </a:p>
        </p:txBody>
      </p:sp>
      <p:sp>
        <p:nvSpPr>
          <p:cNvPr id="8" name="Rounded Rectangle 83">
            <a:extLst>
              <a:ext uri="{FF2B5EF4-FFF2-40B4-BE49-F238E27FC236}">
                <a16:creationId xmlns="" xmlns:a16="http://schemas.microsoft.com/office/drawing/2014/main" id="{0A6FBEE0-1E94-4E9E-AC2C-34B1173973B6}"/>
              </a:ext>
            </a:extLst>
          </p:cNvPr>
          <p:cNvSpPr/>
          <p:nvPr/>
        </p:nvSpPr>
        <p:spPr>
          <a:xfrm>
            <a:off x="10483912" y="87443"/>
            <a:ext cx="1621189" cy="436361"/>
          </a:xfrm>
          <a:prstGeom prst="roundRect">
            <a:avLst/>
          </a:prstGeom>
          <a:solidFill>
            <a:srgbClr val="44449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47992" rIns="0" bIns="47992" spcCol="1271" anchor="ctr"/>
          <a:lstStyle/>
          <a:p>
            <a:pPr algn="ctr" defTabSz="829593">
              <a:lnSpc>
                <a:spcPct val="90000"/>
              </a:lnSpc>
              <a:defRPr/>
            </a:pPr>
            <a:r>
              <a:rPr lang="de-DE" sz="1600" b="1" dirty="0">
                <a:solidFill>
                  <a:srgbClr val="FFFFFF"/>
                </a:solidFill>
                <a:cs typeface="Arial" panose="020B0604020202020204" pitchFamily="34" charset="0"/>
              </a:rPr>
              <a:t>T1D </a:t>
            </a:r>
            <a:br>
              <a:rPr lang="de-DE" sz="16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de-DE" sz="1600" b="1" dirty="0">
                <a:solidFill>
                  <a:srgbClr val="FFFFFF"/>
                </a:solidFill>
                <a:cs typeface="Arial" panose="020B0604020202020204" pitchFamily="34" charset="0"/>
              </a:rPr>
              <a:t>meta-analysi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B7B6C2A5-5442-446D-B26B-B59239F902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6564" y="1167150"/>
            <a:ext cx="3938056" cy="36675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33AC64A-611F-429F-8A07-394F3A42A462}"/>
              </a:ext>
            </a:extLst>
          </p:cNvPr>
          <p:cNvSpPr/>
          <p:nvPr/>
        </p:nvSpPr>
        <p:spPr>
          <a:xfrm>
            <a:off x="6992213" y="3876674"/>
            <a:ext cx="3938057" cy="762001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hteck: abgerundete Ecken 4">
            <a:extLst>
              <a:ext uri="{FF2B5EF4-FFF2-40B4-BE49-F238E27FC236}">
                <a16:creationId xmlns="" xmlns:a16="http://schemas.microsoft.com/office/drawing/2014/main" id="{BAB65964-A62F-4DE9-BD96-23ABF73AD88A}"/>
              </a:ext>
            </a:extLst>
          </p:cNvPr>
          <p:cNvSpPr/>
          <p:nvPr/>
        </p:nvSpPr>
        <p:spPr>
          <a:xfrm>
            <a:off x="1857375" y="995665"/>
            <a:ext cx="3648074" cy="147838"/>
          </a:xfrm>
          <a:prstGeom prst="roundRect">
            <a:avLst/>
          </a:prstGeom>
          <a:solidFill>
            <a:srgbClr val="44449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48000" rIns="0" bIns="48000" spcCol="1270" anchor="ctr"/>
          <a:lstStyle/>
          <a:p>
            <a:pPr algn="ctr" defTabSz="829713">
              <a:lnSpc>
                <a:spcPct val="90000"/>
              </a:lnSpc>
            </a:pPr>
            <a:r>
              <a:rPr lang="de-DE" sz="1100" dirty="0" err="1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Severe</a:t>
            </a:r>
            <a:r>
              <a:rPr lang="de-DE" sz="110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hypoglycemia</a:t>
            </a:r>
            <a:r>
              <a:rPr lang="de-DE" sz="110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 </a:t>
            </a:r>
            <a:r>
              <a:rPr lang="de-DE" sz="1100" dirty="0" err="1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incidence</a:t>
            </a:r>
            <a:r>
              <a:rPr lang="de-DE" sz="110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 (%)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675288" y="1124453"/>
            <a:ext cx="5328470" cy="3680998"/>
            <a:chOff x="675288" y="1124453"/>
            <a:chExt cx="5328470" cy="3680998"/>
          </a:xfrm>
        </p:grpSpPr>
        <p:pic>
          <p:nvPicPr>
            <p:cNvPr id="5" name="Picture 4">
              <a:extLst>
                <a:ext uri="{FF2B5EF4-FFF2-40B4-BE49-F238E27FC236}">
                  <a16:creationId xmlns="" xmlns:a16="http://schemas.microsoft.com/office/drawing/2014/main" id="{D18FA87D-002A-491C-93C6-8FBBA92A77A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75288" y="1124453"/>
              <a:ext cx="5328470" cy="3680998"/>
            </a:xfrm>
            <a:prstGeom prst="rect">
              <a:avLst/>
            </a:prstGeom>
          </p:spPr>
        </p:pic>
        <p:pic>
          <p:nvPicPr>
            <p:cNvPr id="5122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79199" y="2217948"/>
              <a:ext cx="836941" cy="1394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23" name="Picture 3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79199" y="3241370"/>
              <a:ext cx="838441" cy="1349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" name="Rectangle 1"/>
            <p:cNvSpPr/>
            <p:nvPr/>
          </p:nvSpPr>
          <p:spPr>
            <a:xfrm>
              <a:off x="1339516" y="1267326"/>
              <a:ext cx="946484" cy="3208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Rectangle 15"/>
          <p:cNvSpPr/>
          <p:nvPr/>
        </p:nvSpPr>
        <p:spPr>
          <a:xfrm>
            <a:off x="2468031" y="6117700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chemeClr val="accent2"/>
              </a:buClr>
              <a:defRPr/>
            </a:pPr>
            <a:r>
              <a:rPr lang="en-US" sz="1100" dirty="0" err="1">
                <a:solidFill>
                  <a:schemeClr val="tx1">
                    <a:lumMod val="75000"/>
                  </a:schemeClr>
                </a:solidFill>
              </a:rPr>
              <a:t>Danne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 T, et al. </a:t>
            </a:r>
            <a:r>
              <a:rPr lang="en-US" sz="1100" dirty="0" err="1">
                <a:solidFill>
                  <a:schemeClr val="tx1">
                    <a:lumMod val="75000"/>
                  </a:schemeClr>
                </a:solidFill>
              </a:rPr>
              <a:t>Pediatr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 Diabetes 2019;20 (</a:t>
            </a:r>
            <a:r>
              <a:rPr lang="en-US" sz="1100" dirty="0" err="1">
                <a:solidFill>
                  <a:schemeClr val="tx1">
                    <a:lumMod val="75000"/>
                  </a:schemeClr>
                </a:solidFill>
              </a:rPr>
              <a:t>Suppl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 28):P236. </a:t>
            </a:r>
          </a:p>
        </p:txBody>
      </p:sp>
    </p:spTree>
    <p:extLst>
      <p:ext uri="{BB962C8B-B14F-4D97-AF65-F5344CB8AC3E}">
        <p14:creationId xmlns:p14="http://schemas.microsoft.com/office/powerpoint/2010/main" val="2614375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="" xmlns:a16="http://schemas.microsoft.com/office/drawing/2014/main" id="{F3E71F28-9221-474E-AAC3-11A0494FC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iscussion/Conclusion: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2C4941E0-4C21-404D-8DCA-339C034DE00F}"/>
              </a:ext>
            </a:extLst>
          </p:cNvPr>
          <p:cNvSpPr/>
          <p:nvPr/>
        </p:nvSpPr>
        <p:spPr>
          <a:xfrm>
            <a:off x="383116" y="827438"/>
            <a:ext cx="11523537" cy="3831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  <a:latin typeface="Arial" panose="020B0604020202020204" pitchFamily="34" charset="0"/>
              </a:rPr>
              <a:t>Gla-300 provides effective and similar glycemic control versus Gla-100 in patients with T1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  <a:latin typeface="Arial" panose="020B0604020202020204" pitchFamily="34" charset="0"/>
              </a:rPr>
              <a:t>Treatment with Gla-300 was associated with a lower risk for severe hypoglycemia compared with Gla-100, especially during the titration phas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  <a:latin typeface="Arial" panose="020B0604020202020204" pitchFamily="34" charset="0"/>
              </a:rPr>
              <a:t>Although the risk of severe hypoglycemia was similar with Gla-300 and Gla-100 in the maintenance phase, the data indicate that Gla-300 offered important advantages during active titr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/>
                </a:solidFill>
                <a:latin typeface="Arial" panose="020B0604020202020204" pitchFamily="34" charset="0"/>
              </a:rPr>
              <a:t>Limitations: 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accent1"/>
                </a:solidFill>
                <a:latin typeface="Arial" panose="020B0604020202020204" pitchFamily="34" charset="0"/>
              </a:rPr>
              <a:t>The T1D study pool consisted of heterogeneous populations that may, however, represent a large multi-national cohort of patients with T1D eligible for Gla-300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accent1"/>
                </a:solidFill>
                <a:latin typeface="Arial" panose="020B0604020202020204" pitchFamily="34" charset="0"/>
              </a:rPr>
              <a:t>The analysis was performed post-hoc and is exploratory in natur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6DC78DBA-B42B-41DD-BFE4-11C9CFE2856C}"/>
              </a:ext>
            </a:extLst>
          </p:cNvPr>
          <p:cNvGrpSpPr/>
          <p:nvPr/>
        </p:nvGrpSpPr>
        <p:grpSpPr>
          <a:xfrm>
            <a:off x="915873" y="4729194"/>
            <a:ext cx="10535659" cy="972000"/>
            <a:chOff x="650950" y="3845344"/>
            <a:chExt cx="10535659" cy="972000"/>
          </a:xfrm>
        </p:grpSpPr>
        <p:sp>
          <p:nvSpPr>
            <p:cNvPr id="10" name="Rounded Rectangle 83">
              <a:extLst>
                <a:ext uri="{FF2B5EF4-FFF2-40B4-BE49-F238E27FC236}">
                  <a16:creationId xmlns="" xmlns:a16="http://schemas.microsoft.com/office/drawing/2014/main" id="{86CB3490-2621-4764-9B80-CB4DD6724349}"/>
                </a:ext>
              </a:extLst>
            </p:cNvPr>
            <p:cNvSpPr/>
            <p:nvPr/>
          </p:nvSpPr>
          <p:spPr>
            <a:xfrm>
              <a:off x="650950" y="3845344"/>
              <a:ext cx="10364579" cy="972000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0" tIns="47992" rIns="0" bIns="47992" spcCol="1271" anchor="ctr"/>
            <a:lstStyle/>
            <a:p>
              <a:pPr marL="179388" algn="just"/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" name="TextBox 1">
              <a:extLst>
                <a:ext uri="{FF2B5EF4-FFF2-40B4-BE49-F238E27FC236}">
                  <a16:creationId xmlns="" xmlns:a16="http://schemas.microsoft.com/office/drawing/2014/main" id="{DBEFF959-D69C-4F3C-B5ED-AA3CB6887913}"/>
                </a:ext>
              </a:extLst>
            </p:cNvPr>
            <p:cNvSpPr txBox="1"/>
            <p:nvPr/>
          </p:nvSpPr>
          <p:spPr>
            <a:xfrm>
              <a:off x="927054" y="4008792"/>
              <a:ext cx="1025955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Gla-300 showed a </a:t>
              </a:r>
              <a:r>
                <a:rPr lang="en-US" b="1" u="sng" dirty="0">
                  <a:solidFill>
                    <a:schemeClr val="bg1"/>
                  </a:solidFill>
                  <a:latin typeface="Arial" panose="020B0604020202020204" pitchFamily="34" charset="0"/>
                </a:rPr>
                <a:t>lower risk for severe hypoglycemia </a:t>
              </a:r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compared with Gla-100 in a broad spectrum of patients with T1D, especially during the titration phase</a:t>
              </a:r>
              <a:endParaRPr lang="en-GB" dirty="0"/>
            </a:p>
          </p:txBody>
        </p:sp>
      </p:grpSp>
      <p:sp>
        <p:nvSpPr>
          <p:cNvPr id="9" name="Rounded Rectangle 83">
            <a:extLst>
              <a:ext uri="{FF2B5EF4-FFF2-40B4-BE49-F238E27FC236}">
                <a16:creationId xmlns="" xmlns:a16="http://schemas.microsoft.com/office/drawing/2014/main" id="{0F1138A7-C7FE-46C8-9CDA-8190480CEC4B}"/>
              </a:ext>
            </a:extLst>
          </p:cNvPr>
          <p:cNvSpPr/>
          <p:nvPr/>
        </p:nvSpPr>
        <p:spPr>
          <a:xfrm>
            <a:off x="10483912" y="87443"/>
            <a:ext cx="1621189" cy="436361"/>
          </a:xfrm>
          <a:prstGeom prst="roundRect">
            <a:avLst/>
          </a:prstGeom>
          <a:solidFill>
            <a:srgbClr val="44449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47992" rIns="0" bIns="47992" spcCol="1271" anchor="ctr"/>
          <a:lstStyle/>
          <a:p>
            <a:pPr algn="ctr" defTabSz="829593">
              <a:lnSpc>
                <a:spcPct val="90000"/>
              </a:lnSpc>
              <a:defRPr/>
            </a:pPr>
            <a:r>
              <a:rPr lang="de-DE" sz="1600" b="1" dirty="0">
                <a:solidFill>
                  <a:srgbClr val="FFFFFF"/>
                </a:solidFill>
                <a:cs typeface="Arial" panose="020B0604020202020204" pitchFamily="34" charset="0"/>
              </a:rPr>
              <a:t>T1D </a:t>
            </a:r>
            <a:br>
              <a:rPr lang="de-DE" sz="16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de-DE" sz="1600" b="1" dirty="0">
                <a:solidFill>
                  <a:srgbClr val="FFFFFF"/>
                </a:solidFill>
                <a:cs typeface="Arial" panose="020B0604020202020204" pitchFamily="34" charset="0"/>
              </a:rPr>
              <a:t>meta-analysi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468031" y="6117700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chemeClr val="accent2"/>
              </a:buClr>
              <a:defRPr/>
            </a:pPr>
            <a:r>
              <a:rPr lang="en-US" sz="1100" dirty="0" err="1">
                <a:solidFill>
                  <a:schemeClr val="tx1">
                    <a:lumMod val="75000"/>
                  </a:schemeClr>
                </a:solidFill>
              </a:rPr>
              <a:t>Danne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 T, et al. </a:t>
            </a:r>
            <a:r>
              <a:rPr lang="en-US" sz="1100" dirty="0" err="1">
                <a:solidFill>
                  <a:schemeClr val="tx1">
                    <a:lumMod val="75000"/>
                  </a:schemeClr>
                </a:solidFill>
              </a:rPr>
              <a:t>Pediatr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 Diabetes 2019;20 (</a:t>
            </a:r>
            <a:r>
              <a:rPr lang="en-US" sz="1100" dirty="0" err="1">
                <a:solidFill>
                  <a:schemeClr val="tx1">
                    <a:lumMod val="75000"/>
                  </a:schemeClr>
                </a:solidFill>
              </a:rPr>
              <a:t>Suppl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 28):P236. </a:t>
            </a:r>
          </a:p>
        </p:txBody>
      </p:sp>
    </p:spTree>
    <p:extLst>
      <p:ext uri="{BB962C8B-B14F-4D97-AF65-F5344CB8AC3E}">
        <p14:creationId xmlns:p14="http://schemas.microsoft.com/office/powerpoint/2010/main" val="834561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66573" y="209989"/>
            <a:ext cx="10372271" cy="671223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200" b="1" dirty="0">
                <a:latin typeface="+mj-lt"/>
                <a:cs typeface="Calibri" panose="020F0502020204030204" pitchFamily="34" charset="0"/>
              </a:rPr>
              <a:t>DOSAGE &amp; ADMINISTRATION</a:t>
            </a:r>
            <a:endParaRPr lang="en-US" b="1" dirty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03736" y="1449005"/>
            <a:ext cx="11952651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chemeClr val="accent2"/>
                </a:solidFill>
              </a:rPr>
              <a:t>General Instructions:</a:t>
            </a:r>
          </a:p>
          <a:p>
            <a:endParaRPr lang="en-US" sz="3200" dirty="0"/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2400" dirty="0"/>
              <a:t>Basal Insulin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2400" dirty="0"/>
              <a:t>Once a Day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2400" dirty="0"/>
              <a:t>SC injection at any time of the day </a:t>
            </a:r>
          </a:p>
          <a:p>
            <a:pPr marL="1066773" lvl="1" indent="-457189">
              <a:buFont typeface="Arial" panose="020B0604020202020204" pitchFamily="34" charset="0"/>
              <a:buChar char="•"/>
            </a:pPr>
            <a:r>
              <a:rPr lang="en-US" sz="2400" dirty="0"/>
              <a:t>When needed, patients can administer </a:t>
            </a:r>
            <a:r>
              <a:rPr lang="en-US" sz="2400" b="1" dirty="0"/>
              <a:t>Toujeo up to 3 hours before or after </a:t>
            </a:r>
            <a:r>
              <a:rPr lang="en-US" sz="2400" dirty="0"/>
              <a:t>their usual time of administration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en-US" sz="2400" dirty="0"/>
              <a:t>Dosage ranges from 1 to 80 U / one injection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 dirty="0"/>
              <a:t> </a:t>
            </a:r>
            <a:r>
              <a:rPr lang="en-US" sz="2400" dirty="0" err="1"/>
              <a:t>Toujeo</a:t>
            </a:r>
            <a:r>
              <a:rPr lang="en-US" sz="2400" dirty="0"/>
              <a:t> should not be administered intravenously.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400" dirty="0"/>
              <a:t> </a:t>
            </a:r>
            <a:r>
              <a:rPr lang="en-US" sz="2400" dirty="0" err="1"/>
              <a:t>Toujeo</a:t>
            </a:r>
            <a:r>
              <a:rPr lang="en-US" sz="2400" dirty="0"/>
              <a:t> must not be mixed with any other insulin or diluted. Mixing or diluting can change its time/action profile and mixing can cause precipitation 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endParaRPr lang="en-US" sz="3200" dirty="0"/>
          </a:p>
        </p:txBody>
      </p:sp>
      <p:pic>
        <p:nvPicPr>
          <p:cNvPr id="8" name="Image 2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58" t="22212" r="3516" b="47075"/>
          <a:stretch/>
        </p:blipFill>
        <p:spPr>
          <a:xfrm rot="19364661">
            <a:off x="6462322" y="1106993"/>
            <a:ext cx="4588305" cy="96913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053435" y="2170687"/>
            <a:ext cx="4138565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67" dirty="0">
                <a:solidFill>
                  <a:srgbClr val="461E6C"/>
                </a:solidFill>
                <a:latin typeface="Arial" charset="0"/>
                <a:ea typeface="Arial" charset="0"/>
                <a:cs typeface="Arial" charset="0"/>
              </a:rPr>
              <a:t>The advantage of </a:t>
            </a:r>
            <a:r>
              <a:rPr lang="en-US" sz="1867" b="1" dirty="0">
                <a:solidFill>
                  <a:srgbClr val="90C365"/>
                </a:solidFill>
                <a:latin typeface="Arial" charset="0"/>
                <a:ea typeface="Arial" charset="0"/>
                <a:cs typeface="Arial" charset="0"/>
              </a:rPr>
              <a:t>dosing flexibility</a:t>
            </a:r>
          </a:p>
          <a:p>
            <a:r>
              <a:rPr lang="en-US" sz="1867" dirty="0">
                <a:solidFill>
                  <a:srgbClr val="461E6C"/>
                </a:solidFill>
                <a:latin typeface="Arial" charset="0"/>
                <a:ea typeface="Arial" charset="0"/>
                <a:cs typeface="Arial" charset="0"/>
              </a:rPr>
              <a:t>when needed</a:t>
            </a:r>
            <a:endParaRPr lang="en-US" sz="1867" baseline="30000" dirty="0">
              <a:solidFill>
                <a:srgbClr val="461E6C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810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13945" y="122798"/>
            <a:ext cx="10249808" cy="77186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200" b="1" dirty="0">
                <a:cs typeface="Calibri" panose="020F0502020204030204" pitchFamily="34" charset="0"/>
              </a:rPr>
              <a:t>Administrat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485797"/>
            <a:ext cx="12166336" cy="41955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Initiation :</a:t>
            </a:r>
          </a:p>
          <a:p>
            <a:r>
              <a:rPr lang="en-US" sz="2133" b="1" i="1" dirty="0">
                <a:solidFill>
                  <a:schemeClr val="accent2"/>
                </a:solidFill>
              </a:rPr>
              <a:t>T1DM:</a:t>
            </a:r>
            <a:endParaRPr lang="en-US" sz="2133" b="1" dirty="0">
              <a:solidFill>
                <a:schemeClr val="accent2"/>
              </a:solidFill>
            </a:endParaRPr>
          </a:p>
          <a:p>
            <a:r>
              <a:rPr lang="en-US" sz="2133" dirty="0"/>
              <a:t>Once-daily with meal-time insulin and requires individual dose adjustments. </a:t>
            </a:r>
          </a:p>
          <a:p>
            <a:r>
              <a:rPr lang="en-US" sz="2133" b="1" i="1" dirty="0">
                <a:solidFill>
                  <a:schemeClr val="accent2"/>
                </a:solidFill>
              </a:rPr>
              <a:t>T2DM:</a:t>
            </a:r>
            <a:endParaRPr lang="en-US" sz="2133" b="1" dirty="0">
              <a:solidFill>
                <a:schemeClr val="accent2"/>
              </a:solidFill>
            </a:endParaRPr>
          </a:p>
          <a:p>
            <a:r>
              <a:rPr lang="en-US" sz="2133" dirty="0"/>
              <a:t>The recommended daily starting dose is </a:t>
            </a:r>
            <a:r>
              <a:rPr lang="en-US" sz="2133" i="1" u="sng" dirty="0"/>
              <a:t>0.2 units/kg  </a:t>
            </a:r>
            <a:r>
              <a:rPr lang="en-US" sz="2133" dirty="0"/>
              <a:t>followed by individual dose adjustments </a:t>
            </a:r>
            <a:endParaRPr lang="en-US" sz="2133" b="1" dirty="0"/>
          </a:p>
          <a:p>
            <a:r>
              <a:rPr lang="en-US" sz="2400" b="1" dirty="0">
                <a:solidFill>
                  <a:schemeClr val="accent2"/>
                </a:solidFill>
              </a:rPr>
              <a:t>Switch between Lantus to Toujeo :</a:t>
            </a:r>
          </a:p>
          <a:p>
            <a:r>
              <a:rPr lang="en-US" sz="2133" dirty="0"/>
              <a:t>Switching from insulin </a:t>
            </a:r>
            <a:r>
              <a:rPr lang="en-US" sz="2133" u="sng" dirty="0"/>
              <a:t>Lantus to Toujeo</a:t>
            </a:r>
            <a:r>
              <a:rPr lang="en-US" sz="2133" dirty="0"/>
              <a:t>, can be done on a </a:t>
            </a:r>
            <a:r>
              <a:rPr lang="en-US" sz="2133" b="1" dirty="0"/>
              <a:t>unit-to-unit</a:t>
            </a:r>
            <a:r>
              <a:rPr lang="en-US" sz="2133" dirty="0"/>
              <a:t> basis.</a:t>
            </a:r>
          </a:p>
          <a:p>
            <a:r>
              <a:rPr lang="en-US" sz="2400" b="1" dirty="0">
                <a:solidFill>
                  <a:schemeClr val="accent2"/>
                </a:solidFill>
              </a:rPr>
              <a:t>Switch from other basal insulins to Toujeo:  </a:t>
            </a:r>
          </a:p>
          <a:p>
            <a:r>
              <a:rPr lang="en-US" sz="2133" dirty="0"/>
              <a:t>Switching from </a:t>
            </a:r>
            <a:r>
              <a:rPr lang="en-US" sz="2133" u="sng" dirty="0"/>
              <a:t>once-daily basal insulins to once-daily Toujeo</a:t>
            </a:r>
            <a:r>
              <a:rPr lang="en-US" sz="2133" dirty="0"/>
              <a:t> can be done unit-to-unit </a:t>
            </a:r>
            <a:r>
              <a:rPr lang="en-US" sz="2133" b="1" dirty="0"/>
              <a:t>based on the previous</a:t>
            </a:r>
            <a:r>
              <a:rPr lang="en-US" sz="2133" dirty="0"/>
              <a:t> basal insulin dose. </a:t>
            </a:r>
          </a:p>
          <a:p>
            <a:r>
              <a:rPr lang="en-US" sz="2133" dirty="0"/>
              <a:t>Switching from </a:t>
            </a:r>
            <a:r>
              <a:rPr lang="en-US" sz="2133" u="sng" dirty="0"/>
              <a:t>twice-daily basal insulins to once-daily Toujeo</a:t>
            </a:r>
            <a:r>
              <a:rPr lang="en-US" sz="2133" dirty="0"/>
              <a:t>, the recommended initial Toujeo dose is </a:t>
            </a:r>
            <a:r>
              <a:rPr lang="en-US" sz="2133" b="1" dirty="0"/>
              <a:t>80% of the total daily dose of basal insulin </a:t>
            </a:r>
            <a:r>
              <a:rPr lang="en-US" sz="2133" dirty="0"/>
              <a:t>that is being discontinued</a:t>
            </a:r>
            <a:r>
              <a:rPr lang="en-US" sz="24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79710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7674" y="1296536"/>
            <a:ext cx="10561172" cy="5256584"/>
          </a:xfrm>
        </p:spPr>
        <p:txBody>
          <a:bodyPr/>
          <a:lstStyle/>
          <a:p>
            <a:r>
              <a:rPr lang="en-US" b="1" dirty="0" smtClean="0">
                <a:solidFill>
                  <a:schemeClr val="accent2"/>
                </a:solidFill>
              </a:rPr>
              <a:t>Before </a:t>
            </a:r>
            <a:r>
              <a:rPr lang="en-US" b="1" dirty="0">
                <a:solidFill>
                  <a:schemeClr val="accent2"/>
                </a:solidFill>
              </a:rPr>
              <a:t>first use </a:t>
            </a:r>
          </a:p>
          <a:p>
            <a:pPr lvl="1"/>
            <a:r>
              <a:rPr lang="en-US" b="0" dirty="0">
                <a:solidFill>
                  <a:schemeClr val="tx1"/>
                </a:solidFill>
              </a:rPr>
              <a:t>Store in a </a:t>
            </a:r>
            <a:r>
              <a:rPr lang="en-US" dirty="0" smtClean="0">
                <a:solidFill>
                  <a:schemeClr val="tx1"/>
                </a:solidFill>
              </a:rPr>
              <a:t>refrigerator(2-8°C)</a:t>
            </a:r>
            <a:endParaRPr lang="en-US" b="0" dirty="0">
              <a:solidFill>
                <a:schemeClr val="tx1"/>
              </a:solidFill>
            </a:endParaRPr>
          </a:p>
          <a:p>
            <a:pPr lvl="1"/>
            <a:r>
              <a:rPr lang="en-US" b="0" dirty="0">
                <a:solidFill>
                  <a:schemeClr val="tx1"/>
                </a:solidFill>
              </a:rPr>
              <a:t>Do not freeze or place next to the freezer compartment or a freezer pack. </a:t>
            </a:r>
          </a:p>
          <a:p>
            <a:pPr lvl="1"/>
            <a:r>
              <a:rPr lang="en-US" b="0" dirty="0">
                <a:solidFill>
                  <a:schemeClr val="tx1"/>
                </a:solidFill>
              </a:rPr>
              <a:t>Keep the pre-filled pen in the outer carton in order to protect from light. </a:t>
            </a:r>
            <a:endParaRPr lang="en-US" b="0" dirty="0" smtClean="0">
              <a:solidFill>
                <a:schemeClr val="tx1"/>
              </a:solidFill>
            </a:endParaRPr>
          </a:p>
          <a:p>
            <a:pPr marL="234945" lvl="1" indent="0">
              <a:buNone/>
            </a:pPr>
            <a:endParaRPr lang="en-US" b="0" dirty="0">
              <a:solidFill>
                <a:schemeClr val="accent2"/>
              </a:solidFill>
            </a:endParaRPr>
          </a:p>
          <a:p>
            <a:r>
              <a:rPr lang="en-US" b="1" dirty="0">
                <a:solidFill>
                  <a:schemeClr val="accent2"/>
                </a:solidFill>
              </a:rPr>
              <a:t>After first use </a:t>
            </a:r>
          </a:p>
          <a:p>
            <a:pPr lvl="1"/>
            <a:r>
              <a:rPr lang="en-US" b="0" dirty="0">
                <a:solidFill>
                  <a:schemeClr val="tx1"/>
                </a:solidFill>
              </a:rPr>
              <a:t>The product may be stored for a maximum of 6 weeks below 30°C. Do not refrigerate. Put the pen cap back on the pen after each injection in order to protect from light.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49031" y="206569"/>
            <a:ext cx="104198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rgbClr val="596169"/>
                </a:solidFill>
              </a:rPr>
              <a:t>Storage</a:t>
            </a:r>
          </a:p>
        </p:txBody>
      </p:sp>
    </p:spTree>
    <p:extLst>
      <p:ext uri="{BB962C8B-B14F-4D97-AF65-F5344CB8AC3E}">
        <p14:creationId xmlns:p14="http://schemas.microsoft.com/office/powerpoint/2010/main" val="3842805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>
          <a:xfrm>
            <a:off x="281422" y="427419"/>
            <a:ext cx="10561172" cy="5256584"/>
          </a:xfrm>
        </p:spPr>
        <p:txBody>
          <a:bodyPr/>
          <a:lstStyle/>
          <a:p>
            <a:endParaRPr lang="fr-FR" sz="2400" dirty="0">
              <a:solidFill>
                <a:schemeClr val="tx1"/>
              </a:solidFill>
            </a:endParaRPr>
          </a:p>
          <a:p>
            <a:endParaRPr lang="fr-FR" sz="2400" dirty="0">
              <a:solidFill>
                <a:schemeClr val="tx1"/>
              </a:solidFill>
            </a:endParaRPr>
          </a:p>
          <a:p>
            <a:r>
              <a:rPr lang="fr-FR" sz="2400" dirty="0" err="1">
                <a:solidFill>
                  <a:schemeClr val="tx1"/>
                </a:solidFill>
              </a:rPr>
              <a:t>Redesigned</a:t>
            </a:r>
            <a:r>
              <a:rPr lang="fr-FR" sz="2400" dirty="0">
                <a:solidFill>
                  <a:schemeClr val="tx1"/>
                </a:solidFill>
              </a:rPr>
              <a:t> </a:t>
            </a:r>
            <a:r>
              <a:rPr lang="fr-FR" sz="2400" dirty="0" err="1">
                <a:solidFill>
                  <a:schemeClr val="tx1"/>
                </a:solidFill>
              </a:rPr>
              <a:t>features</a:t>
            </a:r>
            <a:r>
              <a:rPr lang="fr-FR" dirty="0" smtClean="0">
                <a:solidFill>
                  <a:schemeClr val="tx1"/>
                </a:solidFill>
              </a:rPr>
              <a:t> </a:t>
            </a:r>
          </a:p>
          <a:p>
            <a:r>
              <a:rPr lang="fr-FR" dirty="0" smtClean="0"/>
              <a:t> </a:t>
            </a:r>
          </a:p>
          <a:p>
            <a:r>
              <a:rPr lang="fr-FR" dirty="0" smtClean="0"/>
              <a:t> </a:t>
            </a:r>
            <a:endParaRPr lang="en-US" dirty="0"/>
          </a:p>
        </p:txBody>
      </p:sp>
      <p:pic>
        <p:nvPicPr>
          <p:cNvPr id="47" name="Image 4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696" y="1031567"/>
            <a:ext cx="6432715" cy="482571"/>
          </a:xfrm>
          <a:prstGeom prst="rect">
            <a:avLst/>
          </a:prstGeom>
        </p:spPr>
      </p:pic>
      <p:sp>
        <p:nvSpPr>
          <p:cNvPr id="48" name="ZoneTexte 47"/>
          <p:cNvSpPr txBox="1"/>
          <p:nvPr/>
        </p:nvSpPr>
        <p:spPr>
          <a:xfrm>
            <a:off x="3279563" y="961372"/>
            <a:ext cx="5675603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133" b="1" dirty="0" err="1">
                <a:latin typeface="Trebuchet MS" pitchFamily="34" charset="0"/>
              </a:rPr>
              <a:t>Features</a:t>
            </a:r>
            <a:r>
              <a:rPr lang="fr-FR" sz="2133" b="1" dirty="0">
                <a:latin typeface="Trebuchet MS" pitchFamily="34" charset="0"/>
              </a:rPr>
              <a:t> of the Gla-300 </a:t>
            </a:r>
            <a:r>
              <a:rPr lang="fr-FR" sz="2133" b="1" dirty="0" err="1">
                <a:latin typeface="Trebuchet MS" pitchFamily="34" charset="0"/>
              </a:rPr>
              <a:t>SoloSTAR</a:t>
            </a:r>
            <a:r>
              <a:rPr lang="fr-FR" sz="2133" baseline="30000" dirty="0"/>
              <a:t> ®</a:t>
            </a:r>
            <a:r>
              <a:rPr lang="fr-FR" sz="2133" b="1" dirty="0">
                <a:latin typeface="Trebuchet MS" pitchFamily="34" charset="0"/>
              </a:rPr>
              <a:t> Pen </a:t>
            </a:r>
            <a:endParaRPr lang="en-US" sz="2133" b="1" dirty="0">
              <a:latin typeface="Trebuchet MS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824194" y="2075160"/>
            <a:ext cx="1823444" cy="591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1" name="Ellipse 20"/>
          <p:cNvSpPr/>
          <p:nvPr/>
        </p:nvSpPr>
        <p:spPr>
          <a:xfrm>
            <a:off x="6576053" y="4206498"/>
            <a:ext cx="1767291" cy="451975"/>
          </a:xfrm>
          <a:prstGeom prst="ellipse">
            <a:avLst/>
          </a:prstGeom>
          <a:solidFill>
            <a:srgbClr val="81B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67" dirty="0">
                <a:latin typeface="Trebuchet MS" pitchFamily="34" charset="0"/>
              </a:rPr>
              <a:t>1 click = </a:t>
            </a:r>
          </a:p>
          <a:p>
            <a:pPr algn="ctr"/>
            <a:r>
              <a:rPr lang="fr-FR" sz="1867" dirty="0">
                <a:latin typeface="Trebuchet MS" pitchFamily="34" charset="0"/>
              </a:rPr>
              <a:t>1 dose </a:t>
            </a:r>
            <a:endParaRPr lang="en-US" sz="1867" dirty="0">
              <a:latin typeface="Trebuchet MS" pitchFamily="34" charset="0"/>
            </a:endParaRPr>
          </a:p>
        </p:txBody>
      </p:sp>
      <p:sp>
        <p:nvSpPr>
          <p:cNvPr id="61" name="Ellipse 60"/>
          <p:cNvSpPr/>
          <p:nvPr/>
        </p:nvSpPr>
        <p:spPr>
          <a:xfrm>
            <a:off x="1199456" y="4725942"/>
            <a:ext cx="1767291" cy="575993"/>
          </a:xfrm>
          <a:prstGeom prst="ellipse">
            <a:avLst/>
          </a:prstGeom>
          <a:solidFill>
            <a:srgbClr val="81B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67" dirty="0">
                <a:latin typeface="Trebuchet MS" pitchFamily="34" charset="0"/>
              </a:rPr>
              <a:t>450 </a:t>
            </a:r>
            <a:r>
              <a:rPr lang="fr-FR" sz="1867" dirty="0" err="1">
                <a:latin typeface="Trebuchet MS" pitchFamily="34" charset="0"/>
              </a:rPr>
              <a:t>units</a:t>
            </a:r>
            <a:r>
              <a:rPr lang="fr-FR" sz="1867" dirty="0">
                <a:latin typeface="Trebuchet MS" pitchFamily="34" charset="0"/>
              </a:rPr>
              <a:t> of </a:t>
            </a:r>
            <a:r>
              <a:rPr lang="fr-FR" sz="1867" dirty="0" err="1">
                <a:latin typeface="Trebuchet MS" pitchFamily="34" charset="0"/>
              </a:rPr>
              <a:t>insulin</a:t>
            </a:r>
            <a:r>
              <a:rPr lang="fr-FR" sz="1867" dirty="0">
                <a:latin typeface="Trebuchet MS" pitchFamily="34" charset="0"/>
              </a:rPr>
              <a:t>  </a:t>
            </a:r>
            <a:endParaRPr lang="en-US" sz="1867" dirty="0">
              <a:latin typeface="Trebuchet MS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391479" y="3854050"/>
            <a:ext cx="1952171" cy="8710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Titre 1"/>
          <p:cNvSpPr txBox="1">
            <a:spLocks/>
          </p:cNvSpPr>
          <p:nvPr/>
        </p:nvSpPr>
        <p:spPr>
          <a:xfrm>
            <a:off x="143339" y="-3733"/>
            <a:ext cx="10650467" cy="78296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2060"/>
                </a:solidFill>
                <a:latin typeface="Trebuchet MS" pitchFamily="34" charset="0"/>
                <a:ea typeface="+mj-ea"/>
                <a:cs typeface="+mj-cs"/>
              </a:defRPr>
            </a:lvl1pPr>
          </a:lstStyle>
          <a:p>
            <a:pPr algn="l"/>
            <a:r>
              <a:rPr lang="fr-FR" sz="2667" dirty="0" err="1">
                <a:solidFill>
                  <a:schemeClr val="tx1"/>
                </a:solidFill>
                <a:latin typeface="+mn-lt"/>
                <a:cs typeface="Tabassom" panose="00000500000000000000" pitchFamily="2" charset="-78"/>
              </a:rPr>
              <a:t>Usability</a:t>
            </a:r>
            <a:r>
              <a:rPr lang="fr-FR" sz="2667" dirty="0">
                <a:solidFill>
                  <a:schemeClr val="tx1"/>
                </a:solidFill>
                <a:latin typeface="+mn-lt"/>
                <a:cs typeface="Tabassom" panose="00000500000000000000" pitchFamily="2" charset="-78"/>
              </a:rPr>
              <a:t> of the Gla-300 </a:t>
            </a:r>
            <a:r>
              <a:rPr lang="fr-FR" sz="2667" dirty="0" err="1">
                <a:solidFill>
                  <a:schemeClr val="tx1"/>
                </a:solidFill>
                <a:latin typeface="+mn-lt"/>
                <a:cs typeface="Tabassom" panose="00000500000000000000" pitchFamily="2" charset="-78"/>
              </a:rPr>
              <a:t>SoloSTAR</a:t>
            </a:r>
            <a:r>
              <a:rPr lang="fr-FR" sz="2667" baseline="30000" dirty="0">
                <a:solidFill>
                  <a:schemeClr val="tx1"/>
                </a:solidFill>
                <a:latin typeface="+mn-lt"/>
                <a:cs typeface="Tabassom" panose="00000500000000000000" pitchFamily="2" charset="-78"/>
              </a:rPr>
              <a:t>®</a:t>
            </a:r>
            <a:r>
              <a:rPr lang="fr-FR" sz="2667" dirty="0">
                <a:solidFill>
                  <a:schemeClr val="tx1"/>
                </a:solidFill>
                <a:latin typeface="+mn-lt"/>
                <a:cs typeface="Tabassom" panose="00000500000000000000" pitchFamily="2" charset="-78"/>
              </a:rPr>
              <a:t> Pen </a:t>
            </a:r>
            <a:endParaRPr lang="en-US" sz="2667" dirty="0">
              <a:solidFill>
                <a:schemeClr val="tx1"/>
              </a:solidFill>
              <a:latin typeface="+mn-lt"/>
              <a:cs typeface="Tabassom" panose="00000500000000000000" pitchFamily="2" charset="-78"/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0143" y="1913993"/>
            <a:ext cx="10539797" cy="4519408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43340" y="6206231"/>
            <a:ext cx="11948049" cy="6665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33" dirty="0">
                <a:latin typeface="Trebuchet MS" pitchFamily="34" charset="0"/>
              </a:rPr>
              <a:t>Toujeo EU </a:t>
            </a:r>
            <a:r>
              <a:rPr lang="en-US" sz="933" dirty="0" err="1">
                <a:latin typeface="Trebuchet MS" pitchFamily="34" charset="0"/>
              </a:rPr>
              <a:t>SmPC</a:t>
            </a:r>
            <a:r>
              <a:rPr lang="en-US" sz="933" dirty="0">
                <a:latin typeface="Trebuchet MS" pitchFamily="34" charset="0"/>
              </a:rPr>
              <a:t> Jul 09-2017</a:t>
            </a:r>
          </a:p>
          <a:p>
            <a:r>
              <a:rPr lang="en-US" sz="933" dirty="0">
                <a:latin typeface="Trebuchet MS" pitchFamily="34" charset="0"/>
              </a:rPr>
              <a:t>Pohlmeier </a:t>
            </a:r>
            <a:r>
              <a:rPr lang="en-US" sz="933" dirty="0">
                <a:latin typeface="Trebuchet MS" pitchFamily="34" charset="0"/>
              </a:rPr>
              <a:t>H et al. </a:t>
            </a:r>
            <a:r>
              <a:rPr lang="en-US" sz="933" dirty="0">
                <a:latin typeface="Trebuchet MS" pitchFamily="34" charset="0"/>
              </a:rPr>
              <a:t>2016 - Journal of Diabetes Science and Technology - </a:t>
            </a:r>
            <a:r>
              <a:rPr lang="en-US" sz="933" dirty="0"/>
              <a:t>DOI</a:t>
            </a:r>
            <a:r>
              <a:rPr lang="en-US" sz="933" dirty="0"/>
              <a:t>: </a:t>
            </a:r>
            <a:r>
              <a:rPr lang="en-US" sz="933" dirty="0"/>
              <a:t>10.1177/1932296816668877  - Ease of Use of insulin Gla-300 Pen Injector in Insulin-Naïve People with T2DM</a:t>
            </a:r>
            <a:r>
              <a:rPr lang="en-GB" sz="933" dirty="0">
                <a:latin typeface="Trebuchet MS" pitchFamily="34" charset="0"/>
              </a:rPr>
              <a:t/>
            </a:r>
            <a:br>
              <a:rPr lang="en-GB" sz="933" dirty="0">
                <a:latin typeface="Trebuchet MS" pitchFamily="34" charset="0"/>
              </a:rPr>
            </a:br>
            <a:r>
              <a:rPr lang="en-US" sz="933" dirty="0" err="1" smtClean="0"/>
              <a:t>Klonoff</a:t>
            </a:r>
            <a:r>
              <a:rPr lang="en-US" sz="933" dirty="0" smtClean="0"/>
              <a:t> </a:t>
            </a:r>
            <a:r>
              <a:rPr lang="en-US" sz="933" dirty="0"/>
              <a:t>and al. </a:t>
            </a:r>
            <a:r>
              <a:rPr lang="en-US" sz="933" dirty="0"/>
              <a:t>2016 -  Journal of Diabetes science and Technology - DOI: 10.1177/1932296815601441 - Accuracy and Injection Force of the Gla-300 Injection Device Compared With Other Commercialized Disposable Insulin Pens </a:t>
            </a:r>
            <a:endParaRPr lang="fr-FR" sz="933" dirty="0"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4822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555918" y="2253107"/>
            <a:ext cx="41096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/>
              <a:t>Thank You</a:t>
            </a:r>
            <a:endParaRPr lang="en-US" sz="4800" b="1" dirty="0"/>
          </a:p>
        </p:txBody>
      </p:sp>
    </p:spTree>
    <p:extLst>
      <p:ext uri="{BB962C8B-B14F-4D97-AF65-F5344CB8AC3E}">
        <p14:creationId xmlns:p14="http://schemas.microsoft.com/office/powerpoint/2010/main" val="83095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="" xmlns:a16="http://schemas.microsoft.com/office/drawing/2014/main" id="{6E345217-7F31-4CE4-A63C-77C6C8E270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5781" y="5719544"/>
            <a:ext cx="5606424" cy="381000"/>
          </a:xfrm>
        </p:spPr>
        <p:txBody>
          <a:bodyPr/>
          <a:lstStyle/>
          <a:p>
            <a:r>
              <a:rPr lang="en-GB" sz="933" dirty="0"/>
              <a:t>*During the prospective period</a:t>
            </a:r>
            <a:br>
              <a:rPr lang="en-GB" sz="933" dirty="0"/>
            </a:br>
            <a:r>
              <a:rPr lang="en-GB" sz="933" dirty="0" err="1" smtClean="0"/>
              <a:t>Khunti</a:t>
            </a:r>
            <a:r>
              <a:rPr lang="en-GB" sz="933" dirty="0" smtClean="0"/>
              <a:t> </a:t>
            </a:r>
            <a:r>
              <a:rPr lang="en-GB" sz="933" dirty="0"/>
              <a:t>K et al. </a:t>
            </a:r>
            <a:r>
              <a:rPr lang="en-GB" sz="933" dirty="0"/>
              <a:t>Diabetes </a:t>
            </a:r>
            <a:r>
              <a:rPr lang="en-GB" sz="933" dirty="0" err="1"/>
              <a:t>Obes</a:t>
            </a:r>
            <a:r>
              <a:rPr lang="en-GB" sz="933" dirty="0"/>
              <a:t> </a:t>
            </a:r>
            <a:r>
              <a:rPr lang="en-GB" sz="933" dirty="0" err="1"/>
              <a:t>Metab</a:t>
            </a:r>
            <a:r>
              <a:rPr lang="en-GB" sz="933" dirty="0"/>
              <a:t>. 2016;18:907-15</a:t>
            </a: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FDA6D31E-9617-4934-92AC-BDE35DC7C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67" b="1" dirty="0"/>
              <a:t>High hypoglycemia rates with insulin therapy and adverse impac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BBC167FA-7606-41E5-BBB2-C5A18142B796}"/>
              </a:ext>
            </a:extLst>
          </p:cNvPr>
          <p:cNvSpPr txBox="1">
            <a:spLocks/>
          </p:cNvSpPr>
          <p:nvPr/>
        </p:nvSpPr>
        <p:spPr>
          <a:xfrm>
            <a:off x="235584" y="5367489"/>
            <a:ext cx="11401067" cy="453775"/>
          </a:xfrm>
          <a:prstGeom prst="roundRect">
            <a:avLst>
              <a:gd name="adj" fmla="val 17352"/>
            </a:avLst>
          </a:prstGeom>
          <a:noFill/>
          <a:ln w="28575">
            <a:noFill/>
          </a:ln>
        </p:spPr>
        <p:txBody>
          <a:bodyPr lIns="121917" tIns="60959" rIns="121917" bIns="60959" anchor="ctr">
            <a:noAutofit/>
          </a:bodyPr>
          <a:lstStyle>
            <a:lvl1pPr marL="169863" indent="-169863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Font typeface="Arial"/>
              <a:buChar char="•"/>
              <a:defRPr sz="24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Arial"/>
              <a:buChar char="–"/>
              <a:defRPr sz="20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Arial"/>
              <a:buChar char="•"/>
              <a:defRPr sz="18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Arial"/>
              <a:buChar char="–"/>
              <a:defRPr sz="16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Arial"/>
              <a:buChar char="»"/>
              <a:defRPr sz="14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17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92D0"/>
              </a:buClr>
              <a:buNone/>
              <a:defRPr/>
            </a:pPr>
            <a:r>
              <a:rPr lang="en-GB" sz="1067" dirty="0">
                <a:solidFill>
                  <a:schemeClr val="accent4"/>
                </a:solidFill>
                <a:latin typeface="Arial"/>
              </a:rPr>
              <a:t>Non-interventional 6-month retrospective and 4-week prospective global HAT study of 27,585 patients with T1DM or T2DM treated with insulin for &lt;12 months from 24 countri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F2E6574A-761F-4716-9117-ABF5326FBE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0932" y="1323312"/>
            <a:ext cx="4368704" cy="224384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814AA397-4F0B-4115-BCB4-EC7271FCFBCF}"/>
              </a:ext>
            </a:extLst>
          </p:cNvPr>
          <p:cNvSpPr/>
          <p:nvPr/>
        </p:nvSpPr>
        <p:spPr>
          <a:xfrm>
            <a:off x="822311" y="1323309"/>
            <a:ext cx="238944" cy="14401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/>
            <a:endParaRPr lang="en-GB" sz="1867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A9C3AF3E-79A3-4903-BEB9-5085ED661B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42389" y="1282992"/>
            <a:ext cx="4546529" cy="233134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3233FF1D-4918-4EC1-829A-4CA2C0D14CBA}"/>
              </a:ext>
            </a:extLst>
          </p:cNvPr>
          <p:cNvSpPr/>
          <p:nvPr/>
        </p:nvSpPr>
        <p:spPr>
          <a:xfrm>
            <a:off x="6568477" y="1213989"/>
            <a:ext cx="127931" cy="2055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/>
            <a:endParaRPr lang="en-GB" sz="1867"/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947A0FE3-73EC-4522-AB17-E4576B93872E}"/>
              </a:ext>
            </a:extLst>
          </p:cNvPr>
          <p:cNvSpPr txBox="1"/>
          <p:nvPr/>
        </p:nvSpPr>
        <p:spPr>
          <a:xfrm>
            <a:off x="1573235" y="1002204"/>
            <a:ext cx="3008532" cy="348876"/>
          </a:xfrm>
          <a:prstGeom prst="rect">
            <a:avLst/>
          </a:prstGeom>
          <a:noFill/>
        </p:spPr>
        <p:txBody>
          <a:bodyPr wrap="square" lIns="121917" tIns="60959" rIns="121917" bIns="60959" rtlCol="0">
            <a:spAutoFit/>
          </a:bodyPr>
          <a:lstStyle/>
          <a:p>
            <a:pPr algn="ctr" defTabSz="685766"/>
            <a:r>
              <a:rPr lang="en-GB" sz="1467" b="1" kern="0" dirty="0">
                <a:solidFill>
                  <a:schemeClr val="accent1"/>
                </a:solidFill>
                <a:cs typeface="Arial" panose="020B0604020202020204" pitchFamily="34" charset="0"/>
              </a:rPr>
              <a:t>T1DM*</a:t>
            </a:r>
            <a:endParaRPr lang="en-GB" sz="1467" b="1" kern="0" baseline="3000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29676934-38C6-4066-B52E-D2C62F5BB58E}"/>
              </a:ext>
            </a:extLst>
          </p:cNvPr>
          <p:cNvSpPr txBox="1"/>
          <p:nvPr/>
        </p:nvSpPr>
        <p:spPr>
          <a:xfrm>
            <a:off x="7432294" y="1002204"/>
            <a:ext cx="3008532" cy="348876"/>
          </a:xfrm>
          <a:prstGeom prst="rect">
            <a:avLst/>
          </a:prstGeom>
          <a:noFill/>
        </p:spPr>
        <p:txBody>
          <a:bodyPr wrap="square" lIns="121917" tIns="60959" rIns="121917" bIns="60959" rtlCol="0">
            <a:spAutoFit/>
          </a:bodyPr>
          <a:lstStyle/>
          <a:p>
            <a:pPr algn="ctr" defTabSz="685766"/>
            <a:r>
              <a:rPr lang="en-GB" sz="1467" b="1" kern="0" dirty="0">
                <a:solidFill>
                  <a:schemeClr val="accent1"/>
                </a:solidFill>
                <a:cs typeface="Arial" panose="020B0604020202020204" pitchFamily="34" charset="0"/>
              </a:rPr>
              <a:t>T2DM*</a:t>
            </a:r>
            <a:endParaRPr lang="en-GB" sz="1467" b="1" kern="0" baseline="3000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75BF94A1-C52C-4835-A33A-FCCB5828F2FB}"/>
              </a:ext>
            </a:extLst>
          </p:cNvPr>
          <p:cNvSpPr txBox="1"/>
          <p:nvPr/>
        </p:nvSpPr>
        <p:spPr>
          <a:xfrm>
            <a:off x="1909561" y="3678147"/>
            <a:ext cx="2662815" cy="738470"/>
          </a:xfrm>
          <a:prstGeom prst="rect">
            <a:avLst/>
          </a:prstGeom>
          <a:solidFill>
            <a:schemeClr val="accent1"/>
          </a:solidFill>
        </p:spPr>
        <p:txBody>
          <a:bodyPr wrap="square" lIns="121917" tIns="60959" rIns="121917" bIns="60959" rtlCol="0">
            <a:spAutoFit/>
          </a:bodyPr>
          <a:lstStyle/>
          <a:p>
            <a:pPr algn="ctr"/>
            <a:r>
              <a:rPr lang="en-GB" sz="1333" dirty="0">
                <a:solidFill>
                  <a:schemeClr val="bg1"/>
                </a:solidFill>
              </a:rPr>
              <a:t>Overall: 73.4 events/patient-year</a:t>
            </a:r>
          </a:p>
          <a:p>
            <a:pPr algn="ctr"/>
            <a:r>
              <a:rPr lang="en-GB" sz="1333" dirty="0">
                <a:solidFill>
                  <a:schemeClr val="bg1"/>
                </a:solidFill>
              </a:rPr>
              <a:t>14.4% reported a severe even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7AE0DD81-770F-494C-973B-D9D2127A7011}"/>
              </a:ext>
            </a:extLst>
          </p:cNvPr>
          <p:cNvSpPr txBox="1"/>
          <p:nvPr/>
        </p:nvSpPr>
        <p:spPr>
          <a:xfrm>
            <a:off x="7681490" y="3672963"/>
            <a:ext cx="2662815" cy="738470"/>
          </a:xfrm>
          <a:prstGeom prst="rect">
            <a:avLst/>
          </a:prstGeom>
          <a:solidFill>
            <a:schemeClr val="accent1"/>
          </a:solidFill>
        </p:spPr>
        <p:txBody>
          <a:bodyPr wrap="square" lIns="121917" tIns="60959" rIns="121917" bIns="60959" rtlCol="0">
            <a:spAutoFit/>
          </a:bodyPr>
          <a:lstStyle/>
          <a:p>
            <a:pPr algn="ctr"/>
            <a:r>
              <a:rPr lang="en-GB" sz="1333" dirty="0">
                <a:solidFill>
                  <a:schemeClr val="bg1"/>
                </a:solidFill>
              </a:rPr>
              <a:t>Overall: 19.3 events/patient-year</a:t>
            </a:r>
          </a:p>
          <a:p>
            <a:pPr algn="ctr"/>
            <a:r>
              <a:rPr lang="en-GB" sz="1333" dirty="0">
                <a:solidFill>
                  <a:schemeClr val="bg1"/>
                </a:solidFill>
              </a:rPr>
              <a:t>8.9% reported a severe event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="" xmlns:a16="http://schemas.microsoft.com/office/drawing/2014/main" id="{04CFBA93-D8EE-4340-B402-3E9BB9C1B5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028" y="4418504"/>
            <a:ext cx="11474448" cy="994257"/>
          </a:xfrm>
        </p:spPr>
        <p:txBody>
          <a:bodyPr/>
          <a:lstStyle/>
          <a:p>
            <a:pPr>
              <a:spcBef>
                <a:spcPts val="400"/>
              </a:spcBef>
            </a:pPr>
            <a:r>
              <a:rPr lang="en-GB" dirty="0" err="1"/>
              <a:t>Hypoglycemia</a:t>
            </a:r>
            <a:r>
              <a:rPr lang="en-GB" dirty="0"/>
              <a:t> incurs morbidity and increased health care utilization</a:t>
            </a:r>
          </a:p>
          <a:p>
            <a:pPr>
              <a:spcBef>
                <a:spcPts val="400"/>
              </a:spcBef>
            </a:pPr>
            <a:r>
              <a:rPr lang="en-GB" dirty="0" err="1"/>
              <a:t>Hypoglycemia</a:t>
            </a:r>
            <a:r>
              <a:rPr lang="en-GB" dirty="0"/>
              <a:t> is a limiting factor in achieving good </a:t>
            </a:r>
            <a:r>
              <a:rPr lang="en-GB" dirty="0" err="1"/>
              <a:t>glycemic</a:t>
            </a:r>
            <a:r>
              <a:rPr lang="en-GB" dirty="0"/>
              <a:t> control</a:t>
            </a:r>
          </a:p>
        </p:txBody>
      </p:sp>
    </p:spTree>
    <p:extLst>
      <p:ext uri="{BB962C8B-B14F-4D97-AF65-F5344CB8AC3E}">
        <p14:creationId xmlns:p14="http://schemas.microsoft.com/office/powerpoint/2010/main" val="3460149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2">
            <a:extLst>
              <a:ext uri="{FF2B5EF4-FFF2-40B4-BE49-F238E27FC236}">
                <a16:creationId xmlns="" xmlns:a16="http://schemas.microsoft.com/office/drawing/2014/main" id="{F24DF99A-3E3D-4325-AE5E-DE3DB981C9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119" y="4376025"/>
            <a:ext cx="11474448" cy="904703"/>
          </a:xfrm>
        </p:spPr>
        <p:txBody>
          <a:bodyPr/>
          <a:lstStyle/>
          <a:p>
            <a:r>
              <a:rPr lang="en-GB" dirty="0"/>
              <a:t>Insulin regimens with lower risk of </a:t>
            </a:r>
            <a:r>
              <a:rPr lang="en-GB" dirty="0" err="1"/>
              <a:t>hypoglycemia</a:t>
            </a:r>
            <a:r>
              <a:rPr lang="en-GB" dirty="0"/>
              <a:t> may potentially lead to improvements in </a:t>
            </a:r>
            <a:r>
              <a:rPr lang="en-GB" dirty="0" err="1"/>
              <a:t>glycemic</a:t>
            </a:r>
            <a:r>
              <a:rPr lang="en-GB" dirty="0"/>
              <a:t> contro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="" xmlns:a16="http://schemas.microsoft.com/office/drawing/2014/main" id="{EC714967-FB72-4276-82E4-D3CBC6A492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314575" y="6062931"/>
            <a:ext cx="5606424" cy="381000"/>
          </a:xfrm>
        </p:spPr>
        <p:txBody>
          <a:bodyPr/>
          <a:lstStyle/>
          <a:p>
            <a:r>
              <a:rPr lang="en-GB" dirty="0"/>
              <a:t/>
            </a:r>
            <a:br>
              <a:rPr lang="en-GB" dirty="0"/>
            </a:br>
            <a:r>
              <a:rPr lang="en-GB" dirty="0"/>
              <a:t>Adapted from </a:t>
            </a:r>
            <a:r>
              <a:rPr lang="en-GB" dirty="0" err="1" smtClean="0"/>
              <a:t>Peyrote</a:t>
            </a:r>
            <a:r>
              <a:rPr lang="en-GB" dirty="0" smtClean="0"/>
              <a:t> </a:t>
            </a:r>
            <a:r>
              <a:rPr lang="en-GB" dirty="0"/>
              <a:t>M et al. </a:t>
            </a:r>
            <a:r>
              <a:rPr lang="en-GB" dirty="0" err="1"/>
              <a:t>Diabet</a:t>
            </a:r>
            <a:r>
              <a:rPr lang="en-GB" dirty="0"/>
              <a:t> Med. 2012;29:682-689</a:t>
            </a: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FDA6D31E-9617-4934-92AC-BDE35DC7C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667" b="1" dirty="0"/>
              <a:t>The possibility of </a:t>
            </a:r>
            <a:r>
              <a:rPr lang="en-GB" sz="2667" b="1" dirty="0" err="1"/>
              <a:t>hypoglycemia</a:t>
            </a:r>
            <a:r>
              <a:rPr lang="en-GB" sz="2667" b="1" dirty="0"/>
              <a:t> may limit treatment intensification</a:t>
            </a:r>
            <a:endParaRPr lang="en-US" sz="2667" b="1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BBC167FA-7606-41E5-BBB2-C5A18142B796}"/>
              </a:ext>
            </a:extLst>
          </p:cNvPr>
          <p:cNvSpPr txBox="1">
            <a:spLocks/>
          </p:cNvSpPr>
          <p:nvPr/>
        </p:nvSpPr>
        <p:spPr>
          <a:xfrm>
            <a:off x="383119" y="5210853"/>
            <a:ext cx="9787467" cy="421607"/>
          </a:xfrm>
          <a:prstGeom prst="roundRect">
            <a:avLst>
              <a:gd name="adj" fmla="val 17352"/>
            </a:avLst>
          </a:prstGeom>
          <a:noFill/>
          <a:ln w="28575">
            <a:noFill/>
          </a:ln>
        </p:spPr>
        <p:txBody>
          <a:bodyPr lIns="121917" tIns="60959" rIns="121917" bIns="60959" anchor="ctr">
            <a:noAutofit/>
          </a:bodyPr>
          <a:lstStyle>
            <a:lvl1pPr marL="169863" indent="-169863" algn="l" defTabSz="4572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2"/>
              </a:buClr>
              <a:buFont typeface="Arial"/>
              <a:buChar char="•"/>
              <a:defRPr sz="24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Arial"/>
              <a:buChar char="–"/>
              <a:defRPr sz="20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Arial"/>
              <a:buChar char="•"/>
              <a:defRPr sz="18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Arial"/>
              <a:buChar char="–"/>
              <a:defRPr sz="16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accent2"/>
              </a:buClr>
              <a:buFont typeface="Arial"/>
              <a:buChar char="»"/>
              <a:defRPr sz="14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92D0"/>
              </a:buClr>
              <a:buNone/>
              <a:defRPr/>
            </a:pPr>
            <a:r>
              <a:rPr lang="en-GB" sz="1067" dirty="0">
                <a:solidFill>
                  <a:schemeClr val="accent4"/>
                </a:solidFill>
              </a:rPr>
              <a:t>International Global Attitudes of Patients and Physicians in Insulin Therapy internet survey: 1,250 physicians who treat patients with T1DM and T2DM</a:t>
            </a:r>
          </a:p>
        </p:txBody>
      </p:sp>
      <p:graphicFrame>
        <p:nvGraphicFramePr>
          <p:cNvPr id="22" name="Chart 21">
            <a:extLst>
              <a:ext uri="{FF2B5EF4-FFF2-40B4-BE49-F238E27FC236}">
                <a16:creationId xmlns="" xmlns:a16="http://schemas.microsoft.com/office/drawing/2014/main" id="{6F1C1EA1-97A1-4DDA-9CFB-D3AB0095745D}"/>
              </a:ext>
            </a:extLst>
          </p:cNvPr>
          <p:cNvGraphicFramePr/>
          <p:nvPr>
            <p:extLst/>
          </p:nvPr>
        </p:nvGraphicFramePr>
        <p:xfrm>
          <a:off x="3602833" y="1431581"/>
          <a:ext cx="6096000" cy="2150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TextBox 7">
            <a:extLst>
              <a:ext uri="{FF2B5EF4-FFF2-40B4-BE49-F238E27FC236}">
                <a16:creationId xmlns="" xmlns:a16="http://schemas.microsoft.com/office/drawing/2014/main" id="{D8FCEEB4-09E1-4D62-8674-A2971F0990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1737" y="1668087"/>
            <a:ext cx="2257424" cy="1354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9" rIns="121917" bIns="60959">
            <a:spAutoFit/>
          </a:bodyPr>
          <a:lstStyle/>
          <a:p>
            <a:pPr algn="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596169"/>
                </a:solidFill>
                <a:latin typeface="Arial"/>
                <a:ea typeface="MS PGothic" pitchFamily="34" charset="-128"/>
                <a:cs typeface="Arial" panose="020B0604020202020204" pitchFamily="34" charset="0"/>
              </a:rPr>
              <a:t>I would treat my patients more aggressively if there was no concern about hypoglycemia</a:t>
            </a:r>
          </a:p>
        </p:txBody>
      </p:sp>
      <p:sp>
        <p:nvSpPr>
          <p:cNvPr id="28" name="TextBox 18">
            <a:extLst>
              <a:ext uri="{FF2B5EF4-FFF2-40B4-BE49-F238E27FC236}">
                <a16:creationId xmlns="" xmlns:a16="http://schemas.microsoft.com/office/drawing/2014/main" id="{27FF5064-8F4C-4009-836E-8F996682AA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72720" y="2428125"/>
            <a:ext cx="2054712" cy="348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9" rIns="121917" bIns="60959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467" b="1" dirty="0">
                <a:solidFill>
                  <a:srgbClr val="FFFFFF"/>
                </a:solidFill>
                <a:latin typeface="Arial"/>
                <a:ea typeface="MS PGothic" pitchFamily="34" charset="-128"/>
                <a:cs typeface="Arial" panose="020B0604020202020204" pitchFamily="34" charset="0"/>
              </a:rPr>
              <a:t>Specialists</a:t>
            </a:r>
          </a:p>
        </p:txBody>
      </p:sp>
      <p:sp>
        <p:nvSpPr>
          <p:cNvPr id="29" name="Rectangle 133">
            <a:extLst>
              <a:ext uri="{FF2B5EF4-FFF2-40B4-BE49-F238E27FC236}">
                <a16:creationId xmlns="" xmlns:a16="http://schemas.microsoft.com/office/drawing/2014/main" id="{B267BD83-3B3B-4B25-B318-D630B95803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4425" y="1744841"/>
            <a:ext cx="3685575" cy="348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9" rIns="121917" bIns="60959">
            <a:spAutoFit/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467" b="1" dirty="0">
                <a:solidFill>
                  <a:srgbClr val="FFFFFF"/>
                </a:solidFill>
                <a:latin typeface="Arial"/>
                <a:ea typeface="MS PGothic" pitchFamily="34" charset="-128"/>
                <a:cs typeface="Arial" panose="020B0604020202020204" pitchFamily="34" charset="0"/>
              </a:rPr>
              <a:t>Primary care physicians</a:t>
            </a:r>
          </a:p>
        </p:txBody>
      </p:sp>
      <p:sp>
        <p:nvSpPr>
          <p:cNvPr id="30" name="Text Box 12">
            <a:extLst>
              <a:ext uri="{FF2B5EF4-FFF2-40B4-BE49-F238E27FC236}">
                <a16:creationId xmlns="" xmlns:a16="http://schemas.microsoft.com/office/drawing/2014/main" id="{5FA007C9-3876-47FF-BCD1-6DE3E0D27E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26415" y="3580021"/>
            <a:ext cx="4669667" cy="369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917" tIns="60959" rIns="121917" bIns="60959" anchor="b">
            <a:sp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b="1" dirty="0">
                <a:solidFill>
                  <a:srgbClr val="596169"/>
                </a:solidFill>
                <a:latin typeface="Arial"/>
                <a:ea typeface="MS PGothic" pitchFamily="34" charset="-128"/>
                <a:cs typeface="Arial" panose="020B0604020202020204" pitchFamily="34" charset="0"/>
              </a:rPr>
              <a:t>Proportion of healthcare professionals, %</a:t>
            </a:r>
            <a:endParaRPr lang="en-CA" sz="1600" b="1" dirty="0">
              <a:solidFill>
                <a:srgbClr val="596169"/>
              </a:solidFill>
              <a:latin typeface="Arial"/>
              <a:ea typeface="MS PGothic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5569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F1C6A4DE-2619-4041-B214-BF64AF2664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5782" y="5306027"/>
            <a:ext cx="11591785" cy="794519"/>
          </a:xfrm>
        </p:spPr>
        <p:txBody>
          <a:bodyPr/>
          <a:lstStyle/>
          <a:p>
            <a:r>
              <a:rPr lang="en-GB" sz="933" dirty="0"/>
              <a:t>Comparison of action after a single dose for NPH and Gla-100 and for Gla-100 and insulin detemir; </a:t>
            </a:r>
            <a:br>
              <a:rPr lang="en-GB" sz="933" dirty="0"/>
            </a:br>
            <a:r>
              <a:rPr lang="en-GB" sz="933" dirty="0"/>
              <a:t>comparison at steady state for Gla-100 and Gla-300 and for Gla-100 and insulin </a:t>
            </a:r>
            <a:r>
              <a:rPr lang="en-GB" sz="933" dirty="0" err="1"/>
              <a:t>degludec</a:t>
            </a:r>
            <a:r>
              <a:rPr lang="en-GB" sz="933" dirty="0"/>
              <a:t/>
            </a:r>
            <a:br>
              <a:rPr lang="en-GB" sz="933" dirty="0"/>
            </a:br>
            <a:r>
              <a:rPr lang="en-GB" sz="933" dirty="0"/>
              <a:t>NPH, neutral protamine Hagedorn</a:t>
            </a:r>
            <a:br>
              <a:rPr lang="en-GB" sz="933" dirty="0"/>
            </a:br>
            <a:r>
              <a:rPr lang="en-GB" sz="933" dirty="0"/>
              <a:t>1. </a:t>
            </a:r>
            <a:r>
              <a:rPr lang="en-GB" sz="933" dirty="0" err="1"/>
              <a:t>Eliaschewitz</a:t>
            </a:r>
            <a:r>
              <a:rPr lang="en-GB" sz="933" dirty="0"/>
              <a:t> FG, Barreto T. </a:t>
            </a:r>
            <a:r>
              <a:rPr lang="en-GB" sz="933" dirty="0" err="1"/>
              <a:t>Diabetol</a:t>
            </a:r>
            <a:r>
              <a:rPr lang="en-GB" sz="933" dirty="0"/>
              <a:t> </a:t>
            </a:r>
            <a:r>
              <a:rPr lang="en-GB" sz="933" dirty="0" err="1"/>
              <a:t>Metab</a:t>
            </a:r>
            <a:r>
              <a:rPr lang="en-GB" sz="933" dirty="0"/>
              <a:t> </a:t>
            </a:r>
            <a:r>
              <a:rPr lang="en-GB" sz="933" dirty="0" err="1"/>
              <a:t>Syndr</a:t>
            </a:r>
            <a:r>
              <a:rPr lang="en-GB" sz="933" dirty="0"/>
              <a:t>. 2016;8:2; 2. Adapted from Pettus J et al. Diabetes </a:t>
            </a:r>
            <a:r>
              <a:rPr lang="en-GB" sz="933" dirty="0" err="1"/>
              <a:t>Metab</a:t>
            </a:r>
            <a:r>
              <a:rPr lang="en-GB" sz="933" dirty="0"/>
              <a:t> Res Rev. 2016;32:478-96</a:t>
            </a: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FDA6D31E-9617-4934-92AC-BDE35DC7C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67" b="1" dirty="0"/>
              <a:t>Evolution of basal insulin development: Overcoming limitation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="" xmlns:a16="http://schemas.microsoft.com/office/drawing/2014/main" id="{124B72BB-97EF-4B59-931D-C2F916D0323A}"/>
              </a:ext>
            </a:extLst>
          </p:cNvPr>
          <p:cNvSpPr txBox="1">
            <a:spLocks/>
          </p:cNvSpPr>
          <p:nvPr/>
        </p:nvSpPr>
        <p:spPr>
          <a:xfrm>
            <a:off x="436400" y="1198726"/>
            <a:ext cx="5451189" cy="3240413"/>
          </a:xfrm>
          <a:prstGeom prst="rect">
            <a:avLst/>
          </a:prstGeom>
        </p:spPr>
        <p:txBody>
          <a:bodyPr lIns="121917" tIns="60959" rIns="121917" bIns="60959"/>
          <a:lstStyle>
            <a:lvl1pPr marL="246063" indent="-2460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24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1pPr>
            <a:lvl2pPr marL="527050" indent="-28892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–"/>
              <a:defRPr sz="20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2pPr>
            <a:lvl3pPr marL="773113" indent="-25400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8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3pPr>
            <a:lvl4pPr marL="1028700" indent="-2730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–"/>
              <a:defRPr sz="16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4pPr>
            <a:lvl5pPr marL="1292225" indent="-26352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»"/>
              <a:defRPr sz="14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46051" indent="-246051" defTabSz="457178" fontAlgn="base">
              <a:spcBef>
                <a:spcPts val="1800"/>
              </a:spcBef>
              <a:buClr>
                <a:srgbClr val="81B838"/>
              </a:buClr>
              <a:defRPr/>
            </a:pPr>
            <a:r>
              <a:rPr lang="en-GB" altLang="en-US" sz="1867" dirty="0">
                <a:solidFill>
                  <a:schemeClr val="accent3"/>
                </a:solidFill>
                <a:latin typeface="Arial"/>
              </a:rPr>
              <a:t>Insulin glargine 100 U/mL (Gla-100) </a:t>
            </a:r>
            <a:r>
              <a:rPr lang="en-GB" altLang="en-US" sz="1867" dirty="0">
                <a:latin typeface="Arial"/>
              </a:rPr>
              <a:t>and </a:t>
            </a:r>
            <a:r>
              <a:rPr lang="en-GB" altLang="en-US" sz="1867" dirty="0">
                <a:solidFill>
                  <a:srgbClr val="3C3C80"/>
                </a:solidFill>
                <a:latin typeface="Arial"/>
              </a:rPr>
              <a:t>insulin detemir </a:t>
            </a:r>
            <a:r>
              <a:rPr lang="en-GB" altLang="en-US" sz="1867" dirty="0">
                <a:latin typeface="Arial"/>
              </a:rPr>
              <a:t>were developed to overcome some limitations of early basal insulins such as NPH insulin, with less variable absorption and longer duration of action</a:t>
            </a:r>
            <a:r>
              <a:rPr lang="en-GB" altLang="en-US" sz="1867" baseline="30000" dirty="0">
                <a:latin typeface="Arial"/>
              </a:rPr>
              <a:t>1,2</a:t>
            </a:r>
          </a:p>
          <a:p>
            <a:pPr marL="246051" indent="-246051" defTabSz="457178" fontAlgn="base">
              <a:spcBef>
                <a:spcPts val="4800"/>
              </a:spcBef>
              <a:buClr>
                <a:srgbClr val="81B838"/>
              </a:buClr>
              <a:defRPr/>
            </a:pPr>
            <a:r>
              <a:rPr lang="en-GB" altLang="en-US" sz="1867" dirty="0">
                <a:latin typeface="Arial"/>
              </a:rPr>
              <a:t>Longer-acting basal insulins,</a:t>
            </a:r>
            <a:br>
              <a:rPr lang="en-GB" altLang="en-US" sz="1867" dirty="0">
                <a:latin typeface="Arial"/>
              </a:rPr>
            </a:br>
            <a:r>
              <a:rPr lang="en-GB" altLang="en-US" sz="1867" dirty="0">
                <a:solidFill>
                  <a:schemeClr val="accent2"/>
                </a:solidFill>
                <a:latin typeface="Arial"/>
              </a:rPr>
              <a:t>insulin glargine 300 U/mL (Gla-300</a:t>
            </a:r>
            <a:r>
              <a:rPr lang="en-GB" altLang="en-US" sz="1867" dirty="0">
                <a:solidFill>
                  <a:schemeClr val="accent2"/>
                </a:solidFill>
                <a:latin typeface="Arial"/>
              </a:rPr>
              <a:t>)</a:t>
            </a:r>
            <a:r>
              <a:rPr lang="en-GB" altLang="en-US" sz="1867" dirty="0">
                <a:solidFill>
                  <a:srgbClr val="7030A0"/>
                </a:solidFill>
                <a:latin typeface="Arial"/>
              </a:rPr>
              <a:t>, </a:t>
            </a:r>
            <a:r>
              <a:rPr lang="en-GB" altLang="en-US" sz="1867" dirty="0">
                <a:latin typeface="Arial"/>
              </a:rPr>
              <a:t>has </a:t>
            </a:r>
            <a:r>
              <a:rPr lang="en-GB" altLang="en-US" sz="1867" dirty="0">
                <a:latin typeface="Arial"/>
              </a:rPr>
              <a:t>since been developed with less variability and more prolonged durations of action (&gt;24 h)</a:t>
            </a:r>
            <a:r>
              <a:rPr lang="en-GB" altLang="en-US" sz="1867" baseline="30000" dirty="0">
                <a:latin typeface="Arial"/>
              </a:rPr>
              <a:t>1,2</a:t>
            </a:r>
            <a:r>
              <a:rPr lang="en-US" altLang="en-US" sz="1600" dirty="0">
                <a:latin typeface="Arial"/>
              </a:rPr>
              <a:t/>
            </a:r>
            <a:br>
              <a:rPr lang="en-US" altLang="en-US" sz="1600" dirty="0">
                <a:latin typeface="Arial"/>
              </a:rPr>
            </a:br>
            <a:endParaRPr lang="en-GB" altLang="en-US" sz="1600" dirty="0">
              <a:latin typeface="Arial"/>
            </a:endParaRPr>
          </a:p>
        </p:txBody>
      </p:sp>
      <p:sp>
        <p:nvSpPr>
          <p:cNvPr id="18" name="Line 6">
            <a:extLst>
              <a:ext uri="{FF2B5EF4-FFF2-40B4-BE49-F238E27FC236}">
                <a16:creationId xmlns="" xmlns:a16="http://schemas.microsoft.com/office/drawing/2014/main" id="{9415DA14-02F0-4B82-841B-822739358D68}"/>
              </a:ext>
            </a:extLst>
          </p:cNvPr>
          <p:cNvSpPr>
            <a:spLocks noChangeShapeType="1"/>
          </p:cNvSpPr>
          <p:nvPr/>
        </p:nvSpPr>
        <p:spPr bwMode="auto">
          <a:xfrm>
            <a:off x="6326473" y="1254225"/>
            <a:ext cx="53975" cy="0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Line 7">
            <a:extLst>
              <a:ext uri="{FF2B5EF4-FFF2-40B4-BE49-F238E27FC236}">
                <a16:creationId xmlns="" xmlns:a16="http://schemas.microsoft.com/office/drawing/2014/main" id="{2911C21A-9B3B-4091-ADCE-003D9357011B}"/>
              </a:ext>
            </a:extLst>
          </p:cNvPr>
          <p:cNvSpPr>
            <a:spLocks noChangeShapeType="1"/>
          </p:cNvSpPr>
          <p:nvPr/>
        </p:nvSpPr>
        <p:spPr bwMode="auto">
          <a:xfrm>
            <a:off x="6326473" y="1586013"/>
            <a:ext cx="53975" cy="0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24" name="Line 8">
            <a:extLst>
              <a:ext uri="{FF2B5EF4-FFF2-40B4-BE49-F238E27FC236}">
                <a16:creationId xmlns="" xmlns:a16="http://schemas.microsoft.com/office/drawing/2014/main" id="{70869D4F-73BB-4B44-B9CB-8C5B4758A250}"/>
              </a:ext>
            </a:extLst>
          </p:cNvPr>
          <p:cNvSpPr>
            <a:spLocks noChangeShapeType="1"/>
          </p:cNvSpPr>
          <p:nvPr/>
        </p:nvSpPr>
        <p:spPr bwMode="auto">
          <a:xfrm>
            <a:off x="6326473" y="1920976"/>
            <a:ext cx="53975" cy="0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Line 9">
            <a:extLst>
              <a:ext uri="{FF2B5EF4-FFF2-40B4-BE49-F238E27FC236}">
                <a16:creationId xmlns="" xmlns:a16="http://schemas.microsoft.com/office/drawing/2014/main" id="{073D5D38-04F9-4055-9F3E-691EF1263432}"/>
              </a:ext>
            </a:extLst>
          </p:cNvPr>
          <p:cNvSpPr>
            <a:spLocks noChangeShapeType="1"/>
          </p:cNvSpPr>
          <p:nvPr/>
        </p:nvSpPr>
        <p:spPr bwMode="auto">
          <a:xfrm>
            <a:off x="6326473" y="2254351"/>
            <a:ext cx="53975" cy="0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26" name="Line 10">
            <a:extLst>
              <a:ext uri="{FF2B5EF4-FFF2-40B4-BE49-F238E27FC236}">
                <a16:creationId xmlns="" xmlns:a16="http://schemas.microsoft.com/office/drawing/2014/main" id="{A705BD51-F9D1-4AD3-BEFD-DBCCFDACD96C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425" y="2589367"/>
            <a:ext cx="0" cy="53975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32" name="Line 11">
            <a:extLst>
              <a:ext uri="{FF2B5EF4-FFF2-40B4-BE49-F238E27FC236}">
                <a16:creationId xmlns="" xmlns:a16="http://schemas.microsoft.com/office/drawing/2014/main" id="{6C6A9385-2BBC-4E80-8837-3DD5EFCB950A}"/>
              </a:ext>
            </a:extLst>
          </p:cNvPr>
          <p:cNvSpPr>
            <a:spLocks noChangeShapeType="1"/>
          </p:cNvSpPr>
          <p:nvPr/>
        </p:nvSpPr>
        <p:spPr bwMode="auto">
          <a:xfrm>
            <a:off x="7178939" y="2589367"/>
            <a:ext cx="0" cy="53975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33" name="Line 12">
            <a:extLst>
              <a:ext uri="{FF2B5EF4-FFF2-40B4-BE49-F238E27FC236}">
                <a16:creationId xmlns="" xmlns:a16="http://schemas.microsoft.com/office/drawing/2014/main" id="{06375070-C55D-44C5-97DF-FBB710EA206F}"/>
              </a:ext>
            </a:extLst>
          </p:cNvPr>
          <p:cNvSpPr>
            <a:spLocks noChangeShapeType="1"/>
          </p:cNvSpPr>
          <p:nvPr/>
        </p:nvSpPr>
        <p:spPr bwMode="auto">
          <a:xfrm>
            <a:off x="7979039" y="2589367"/>
            <a:ext cx="0" cy="53975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Freeform 37">
            <a:extLst>
              <a:ext uri="{FF2B5EF4-FFF2-40B4-BE49-F238E27FC236}">
                <a16:creationId xmlns="" xmlns:a16="http://schemas.microsoft.com/office/drawing/2014/main" id="{2335B9DA-2196-46E8-ABBD-43E118A59F24}"/>
              </a:ext>
            </a:extLst>
          </p:cNvPr>
          <p:cNvSpPr>
            <a:spLocks/>
          </p:cNvSpPr>
          <p:nvPr/>
        </p:nvSpPr>
        <p:spPr bwMode="auto">
          <a:xfrm>
            <a:off x="6380454" y="2209904"/>
            <a:ext cx="1598613" cy="379413"/>
          </a:xfrm>
          <a:custGeom>
            <a:avLst/>
            <a:gdLst>
              <a:gd name="T0" fmla="*/ 0 w 508"/>
              <a:gd name="T1" fmla="*/ 120 h 120"/>
              <a:gd name="T2" fmla="*/ 33 w 508"/>
              <a:gd name="T3" fmla="*/ 92 h 120"/>
              <a:gd name="T4" fmla="*/ 96 w 508"/>
              <a:gd name="T5" fmla="*/ 47 h 120"/>
              <a:gd name="T6" fmla="*/ 129 w 508"/>
              <a:gd name="T7" fmla="*/ 30 h 120"/>
              <a:gd name="T8" fmla="*/ 145 w 508"/>
              <a:gd name="T9" fmla="*/ 22 h 120"/>
              <a:gd name="T10" fmla="*/ 170 w 508"/>
              <a:gd name="T11" fmla="*/ 9 h 120"/>
              <a:gd name="T12" fmla="*/ 195 w 508"/>
              <a:gd name="T13" fmla="*/ 4 h 120"/>
              <a:gd name="T14" fmla="*/ 267 w 508"/>
              <a:gd name="T15" fmla="*/ 2 h 120"/>
              <a:gd name="T16" fmla="*/ 322 w 508"/>
              <a:gd name="T17" fmla="*/ 7 h 120"/>
              <a:gd name="T18" fmla="*/ 360 w 508"/>
              <a:gd name="T19" fmla="*/ 15 h 120"/>
              <a:gd name="T20" fmla="*/ 407 w 508"/>
              <a:gd name="T21" fmla="*/ 30 h 120"/>
              <a:gd name="T22" fmla="*/ 443 w 508"/>
              <a:gd name="T23" fmla="*/ 41 h 120"/>
              <a:gd name="T24" fmla="*/ 508 w 508"/>
              <a:gd name="T25" fmla="*/ 57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08" h="120">
                <a:moveTo>
                  <a:pt x="0" y="120"/>
                </a:moveTo>
                <a:cubicBezTo>
                  <a:pt x="11" y="110"/>
                  <a:pt x="22" y="101"/>
                  <a:pt x="33" y="92"/>
                </a:cubicBezTo>
                <a:cubicBezTo>
                  <a:pt x="53" y="76"/>
                  <a:pt x="73" y="60"/>
                  <a:pt x="96" y="47"/>
                </a:cubicBezTo>
                <a:cubicBezTo>
                  <a:pt x="106" y="41"/>
                  <a:pt x="118" y="36"/>
                  <a:pt x="129" y="30"/>
                </a:cubicBezTo>
                <a:cubicBezTo>
                  <a:pt x="134" y="27"/>
                  <a:pt x="140" y="25"/>
                  <a:pt x="145" y="22"/>
                </a:cubicBezTo>
                <a:cubicBezTo>
                  <a:pt x="154" y="17"/>
                  <a:pt x="161" y="12"/>
                  <a:pt x="170" y="9"/>
                </a:cubicBezTo>
                <a:cubicBezTo>
                  <a:pt x="178" y="6"/>
                  <a:pt x="187" y="5"/>
                  <a:pt x="195" y="4"/>
                </a:cubicBezTo>
                <a:cubicBezTo>
                  <a:pt x="219" y="0"/>
                  <a:pt x="243" y="1"/>
                  <a:pt x="267" y="2"/>
                </a:cubicBezTo>
                <a:cubicBezTo>
                  <a:pt x="285" y="2"/>
                  <a:pt x="304" y="4"/>
                  <a:pt x="322" y="7"/>
                </a:cubicBezTo>
                <a:cubicBezTo>
                  <a:pt x="335" y="9"/>
                  <a:pt x="348" y="12"/>
                  <a:pt x="360" y="15"/>
                </a:cubicBezTo>
                <a:cubicBezTo>
                  <a:pt x="376" y="19"/>
                  <a:pt x="391" y="25"/>
                  <a:pt x="407" y="30"/>
                </a:cubicBezTo>
                <a:cubicBezTo>
                  <a:pt x="419" y="34"/>
                  <a:pt x="431" y="38"/>
                  <a:pt x="443" y="41"/>
                </a:cubicBezTo>
                <a:cubicBezTo>
                  <a:pt x="464" y="48"/>
                  <a:pt x="486" y="55"/>
                  <a:pt x="508" y="57"/>
                </a:cubicBezTo>
              </a:path>
            </a:pathLst>
          </a:custGeom>
          <a:noFill/>
          <a:ln w="19050" cap="flat">
            <a:solidFill>
              <a:srgbClr val="0092D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35" name="Freeform 41">
            <a:extLst>
              <a:ext uri="{FF2B5EF4-FFF2-40B4-BE49-F238E27FC236}">
                <a16:creationId xmlns="" xmlns:a16="http://schemas.microsoft.com/office/drawing/2014/main" id="{D1DB2CB3-B17F-4D7F-9369-500003E4153D}"/>
              </a:ext>
            </a:extLst>
          </p:cNvPr>
          <p:cNvSpPr>
            <a:spLocks/>
          </p:cNvSpPr>
          <p:nvPr/>
        </p:nvSpPr>
        <p:spPr bwMode="auto">
          <a:xfrm>
            <a:off x="6380425" y="1465386"/>
            <a:ext cx="1277939" cy="1123951"/>
          </a:xfrm>
          <a:custGeom>
            <a:avLst/>
            <a:gdLst>
              <a:gd name="T0" fmla="*/ 0 w 406"/>
              <a:gd name="T1" fmla="*/ 355 h 355"/>
              <a:gd name="T2" fmla="*/ 14 w 406"/>
              <a:gd name="T3" fmla="*/ 286 h 355"/>
              <a:gd name="T4" fmla="*/ 41 w 406"/>
              <a:gd name="T5" fmla="*/ 158 h 355"/>
              <a:gd name="T6" fmla="*/ 56 w 406"/>
              <a:gd name="T7" fmla="*/ 94 h 355"/>
              <a:gd name="T8" fmla="*/ 62 w 406"/>
              <a:gd name="T9" fmla="*/ 61 h 355"/>
              <a:gd name="T10" fmla="*/ 66 w 406"/>
              <a:gd name="T11" fmla="*/ 32 h 355"/>
              <a:gd name="T12" fmla="*/ 105 w 406"/>
              <a:gd name="T13" fmla="*/ 3 h 355"/>
              <a:gd name="T14" fmla="*/ 146 w 406"/>
              <a:gd name="T15" fmla="*/ 30 h 355"/>
              <a:gd name="T16" fmla="*/ 163 w 406"/>
              <a:gd name="T17" fmla="*/ 49 h 355"/>
              <a:gd name="T18" fmla="*/ 212 w 406"/>
              <a:gd name="T19" fmla="*/ 99 h 355"/>
              <a:gd name="T20" fmla="*/ 257 w 406"/>
              <a:gd name="T21" fmla="*/ 151 h 355"/>
              <a:gd name="T22" fmla="*/ 299 w 406"/>
              <a:gd name="T23" fmla="*/ 220 h 355"/>
              <a:gd name="T24" fmla="*/ 307 w 406"/>
              <a:gd name="T25" fmla="*/ 236 h 355"/>
              <a:gd name="T26" fmla="*/ 315 w 406"/>
              <a:gd name="T27" fmla="*/ 249 h 355"/>
              <a:gd name="T28" fmla="*/ 330 w 406"/>
              <a:gd name="T29" fmla="*/ 267 h 355"/>
              <a:gd name="T30" fmla="*/ 343 w 406"/>
              <a:gd name="T31" fmla="*/ 283 h 355"/>
              <a:gd name="T32" fmla="*/ 406 w 406"/>
              <a:gd name="T33" fmla="*/ 345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06" h="355">
                <a:moveTo>
                  <a:pt x="0" y="355"/>
                </a:moveTo>
                <a:cubicBezTo>
                  <a:pt x="5" y="332"/>
                  <a:pt x="9" y="309"/>
                  <a:pt x="14" y="286"/>
                </a:cubicBezTo>
                <a:cubicBezTo>
                  <a:pt x="23" y="244"/>
                  <a:pt x="32" y="201"/>
                  <a:pt x="41" y="158"/>
                </a:cubicBezTo>
                <a:cubicBezTo>
                  <a:pt x="45" y="137"/>
                  <a:pt x="49" y="115"/>
                  <a:pt x="56" y="94"/>
                </a:cubicBezTo>
                <a:cubicBezTo>
                  <a:pt x="59" y="83"/>
                  <a:pt x="61" y="72"/>
                  <a:pt x="62" y="61"/>
                </a:cubicBezTo>
                <a:cubicBezTo>
                  <a:pt x="63" y="51"/>
                  <a:pt x="62" y="41"/>
                  <a:pt x="66" y="32"/>
                </a:cubicBezTo>
                <a:cubicBezTo>
                  <a:pt x="72" y="16"/>
                  <a:pt x="88" y="5"/>
                  <a:pt x="105" y="3"/>
                </a:cubicBezTo>
                <a:cubicBezTo>
                  <a:pt x="124" y="0"/>
                  <a:pt x="136" y="18"/>
                  <a:pt x="146" y="30"/>
                </a:cubicBezTo>
                <a:cubicBezTo>
                  <a:pt x="152" y="37"/>
                  <a:pt x="158" y="43"/>
                  <a:pt x="163" y="49"/>
                </a:cubicBezTo>
                <a:cubicBezTo>
                  <a:pt x="179" y="66"/>
                  <a:pt x="196" y="82"/>
                  <a:pt x="212" y="99"/>
                </a:cubicBezTo>
                <a:cubicBezTo>
                  <a:pt x="228" y="116"/>
                  <a:pt x="242" y="134"/>
                  <a:pt x="257" y="151"/>
                </a:cubicBezTo>
                <a:cubicBezTo>
                  <a:pt x="274" y="172"/>
                  <a:pt x="291" y="194"/>
                  <a:pt x="299" y="220"/>
                </a:cubicBezTo>
                <a:cubicBezTo>
                  <a:pt x="301" y="225"/>
                  <a:pt x="304" y="231"/>
                  <a:pt x="307" y="236"/>
                </a:cubicBezTo>
                <a:cubicBezTo>
                  <a:pt x="309" y="241"/>
                  <a:pt x="312" y="245"/>
                  <a:pt x="315" y="249"/>
                </a:cubicBezTo>
                <a:cubicBezTo>
                  <a:pt x="319" y="256"/>
                  <a:pt x="325" y="261"/>
                  <a:pt x="330" y="267"/>
                </a:cubicBezTo>
                <a:cubicBezTo>
                  <a:pt x="334" y="272"/>
                  <a:pt x="339" y="278"/>
                  <a:pt x="343" y="283"/>
                </a:cubicBezTo>
                <a:cubicBezTo>
                  <a:pt x="343" y="283"/>
                  <a:pt x="374" y="325"/>
                  <a:pt x="406" y="345"/>
                </a:cubicBezTo>
              </a:path>
            </a:pathLst>
          </a:custGeom>
          <a:noFill/>
          <a:ln w="19050" cap="flat">
            <a:solidFill>
              <a:schemeClr val="accent6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Line 14">
            <a:extLst>
              <a:ext uri="{FF2B5EF4-FFF2-40B4-BE49-F238E27FC236}">
                <a16:creationId xmlns="" xmlns:a16="http://schemas.microsoft.com/office/drawing/2014/main" id="{D4F50DB8-7E84-41B3-AFA2-5A4D4F8983AA}"/>
              </a:ext>
            </a:extLst>
          </p:cNvPr>
          <p:cNvSpPr>
            <a:spLocks noChangeShapeType="1"/>
          </p:cNvSpPr>
          <p:nvPr/>
        </p:nvSpPr>
        <p:spPr bwMode="auto">
          <a:xfrm>
            <a:off x="8510858" y="1254225"/>
            <a:ext cx="53975" cy="0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Line 15">
            <a:extLst>
              <a:ext uri="{FF2B5EF4-FFF2-40B4-BE49-F238E27FC236}">
                <a16:creationId xmlns="" xmlns:a16="http://schemas.microsoft.com/office/drawing/2014/main" id="{854C25C9-11B6-47FE-873E-F6F6217DDE1C}"/>
              </a:ext>
            </a:extLst>
          </p:cNvPr>
          <p:cNvSpPr>
            <a:spLocks noChangeShapeType="1"/>
          </p:cNvSpPr>
          <p:nvPr/>
        </p:nvSpPr>
        <p:spPr bwMode="auto">
          <a:xfrm>
            <a:off x="8510858" y="1586013"/>
            <a:ext cx="53975" cy="0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38" name="Line 16">
            <a:extLst>
              <a:ext uri="{FF2B5EF4-FFF2-40B4-BE49-F238E27FC236}">
                <a16:creationId xmlns="" xmlns:a16="http://schemas.microsoft.com/office/drawing/2014/main" id="{B21F0D36-735A-4D70-922B-32F4F53B9087}"/>
              </a:ext>
            </a:extLst>
          </p:cNvPr>
          <p:cNvSpPr>
            <a:spLocks noChangeShapeType="1"/>
          </p:cNvSpPr>
          <p:nvPr/>
        </p:nvSpPr>
        <p:spPr bwMode="auto">
          <a:xfrm>
            <a:off x="8510858" y="1920976"/>
            <a:ext cx="53975" cy="0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39" name="Line 17">
            <a:extLst>
              <a:ext uri="{FF2B5EF4-FFF2-40B4-BE49-F238E27FC236}">
                <a16:creationId xmlns="" xmlns:a16="http://schemas.microsoft.com/office/drawing/2014/main" id="{F0ACF419-DE69-4F3E-9B19-EF47E5CF179A}"/>
              </a:ext>
            </a:extLst>
          </p:cNvPr>
          <p:cNvSpPr>
            <a:spLocks noChangeShapeType="1"/>
          </p:cNvSpPr>
          <p:nvPr/>
        </p:nvSpPr>
        <p:spPr bwMode="auto">
          <a:xfrm>
            <a:off x="8510858" y="2254351"/>
            <a:ext cx="53975" cy="0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40" name="Line 18">
            <a:extLst>
              <a:ext uri="{FF2B5EF4-FFF2-40B4-BE49-F238E27FC236}">
                <a16:creationId xmlns="" xmlns:a16="http://schemas.microsoft.com/office/drawing/2014/main" id="{CAD244A9-F68C-42C6-9CEA-1C8526856329}"/>
              </a:ext>
            </a:extLst>
          </p:cNvPr>
          <p:cNvSpPr>
            <a:spLocks noChangeShapeType="1"/>
          </p:cNvSpPr>
          <p:nvPr/>
        </p:nvSpPr>
        <p:spPr bwMode="auto">
          <a:xfrm>
            <a:off x="8564825" y="2589367"/>
            <a:ext cx="0" cy="53975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41" name="Line 19">
            <a:extLst>
              <a:ext uri="{FF2B5EF4-FFF2-40B4-BE49-F238E27FC236}">
                <a16:creationId xmlns="" xmlns:a16="http://schemas.microsoft.com/office/drawing/2014/main" id="{EF4DC1B2-5E17-40ED-BCF4-5E33807D73C3}"/>
              </a:ext>
            </a:extLst>
          </p:cNvPr>
          <p:cNvSpPr>
            <a:spLocks noChangeShapeType="1"/>
          </p:cNvSpPr>
          <p:nvPr/>
        </p:nvSpPr>
        <p:spPr bwMode="auto">
          <a:xfrm>
            <a:off x="9363339" y="2589367"/>
            <a:ext cx="0" cy="53975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42" name="Line 20">
            <a:extLst>
              <a:ext uri="{FF2B5EF4-FFF2-40B4-BE49-F238E27FC236}">
                <a16:creationId xmlns="" xmlns:a16="http://schemas.microsoft.com/office/drawing/2014/main" id="{A178CA40-433F-47DB-AED4-934BC8F2044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163439" y="2589367"/>
            <a:ext cx="0" cy="53975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43" name="Freeform 38">
            <a:extLst>
              <a:ext uri="{FF2B5EF4-FFF2-40B4-BE49-F238E27FC236}">
                <a16:creationId xmlns="" xmlns:a16="http://schemas.microsoft.com/office/drawing/2014/main" id="{2BCA6AF8-4D8C-4A97-A24C-9839398A56B8}"/>
              </a:ext>
            </a:extLst>
          </p:cNvPr>
          <p:cNvSpPr>
            <a:spLocks/>
          </p:cNvSpPr>
          <p:nvPr/>
        </p:nvSpPr>
        <p:spPr bwMode="auto">
          <a:xfrm>
            <a:off x="8564832" y="2203553"/>
            <a:ext cx="1598613" cy="385763"/>
          </a:xfrm>
          <a:custGeom>
            <a:avLst/>
            <a:gdLst>
              <a:gd name="T0" fmla="*/ 0 w 508"/>
              <a:gd name="T1" fmla="*/ 122 h 122"/>
              <a:gd name="T2" fmla="*/ 16 w 508"/>
              <a:gd name="T3" fmla="*/ 110 h 122"/>
              <a:gd name="T4" fmla="*/ 57 w 508"/>
              <a:gd name="T5" fmla="*/ 79 h 122"/>
              <a:gd name="T6" fmla="*/ 98 w 508"/>
              <a:gd name="T7" fmla="*/ 54 h 122"/>
              <a:gd name="T8" fmla="*/ 128 w 508"/>
              <a:gd name="T9" fmla="*/ 36 h 122"/>
              <a:gd name="T10" fmla="*/ 166 w 508"/>
              <a:gd name="T11" fmla="*/ 15 h 122"/>
              <a:gd name="T12" fmla="*/ 254 w 508"/>
              <a:gd name="T13" fmla="*/ 1 h 122"/>
              <a:gd name="T14" fmla="*/ 263 w 508"/>
              <a:gd name="T15" fmla="*/ 2 h 122"/>
              <a:gd name="T16" fmla="*/ 315 w 508"/>
              <a:gd name="T17" fmla="*/ 8 h 122"/>
              <a:gd name="T18" fmla="*/ 409 w 508"/>
              <a:gd name="T19" fmla="*/ 31 h 122"/>
              <a:gd name="T20" fmla="*/ 465 w 508"/>
              <a:gd name="T21" fmla="*/ 48 h 122"/>
              <a:gd name="T22" fmla="*/ 493 w 508"/>
              <a:gd name="T23" fmla="*/ 57 h 122"/>
              <a:gd name="T24" fmla="*/ 508 w 508"/>
              <a:gd name="T25" fmla="*/ 60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08" h="122">
                <a:moveTo>
                  <a:pt x="0" y="122"/>
                </a:moveTo>
                <a:cubicBezTo>
                  <a:pt x="0" y="122"/>
                  <a:pt x="9" y="113"/>
                  <a:pt x="16" y="110"/>
                </a:cubicBezTo>
                <a:cubicBezTo>
                  <a:pt x="30" y="100"/>
                  <a:pt x="45" y="91"/>
                  <a:pt x="57" y="79"/>
                </a:cubicBezTo>
                <a:cubicBezTo>
                  <a:pt x="68" y="68"/>
                  <a:pt x="83" y="61"/>
                  <a:pt x="98" y="54"/>
                </a:cubicBezTo>
                <a:cubicBezTo>
                  <a:pt x="109" y="49"/>
                  <a:pt x="119" y="43"/>
                  <a:pt x="128" y="36"/>
                </a:cubicBezTo>
                <a:cubicBezTo>
                  <a:pt x="139" y="27"/>
                  <a:pt x="153" y="21"/>
                  <a:pt x="166" y="15"/>
                </a:cubicBezTo>
                <a:cubicBezTo>
                  <a:pt x="194" y="5"/>
                  <a:pt x="224" y="0"/>
                  <a:pt x="254" y="1"/>
                </a:cubicBezTo>
                <a:cubicBezTo>
                  <a:pt x="257" y="1"/>
                  <a:pt x="260" y="1"/>
                  <a:pt x="263" y="2"/>
                </a:cubicBezTo>
                <a:cubicBezTo>
                  <a:pt x="280" y="3"/>
                  <a:pt x="298" y="5"/>
                  <a:pt x="315" y="8"/>
                </a:cubicBezTo>
                <a:cubicBezTo>
                  <a:pt x="347" y="13"/>
                  <a:pt x="378" y="22"/>
                  <a:pt x="409" y="31"/>
                </a:cubicBezTo>
                <a:cubicBezTo>
                  <a:pt x="428" y="37"/>
                  <a:pt x="446" y="43"/>
                  <a:pt x="465" y="48"/>
                </a:cubicBezTo>
                <a:cubicBezTo>
                  <a:pt x="474" y="51"/>
                  <a:pt x="484" y="54"/>
                  <a:pt x="493" y="57"/>
                </a:cubicBezTo>
                <a:cubicBezTo>
                  <a:pt x="498" y="58"/>
                  <a:pt x="503" y="60"/>
                  <a:pt x="508" y="60"/>
                </a:cubicBezTo>
              </a:path>
            </a:pathLst>
          </a:custGeom>
          <a:noFill/>
          <a:ln w="19050" cap="flat">
            <a:solidFill>
              <a:srgbClr val="0092D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44" name="Freeform 42">
            <a:extLst>
              <a:ext uri="{FF2B5EF4-FFF2-40B4-BE49-F238E27FC236}">
                <a16:creationId xmlns="" xmlns:a16="http://schemas.microsoft.com/office/drawing/2014/main" id="{39323F71-A333-4D11-8C53-E3A7C0DA7E24}"/>
              </a:ext>
            </a:extLst>
          </p:cNvPr>
          <p:cNvSpPr>
            <a:spLocks/>
          </p:cNvSpPr>
          <p:nvPr/>
        </p:nvSpPr>
        <p:spPr bwMode="auto">
          <a:xfrm>
            <a:off x="8571197" y="2127353"/>
            <a:ext cx="1592263" cy="461963"/>
          </a:xfrm>
          <a:custGeom>
            <a:avLst/>
            <a:gdLst>
              <a:gd name="T0" fmla="*/ 0 w 506"/>
              <a:gd name="T1" fmla="*/ 146 h 146"/>
              <a:gd name="T2" fmla="*/ 7 w 506"/>
              <a:gd name="T3" fmla="*/ 125 h 146"/>
              <a:gd name="T4" fmla="*/ 17 w 506"/>
              <a:gd name="T5" fmla="*/ 102 h 146"/>
              <a:gd name="T6" fmla="*/ 46 w 506"/>
              <a:gd name="T7" fmla="*/ 53 h 146"/>
              <a:gd name="T8" fmla="*/ 80 w 506"/>
              <a:gd name="T9" fmla="*/ 19 h 146"/>
              <a:gd name="T10" fmla="*/ 124 w 506"/>
              <a:gd name="T11" fmla="*/ 4 h 146"/>
              <a:gd name="T12" fmla="*/ 174 w 506"/>
              <a:gd name="T13" fmla="*/ 6 h 146"/>
              <a:gd name="T14" fmla="*/ 210 w 506"/>
              <a:gd name="T15" fmla="*/ 16 h 146"/>
              <a:gd name="T16" fmla="*/ 225 w 506"/>
              <a:gd name="T17" fmla="*/ 21 h 146"/>
              <a:gd name="T18" fmla="*/ 238 w 506"/>
              <a:gd name="T19" fmla="*/ 27 h 146"/>
              <a:gd name="T20" fmla="*/ 249 w 506"/>
              <a:gd name="T21" fmla="*/ 33 h 146"/>
              <a:gd name="T22" fmla="*/ 260 w 506"/>
              <a:gd name="T23" fmla="*/ 39 h 146"/>
              <a:gd name="T24" fmla="*/ 285 w 506"/>
              <a:gd name="T25" fmla="*/ 50 h 146"/>
              <a:gd name="T26" fmla="*/ 346 w 506"/>
              <a:gd name="T27" fmla="*/ 73 h 146"/>
              <a:gd name="T28" fmla="*/ 353 w 506"/>
              <a:gd name="T29" fmla="*/ 76 h 146"/>
              <a:gd name="T30" fmla="*/ 365 w 506"/>
              <a:gd name="T31" fmla="*/ 80 h 146"/>
              <a:gd name="T32" fmla="*/ 375 w 506"/>
              <a:gd name="T33" fmla="*/ 85 h 146"/>
              <a:gd name="T34" fmla="*/ 379 w 506"/>
              <a:gd name="T35" fmla="*/ 89 h 146"/>
              <a:gd name="T36" fmla="*/ 387 w 506"/>
              <a:gd name="T37" fmla="*/ 93 h 146"/>
              <a:gd name="T38" fmla="*/ 408 w 506"/>
              <a:gd name="T39" fmla="*/ 99 h 146"/>
              <a:gd name="T40" fmla="*/ 432 w 506"/>
              <a:gd name="T41" fmla="*/ 107 h 146"/>
              <a:gd name="T42" fmla="*/ 459 w 506"/>
              <a:gd name="T43" fmla="*/ 117 h 146"/>
              <a:gd name="T44" fmla="*/ 482 w 506"/>
              <a:gd name="T45" fmla="*/ 124 h 146"/>
              <a:gd name="T46" fmla="*/ 506 w 506"/>
              <a:gd name="T47" fmla="*/ 129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506" h="146">
                <a:moveTo>
                  <a:pt x="0" y="146"/>
                </a:moveTo>
                <a:cubicBezTo>
                  <a:pt x="0" y="146"/>
                  <a:pt x="6" y="133"/>
                  <a:pt x="7" y="125"/>
                </a:cubicBezTo>
                <a:cubicBezTo>
                  <a:pt x="7" y="125"/>
                  <a:pt x="6" y="121"/>
                  <a:pt x="17" y="102"/>
                </a:cubicBezTo>
                <a:cubicBezTo>
                  <a:pt x="27" y="85"/>
                  <a:pt x="35" y="68"/>
                  <a:pt x="46" y="53"/>
                </a:cubicBezTo>
                <a:cubicBezTo>
                  <a:pt x="55" y="40"/>
                  <a:pt x="67" y="28"/>
                  <a:pt x="80" y="19"/>
                </a:cubicBezTo>
                <a:cubicBezTo>
                  <a:pt x="93" y="10"/>
                  <a:pt x="109" y="6"/>
                  <a:pt x="124" y="4"/>
                </a:cubicBezTo>
                <a:cubicBezTo>
                  <a:pt x="140" y="1"/>
                  <a:pt x="158" y="0"/>
                  <a:pt x="174" y="6"/>
                </a:cubicBezTo>
                <a:cubicBezTo>
                  <a:pt x="174" y="6"/>
                  <a:pt x="204" y="15"/>
                  <a:pt x="210" y="16"/>
                </a:cubicBezTo>
                <a:cubicBezTo>
                  <a:pt x="215" y="17"/>
                  <a:pt x="220" y="19"/>
                  <a:pt x="225" y="21"/>
                </a:cubicBezTo>
                <a:cubicBezTo>
                  <a:pt x="229" y="23"/>
                  <a:pt x="234" y="25"/>
                  <a:pt x="238" y="27"/>
                </a:cubicBezTo>
                <a:cubicBezTo>
                  <a:pt x="242" y="29"/>
                  <a:pt x="245" y="31"/>
                  <a:pt x="249" y="33"/>
                </a:cubicBezTo>
                <a:cubicBezTo>
                  <a:pt x="252" y="35"/>
                  <a:pt x="256" y="37"/>
                  <a:pt x="260" y="39"/>
                </a:cubicBezTo>
                <a:cubicBezTo>
                  <a:pt x="268" y="43"/>
                  <a:pt x="277" y="47"/>
                  <a:pt x="285" y="50"/>
                </a:cubicBezTo>
                <a:cubicBezTo>
                  <a:pt x="305" y="58"/>
                  <a:pt x="326" y="65"/>
                  <a:pt x="346" y="73"/>
                </a:cubicBezTo>
                <a:cubicBezTo>
                  <a:pt x="348" y="74"/>
                  <a:pt x="350" y="75"/>
                  <a:pt x="353" y="76"/>
                </a:cubicBezTo>
                <a:cubicBezTo>
                  <a:pt x="357" y="77"/>
                  <a:pt x="361" y="78"/>
                  <a:pt x="365" y="80"/>
                </a:cubicBezTo>
                <a:cubicBezTo>
                  <a:pt x="369" y="82"/>
                  <a:pt x="372" y="83"/>
                  <a:pt x="375" y="85"/>
                </a:cubicBezTo>
                <a:cubicBezTo>
                  <a:pt x="376" y="86"/>
                  <a:pt x="378" y="88"/>
                  <a:pt x="379" y="89"/>
                </a:cubicBezTo>
                <a:cubicBezTo>
                  <a:pt x="381" y="91"/>
                  <a:pt x="384" y="93"/>
                  <a:pt x="387" y="93"/>
                </a:cubicBezTo>
                <a:cubicBezTo>
                  <a:pt x="394" y="96"/>
                  <a:pt x="401" y="97"/>
                  <a:pt x="408" y="99"/>
                </a:cubicBezTo>
                <a:cubicBezTo>
                  <a:pt x="416" y="102"/>
                  <a:pt x="424" y="104"/>
                  <a:pt x="432" y="107"/>
                </a:cubicBezTo>
                <a:cubicBezTo>
                  <a:pt x="441" y="110"/>
                  <a:pt x="450" y="114"/>
                  <a:pt x="459" y="117"/>
                </a:cubicBezTo>
                <a:cubicBezTo>
                  <a:pt x="467" y="120"/>
                  <a:pt x="474" y="122"/>
                  <a:pt x="482" y="124"/>
                </a:cubicBezTo>
                <a:cubicBezTo>
                  <a:pt x="490" y="126"/>
                  <a:pt x="498" y="129"/>
                  <a:pt x="506" y="129"/>
                </a:cubicBezTo>
              </a:path>
            </a:pathLst>
          </a:custGeom>
          <a:noFill/>
          <a:ln w="19050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54" name="Line 30">
            <a:extLst>
              <a:ext uri="{FF2B5EF4-FFF2-40B4-BE49-F238E27FC236}">
                <a16:creationId xmlns="" xmlns:a16="http://schemas.microsoft.com/office/drawing/2014/main" id="{2DCB22E7-60B3-495E-8F33-606B78E2FF6F}"/>
              </a:ext>
            </a:extLst>
          </p:cNvPr>
          <p:cNvSpPr>
            <a:spLocks noChangeShapeType="1"/>
          </p:cNvSpPr>
          <p:nvPr/>
        </p:nvSpPr>
        <p:spPr bwMode="auto">
          <a:xfrm>
            <a:off x="8539931" y="3498221"/>
            <a:ext cx="53975" cy="0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55" name="Line 31">
            <a:extLst>
              <a:ext uri="{FF2B5EF4-FFF2-40B4-BE49-F238E27FC236}">
                <a16:creationId xmlns="" xmlns:a16="http://schemas.microsoft.com/office/drawing/2014/main" id="{06864483-601F-4B84-8DD7-C0C1134D37EF}"/>
              </a:ext>
            </a:extLst>
          </p:cNvPr>
          <p:cNvSpPr>
            <a:spLocks noChangeShapeType="1"/>
          </p:cNvSpPr>
          <p:nvPr/>
        </p:nvSpPr>
        <p:spPr bwMode="auto">
          <a:xfrm>
            <a:off x="8557950" y="3824300"/>
            <a:ext cx="53975" cy="0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56" name="Line 32">
            <a:extLst>
              <a:ext uri="{FF2B5EF4-FFF2-40B4-BE49-F238E27FC236}">
                <a16:creationId xmlns="" xmlns:a16="http://schemas.microsoft.com/office/drawing/2014/main" id="{6D9D6357-FB20-433E-BC9B-476BDD5202B8}"/>
              </a:ext>
            </a:extLst>
          </p:cNvPr>
          <p:cNvSpPr>
            <a:spLocks noChangeShapeType="1"/>
          </p:cNvSpPr>
          <p:nvPr/>
        </p:nvSpPr>
        <p:spPr bwMode="auto">
          <a:xfrm>
            <a:off x="8557950" y="4159261"/>
            <a:ext cx="53975" cy="0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57" name="Line 33">
            <a:extLst>
              <a:ext uri="{FF2B5EF4-FFF2-40B4-BE49-F238E27FC236}">
                <a16:creationId xmlns="" xmlns:a16="http://schemas.microsoft.com/office/drawing/2014/main" id="{D302C9EC-48C2-469B-9EE5-A80CFCDD1AB6}"/>
              </a:ext>
            </a:extLst>
          </p:cNvPr>
          <p:cNvSpPr>
            <a:spLocks noChangeShapeType="1"/>
          </p:cNvSpPr>
          <p:nvPr/>
        </p:nvSpPr>
        <p:spPr bwMode="auto">
          <a:xfrm>
            <a:off x="8557950" y="4492637"/>
            <a:ext cx="53975" cy="0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58" name="Line 34">
            <a:extLst>
              <a:ext uri="{FF2B5EF4-FFF2-40B4-BE49-F238E27FC236}">
                <a16:creationId xmlns="" xmlns:a16="http://schemas.microsoft.com/office/drawing/2014/main" id="{14D8FE32-BA96-4971-95B1-5FA4C40BB771}"/>
              </a:ext>
            </a:extLst>
          </p:cNvPr>
          <p:cNvSpPr>
            <a:spLocks noChangeShapeType="1"/>
          </p:cNvSpPr>
          <p:nvPr/>
        </p:nvSpPr>
        <p:spPr bwMode="auto">
          <a:xfrm>
            <a:off x="8611907" y="4827653"/>
            <a:ext cx="0" cy="53975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59" name="Line 35">
            <a:extLst>
              <a:ext uri="{FF2B5EF4-FFF2-40B4-BE49-F238E27FC236}">
                <a16:creationId xmlns="" xmlns:a16="http://schemas.microsoft.com/office/drawing/2014/main" id="{0C894603-470F-4F47-A4D5-D13D9EAF0C84}"/>
              </a:ext>
            </a:extLst>
          </p:cNvPr>
          <p:cNvSpPr>
            <a:spLocks noChangeShapeType="1"/>
          </p:cNvSpPr>
          <p:nvPr/>
        </p:nvSpPr>
        <p:spPr bwMode="auto">
          <a:xfrm>
            <a:off x="9410419" y="4827653"/>
            <a:ext cx="0" cy="53975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60" name="Line 36">
            <a:extLst>
              <a:ext uri="{FF2B5EF4-FFF2-40B4-BE49-F238E27FC236}">
                <a16:creationId xmlns="" xmlns:a16="http://schemas.microsoft.com/office/drawing/2014/main" id="{93665A46-3F93-4513-BE01-415E19AD66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0210519" y="4827653"/>
            <a:ext cx="0" cy="53975"/>
          </a:xfrm>
          <a:prstGeom prst="line">
            <a:avLst/>
          </a:prstGeom>
          <a:noFill/>
          <a:ln w="19050" cap="sq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61" name="Freeform 40">
            <a:extLst>
              <a:ext uri="{FF2B5EF4-FFF2-40B4-BE49-F238E27FC236}">
                <a16:creationId xmlns="" xmlns:a16="http://schemas.microsoft.com/office/drawing/2014/main" id="{E4AF1AE7-0FFC-48CC-BD2B-60286F8A0B61}"/>
              </a:ext>
            </a:extLst>
          </p:cNvPr>
          <p:cNvSpPr>
            <a:spLocks/>
          </p:cNvSpPr>
          <p:nvPr/>
        </p:nvSpPr>
        <p:spPr bwMode="auto">
          <a:xfrm>
            <a:off x="8611905" y="4305312"/>
            <a:ext cx="1582739" cy="304800"/>
          </a:xfrm>
          <a:custGeom>
            <a:avLst/>
            <a:gdLst>
              <a:gd name="T0" fmla="*/ 0 w 503"/>
              <a:gd name="T1" fmla="*/ 69 h 96"/>
              <a:gd name="T2" fmla="*/ 24 w 503"/>
              <a:gd name="T3" fmla="*/ 46 h 96"/>
              <a:gd name="T4" fmla="*/ 34 w 503"/>
              <a:gd name="T5" fmla="*/ 37 h 96"/>
              <a:gd name="T6" fmla="*/ 51 w 503"/>
              <a:gd name="T7" fmla="*/ 22 h 96"/>
              <a:gd name="T8" fmla="*/ 77 w 503"/>
              <a:gd name="T9" fmla="*/ 12 h 96"/>
              <a:gd name="T10" fmla="*/ 100 w 503"/>
              <a:gd name="T11" fmla="*/ 7 h 96"/>
              <a:gd name="T12" fmla="*/ 155 w 503"/>
              <a:gd name="T13" fmla="*/ 2 h 96"/>
              <a:gd name="T14" fmla="*/ 193 w 503"/>
              <a:gd name="T15" fmla="*/ 1 h 96"/>
              <a:gd name="T16" fmla="*/ 240 w 503"/>
              <a:gd name="T17" fmla="*/ 9 h 96"/>
              <a:gd name="T18" fmla="*/ 265 w 503"/>
              <a:gd name="T19" fmla="*/ 12 h 96"/>
              <a:gd name="T20" fmla="*/ 281 w 503"/>
              <a:gd name="T21" fmla="*/ 15 h 96"/>
              <a:gd name="T22" fmla="*/ 333 w 503"/>
              <a:gd name="T23" fmla="*/ 32 h 96"/>
              <a:gd name="T24" fmla="*/ 335 w 503"/>
              <a:gd name="T25" fmla="*/ 33 h 96"/>
              <a:gd name="T26" fmla="*/ 390 w 503"/>
              <a:gd name="T27" fmla="*/ 56 h 96"/>
              <a:gd name="T28" fmla="*/ 416 w 503"/>
              <a:gd name="T29" fmla="*/ 67 h 96"/>
              <a:gd name="T30" fmla="*/ 439 w 503"/>
              <a:gd name="T31" fmla="*/ 73 h 96"/>
              <a:gd name="T32" fmla="*/ 460 w 503"/>
              <a:gd name="T33" fmla="*/ 80 h 96"/>
              <a:gd name="T34" fmla="*/ 474 w 503"/>
              <a:gd name="T35" fmla="*/ 85 h 96"/>
              <a:gd name="T36" fmla="*/ 503 w 503"/>
              <a:gd name="T37" fmla="*/ 9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03" h="96">
                <a:moveTo>
                  <a:pt x="0" y="69"/>
                </a:moveTo>
                <a:cubicBezTo>
                  <a:pt x="0" y="69"/>
                  <a:pt x="19" y="53"/>
                  <a:pt x="24" y="46"/>
                </a:cubicBezTo>
                <a:cubicBezTo>
                  <a:pt x="26" y="43"/>
                  <a:pt x="31" y="40"/>
                  <a:pt x="34" y="37"/>
                </a:cubicBezTo>
                <a:cubicBezTo>
                  <a:pt x="40" y="32"/>
                  <a:pt x="45" y="26"/>
                  <a:pt x="51" y="22"/>
                </a:cubicBezTo>
                <a:cubicBezTo>
                  <a:pt x="59" y="16"/>
                  <a:pt x="67" y="12"/>
                  <a:pt x="77" y="12"/>
                </a:cubicBezTo>
                <a:cubicBezTo>
                  <a:pt x="77" y="12"/>
                  <a:pt x="92" y="11"/>
                  <a:pt x="100" y="7"/>
                </a:cubicBezTo>
                <a:cubicBezTo>
                  <a:pt x="100" y="7"/>
                  <a:pt x="131" y="0"/>
                  <a:pt x="155" y="2"/>
                </a:cubicBezTo>
                <a:cubicBezTo>
                  <a:pt x="155" y="2"/>
                  <a:pt x="188" y="3"/>
                  <a:pt x="193" y="1"/>
                </a:cubicBezTo>
                <a:cubicBezTo>
                  <a:pt x="209" y="2"/>
                  <a:pt x="224" y="6"/>
                  <a:pt x="240" y="9"/>
                </a:cubicBezTo>
                <a:cubicBezTo>
                  <a:pt x="248" y="10"/>
                  <a:pt x="257" y="10"/>
                  <a:pt x="265" y="12"/>
                </a:cubicBezTo>
                <a:cubicBezTo>
                  <a:pt x="270" y="13"/>
                  <a:pt x="276" y="14"/>
                  <a:pt x="281" y="15"/>
                </a:cubicBezTo>
                <a:cubicBezTo>
                  <a:pt x="299" y="19"/>
                  <a:pt x="316" y="25"/>
                  <a:pt x="333" y="32"/>
                </a:cubicBezTo>
                <a:cubicBezTo>
                  <a:pt x="333" y="32"/>
                  <a:pt x="334" y="33"/>
                  <a:pt x="335" y="33"/>
                </a:cubicBezTo>
                <a:cubicBezTo>
                  <a:pt x="335" y="33"/>
                  <a:pt x="384" y="55"/>
                  <a:pt x="390" y="56"/>
                </a:cubicBezTo>
                <a:cubicBezTo>
                  <a:pt x="390" y="56"/>
                  <a:pt x="411" y="63"/>
                  <a:pt x="416" y="67"/>
                </a:cubicBezTo>
                <a:cubicBezTo>
                  <a:pt x="416" y="67"/>
                  <a:pt x="429" y="73"/>
                  <a:pt x="439" y="73"/>
                </a:cubicBezTo>
                <a:cubicBezTo>
                  <a:pt x="447" y="72"/>
                  <a:pt x="453" y="77"/>
                  <a:pt x="460" y="80"/>
                </a:cubicBezTo>
                <a:cubicBezTo>
                  <a:pt x="465" y="82"/>
                  <a:pt x="469" y="84"/>
                  <a:pt x="474" y="85"/>
                </a:cubicBezTo>
                <a:cubicBezTo>
                  <a:pt x="484" y="89"/>
                  <a:pt x="493" y="93"/>
                  <a:pt x="503" y="96"/>
                </a:cubicBezTo>
              </a:path>
            </a:pathLst>
          </a:custGeom>
          <a:noFill/>
          <a:ln w="19050" cap="flat">
            <a:solidFill>
              <a:srgbClr val="0092D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62" name="Freeform 44">
            <a:extLst>
              <a:ext uri="{FF2B5EF4-FFF2-40B4-BE49-F238E27FC236}">
                <a16:creationId xmlns="" xmlns:a16="http://schemas.microsoft.com/office/drawing/2014/main" id="{6FE88415-3AFC-46A0-97DB-EAF2CAD58EE6}"/>
              </a:ext>
            </a:extLst>
          </p:cNvPr>
          <p:cNvSpPr>
            <a:spLocks/>
          </p:cNvSpPr>
          <p:nvPr/>
        </p:nvSpPr>
        <p:spPr bwMode="auto">
          <a:xfrm>
            <a:off x="8611912" y="4464061"/>
            <a:ext cx="1573213" cy="50800"/>
          </a:xfrm>
          <a:custGeom>
            <a:avLst/>
            <a:gdLst>
              <a:gd name="T0" fmla="*/ 0 w 500"/>
              <a:gd name="T1" fmla="*/ 0 h 16"/>
              <a:gd name="T2" fmla="*/ 54 w 500"/>
              <a:gd name="T3" fmla="*/ 5 h 16"/>
              <a:gd name="T4" fmla="*/ 127 w 500"/>
              <a:gd name="T5" fmla="*/ 4 h 16"/>
              <a:gd name="T6" fmla="*/ 148 w 500"/>
              <a:gd name="T7" fmla="*/ 4 h 16"/>
              <a:gd name="T8" fmla="*/ 193 w 500"/>
              <a:gd name="T9" fmla="*/ 7 h 16"/>
              <a:gd name="T10" fmla="*/ 219 w 500"/>
              <a:gd name="T11" fmla="*/ 8 h 16"/>
              <a:gd name="T12" fmla="*/ 287 w 500"/>
              <a:gd name="T13" fmla="*/ 8 h 16"/>
              <a:gd name="T14" fmla="*/ 311 w 500"/>
              <a:gd name="T15" fmla="*/ 8 h 16"/>
              <a:gd name="T16" fmla="*/ 322 w 500"/>
              <a:gd name="T17" fmla="*/ 6 h 16"/>
              <a:gd name="T18" fmla="*/ 358 w 500"/>
              <a:gd name="T19" fmla="*/ 1 h 16"/>
              <a:gd name="T20" fmla="*/ 383 w 500"/>
              <a:gd name="T21" fmla="*/ 6 h 16"/>
              <a:gd name="T22" fmla="*/ 415 w 500"/>
              <a:gd name="T23" fmla="*/ 8 h 16"/>
              <a:gd name="T24" fmla="*/ 443 w 500"/>
              <a:gd name="T25" fmla="*/ 10 h 16"/>
              <a:gd name="T26" fmla="*/ 456 w 500"/>
              <a:gd name="T27" fmla="*/ 14 h 16"/>
              <a:gd name="T28" fmla="*/ 500 w 500"/>
              <a:gd name="T29" fmla="*/ 1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00" h="16">
                <a:moveTo>
                  <a:pt x="0" y="0"/>
                </a:moveTo>
                <a:cubicBezTo>
                  <a:pt x="0" y="0"/>
                  <a:pt x="22" y="6"/>
                  <a:pt x="54" y="5"/>
                </a:cubicBezTo>
                <a:cubicBezTo>
                  <a:pt x="54" y="5"/>
                  <a:pt x="115" y="5"/>
                  <a:pt x="127" y="4"/>
                </a:cubicBezTo>
                <a:cubicBezTo>
                  <a:pt x="134" y="4"/>
                  <a:pt x="141" y="4"/>
                  <a:pt x="148" y="4"/>
                </a:cubicBezTo>
                <a:cubicBezTo>
                  <a:pt x="163" y="5"/>
                  <a:pt x="178" y="7"/>
                  <a:pt x="193" y="7"/>
                </a:cubicBezTo>
                <a:cubicBezTo>
                  <a:pt x="202" y="7"/>
                  <a:pt x="210" y="7"/>
                  <a:pt x="219" y="8"/>
                </a:cubicBezTo>
                <a:cubicBezTo>
                  <a:pt x="242" y="8"/>
                  <a:pt x="264" y="8"/>
                  <a:pt x="287" y="8"/>
                </a:cubicBezTo>
                <a:cubicBezTo>
                  <a:pt x="295" y="9"/>
                  <a:pt x="303" y="9"/>
                  <a:pt x="311" y="8"/>
                </a:cubicBezTo>
                <a:cubicBezTo>
                  <a:pt x="315" y="7"/>
                  <a:pt x="318" y="6"/>
                  <a:pt x="322" y="6"/>
                </a:cubicBezTo>
                <a:cubicBezTo>
                  <a:pt x="334" y="3"/>
                  <a:pt x="346" y="1"/>
                  <a:pt x="358" y="1"/>
                </a:cubicBezTo>
                <a:cubicBezTo>
                  <a:pt x="367" y="2"/>
                  <a:pt x="375" y="4"/>
                  <a:pt x="383" y="6"/>
                </a:cubicBezTo>
                <a:cubicBezTo>
                  <a:pt x="394" y="8"/>
                  <a:pt x="404" y="7"/>
                  <a:pt x="415" y="8"/>
                </a:cubicBezTo>
                <a:cubicBezTo>
                  <a:pt x="424" y="8"/>
                  <a:pt x="434" y="8"/>
                  <a:pt x="443" y="10"/>
                </a:cubicBezTo>
                <a:cubicBezTo>
                  <a:pt x="447" y="11"/>
                  <a:pt x="451" y="13"/>
                  <a:pt x="456" y="14"/>
                </a:cubicBezTo>
                <a:cubicBezTo>
                  <a:pt x="470" y="16"/>
                  <a:pt x="485" y="16"/>
                  <a:pt x="500" y="15"/>
                </a:cubicBezTo>
              </a:path>
            </a:pathLst>
          </a:custGeom>
          <a:noFill/>
          <a:ln w="19050" cap="flat">
            <a:solidFill>
              <a:srgbClr val="81B83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="" xmlns:a16="http://schemas.microsoft.com/office/drawing/2014/main" id="{E8E717C3-CD62-47AC-A038-38A6537D5D3F}"/>
              </a:ext>
            </a:extLst>
          </p:cNvPr>
          <p:cNvSpPr txBox="1"/>
          <p:nvPr/>
        </p:nvSpPr>
        <p:spPr bwMode="auto">
          <a:xfrm rot="16200000">
            <a:off x="5392026" y="1778911"/>
            <a:ext cx="1489553" cy="266674"/>
          </a:xfrm>
          <a:prstGeom prst="rect">
            <a:avLst/>
          </a:prstGeom>
          <a:noFill/>
        </p:spPr>
        <p:txBody>
          <a:bodyPr vert="horz" wrap="square" lIns="121917" tIns="60959" rIns="121917" bIns="60959">
            <a:sp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33" dirty="0">
                <a:solidFill>
                  <a:srgbClr val="596169"/>
                </a:solidFill>
                <a:latin typeface="Arial" charset="0"/>
                <a:cs typeface="Arial" charset="0"/>
              </a:rPr>
              <a:t>Relative insulin effect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4FA8A1D5-8B4C-418F-B160-FD8F6C8B33DA}"/>
              </a:ext>
            </a:extLst>
          </p:cNvPr>
          <p:cNvSpPr txBox="1"/>
          <p:nvPr/>
        </p:nvSpPr>
        <p:spPr bwMode="auto">
          <a:xfrm rot="16200000">
            <a:off x="7599370" y="1778911"/>
            <a:ext cx="1489553" cy="266674"/>
          </a:xfrm>
          <a:prstGeom prst="rect">
            <a:avLst/>
          </a:prstGeom>
          <a:noFill/>
        </p:spPr>
        <p:txBody>
          <a:bodyPr vert="horz" wrap="square" lIns="121917" tIns="60959" rIns="121917" bIns="60959">
            <a:sp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33" dirty="0">
                <a:solidFill>
                  <a:srgbClr val="596169"/>
                </a:solidFill>
                <a:latin typeface="Arial" charset="0"/>
                <a:cs typeface="Arial" charset="0"/>
              </a:rPr>
              <a:t>Relative insulin effect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595628C1-A92A-4325-8B67-7B499C91F8A1}"/>
              </a:ext>
            </a:extLst>
          </p:cNvPr>
          <p:cNvSpPr txBox="1"/>
          <p:nvPr/>
        </p:nvSpPr>
        <p:spPr bwMode="auto">
          <a:xfrm rot="16200000">
            <a:off x="7669434" y="4017199"/>
            <a:ext cx="1489553" cy="266674"/>
          </a:xfrm>
          <a:prstGeom prst="rect">
            <a:avLst/>
          </a:prstGeom>
          <a:noFill/>
        </p:spPr>
        <p:txBody>
          <a:bodyPr vert="horz" wrap="square" lIns="121917" tIns="60959" rIns="121917" bIns="60959">
            <a:sp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33" dirty="0">
                <a:solidFill>
                  <a:srgbClr val="596169"/>
                </a:solidFill>
                <a:latin typeface="Arial" charset="0"/>
                <a:cs typeface="Arial" charset="0"/>
              </a:rPr>
              <a:t>Relative insulin effect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F36FF5B6-DBF7-414E-96C7-BD85C13E0F66}"/>
              </a:ext>
            </a:extLst>
          </p:cNvPr>
          <p:cNvSpPr txBox="1"/>
          <p:nvPr/>
        </p:nvSpPr>
        <p:spPr bwMode="auto">
          <a:xfrm>
            <a:off x="6246439" y="2621220"/>
            <a:ext cx="267908" cy="246219"/>
          </a:xfrm>
          <a:prstGeom prst="rect">
            <a:avLst/>
          </a:prstGeom>
          <a:noFill/>
        </p:spPr>
        <p:txBody>
          <a:bodyPr vert="horz" wrap="square" lIns="121917" tIns="60959" rIns="121917" bIns="60959">
            <a:sp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596169"/>
                </a:solidFill>
                <a:latin typeface="Arial" charset="0"/>
                <a:cs typeface="Arial" charset="0"/>
              </a:rPr>
              <a:t>0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="" xmlns:a16="http://schemas.microsoft.com/office/drawing/2014/main" id="{C29F88C0-6ECF-4347-AB51-ABEC4D7F2B3C}"/>
              </a:ext>
            </a:extLst>
          </p:cNvPr>
          <p:cNvSpPr txBox="1"/>
          <p:nvPr/>
        </p:nvSpPr>
        <p:spPr bwMode="auto">
          <a:xfrm>
            <a:off x="6957459" y="2621220"/>
            <a:ext cx="394823" cy="246219"/>
          </a:xfrm>
          <a:prstGeom prst="rect">
            <a:avLst/>
          </a:prstGeom>
          <a:noFill/>
        </p:spPr>
        <p:txBody>
          <a:bodyPr vert="horz" wrap="square" lIns="121917" tIns="60959" rIns="121917" bIns="60959">
            <a:sp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596169"/>
                </a:solidFill>
                <a:latin typeface="Arial" charset="0"/>
                <a:cs typeface="Arial" charset="0"/>
              </a:rPr>
              <a:t>12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6B20968D-38B3-49DA-BE8B-97BB31352EB5}"/>
              </a:ext>
            </a:extLst>
          </p:cNvPr>
          <p:cNvSpPr txBox="1"/>
          <p:nvPr/>
        </p:nvSpPr>
        <p:spPr bwMode="auto">
          <a:xfrm>
            <a:off x="7796350" y="2621220"/>
            <a:ext cx="393204" cy="246219"/>
          </a:xfrm>
          <a:prstGeom prst="rect">
            <a:avLst/>
          </a:prstGeom>
          <a:noFill/>
        </p:spPr>
        <p:txBody>
          <a:bodyPr vert="horz" wrap="square" lIns="121917" tIns="60959" rIns="121917" bIns="60959">
            <a:sp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596169"/>
                </a:solidFill>
                <a:latin typeface="Arial" charset="0"/>
                <a:cs typeface="Arial" charset="0"/>
              </a:rPr>
              <a:t>24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41718E0D-21DD-4FD8-B75B-B34A729D5F8B}"/>
              </a:ext>
            </a:extLst>
          </p:cNvPr>
          <p:cNvSpPr txBox="1"/>
          <p:nvPr/>
        </p:nvSpPr>
        <p:spPr bwMode="auto">
          <a:xfrm>
            <a:off x="6361246" y="2856196"/>
            <a:ext cx="1638513" cy="249393"/>
          </a:xfrm>
          <a:prstGeom prst="rect">
            <a:avLst/>
          </a:prstGeom>
          <a:noFill/>
        </p:spPr>
        <p:txBody>
          <a:bodyPr vert="horz" wrap="square" lIns="121917" tIns="60959" rIns="121917" bIns="60959">
            <a:no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596169"/>
                </a:solidFill>
                <a:latin typeface="Arial" charset="0"/>
                <a:cs typeface="Arial" charset="0"/>
              </a:rPr>
              <a:t>Time, h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FE2073F9-1C49-4DED-85D3-BFF6004E29F0}"/>
              </a:ext>
            </a:extLst>
          </p:cNvPr>
          <p:cNvSpPr txBox="1"/>
          <p:nvPr/>
        </p:nvSpPr>
        <p:spPr bwMode="auto">
          <a:xfrm>
            <a:off x="8434790" y="2621220"/>
            <a:ext cx="267908" cy="246219"/>
          </a:xfrm>
          <a:prstGeom prst="rect">
            <a:avLst/>
          </a:prstGeom>
          <a:noFill/>
        </p:spPr>
        <p:txBody>
          <a:bodyPr vert="horz" wrap="square" lIns="121917" tIns="60959" rIns="121917" bIns="60959">
            <a:sp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596169"/>
                </a:solidFill>
                <a:latin typeface="Arial" charset="0"/>
                <a:cs typeface="Arial" charset="0"/>
              </a:rPr>
              <a:t>0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BD8F26E4-424F-4C24-B75D-8DEBC387A0AA}"/>
              </a:ext>
            </a:extLst>
          </p:cNvPr>
          <p:cNvSpPr txBox="1"/>
          <p:nvPr/>
        </p:nvSpPr>
        <p:spPr bwMode="auto">
          <a:xfrm>
            <a:off x="9171932" y="2621220"/>
            <a:ext cx="390459" cy="246219"/>
          </a:xfrm>
          <a:prstGeom prst="rect">
            <a:avLst/>
          </a:prstGeom>
          <a:noFill/>
        </p:spPr>
        <p:txBody>
          <a:bodyPr vert="horz" wrap="square" lIns="121917" tIns="60959" rIns="121917" bIns="60959">
            <a:sp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596169"/>
                </a:solidFill>
                <a:latin typeface="Arial" charset="0"/>
                <a:cs typeface="Arial" charset="0"/>
              </a:rPr>
              <a:t>12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="" xmlns:a16="http://schemas.microsoft.com/office/drawing/2014/main" id="{03A6727D-D576-40C4-8623-807F713942D8}"/>
              </a:ext>
            </a:extLst>
          </p:cNvPr>
          <p:cNvSpPr txBox="1"/>
          <p:nvPr/>
        </p:nvSpPr>
        <p:spPr bwMode="auto">
          <a:xfrm>
            <a:off x="9976045" y="2621220"/>
            <a:ext cx="390459" cy="246219"/>
          </a:xfrm>
          <a:prstGeom prst="rect">
            <a:avLst/>
          </a:prstGeom>
          <a:noFill/>
        </p:spPr>
        <p:txBody>
          <a:bodyPr vert="horz" wrap="square" lIns="121917" tIns="60959" rIns="121917" bIns="60959">
            <a:sp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596169"/>
                </a:solidFill>
                <a:latin typeface="Arial" charset="0"/>
                <a:cs typeface="Arial" charset="0"/>
              </a:rPr>
              <a:t>24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E28C754B-F6D2-4B3C-8453-8B2390C06DEE}"/>
              </a:ext>
            </a:extLst>
          </p:cNvPr>
          <p:cNvSpPr txBox="1"/>
          <p:nvPr/>
        </p:nvSpPr>
        <p:spPr bwMode="auto">
          <a:xfrm>
            <a:off x="8594501" y="2829625"/>
            <a:ext cx="1638513" cy="249393"/>
          </a:xfrm>
          <a:prstGeom prst="rect">
            <a:avLst/>
          </a:prstGeom>
          <a:noFill/>
        </p:spPr>
        <p:txBody>
          <a:bodyPr vert="horz" wrap="square" lIns="121917" tIns="60959" rIns="121917" bIns="60959">
            <a:no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596169"/>
                </a:solidFill>
                <a:latin typeface="Arial" charset="0"/>
                <a:cs typeface="Arial" charset="0"/>
              </a:rPr>
              <a:t>Time, h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="" xmlns:a16="http://schemas.microsoft.com/office/drawing/2014/main" id="{023EAE65-46CB-4491-9337-91210477A5AB}"/>
              </a:ext>
            </a:extLst>
          </p:cNvPr>
          <p:cNvSpPr txBox="1"/>
          <p:nvPr/>
        </p:nvSpPr>
        <p:spPr bwMode="auto">
          <a:xfrm>
            <a:off x="8487150" y="4859507"/>
            <a:ext cx="267908" cy="246219"/>
          </a:xfrm>
          <a:prstGeom prst="rect">
            <a:avLst/>
          </a:prstGeom>
          <a:noFill/>
        </p:spPr>
        <p:txBody>
          <a:bodyPr vert="horz" wrap="square" lIns="121917" tIns="60959" rIns="121917" bIns="60959">
            <a:sp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596169"/>
                </a:solidFill>
                <a:latin typeface="Arial" charset="0"/>
                <a:cs typeface="Arial" charset="0"/>
              </a:rPr>
              <a:t>0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="" xmlns:a16="http://schemas.microsoft.com/office/drawing/2014/main" id="{1337D481-43E2-417F-857E-5EB5D26857BE}"/>
              </a:ext>
            </a:extLst>
          </p:cNvPr>
          <p:cNvSpPr txBox="1"/>
          <p:nvPr/>
        </p:nvSpPr>
        <p:spPr bwMode="auto">
          <a:xfrm>
            <a:off x="9224299" y="4859507"/>
            <a:ext cx="390479" cy="246219"/>
          </a:xfrm>
          <a:prstGeom prst="rect">
            <a:avLst/>
          </a:prstGeom>
          <a:noFill/>
        </p:spPr>
        <p:txBody>
          <a:bodyPr vert="horz" wrap="square" lIns="121917" tIns="60959" rIns="121917" bIns="60959">
            <a:sp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596169"/>
                </a:solidFill>
                <a:latin typeface="Arial" charset="0"/>
                <a:cs typeface="Arial" charset="0"/>
              </a:rPr>
              <a:t>12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="" xmlns:a16="http://schemas.microsoft.com/office/drawing/2014/main" id="{E8EB0E67-43DC-4E70-AD0E-BAF7743EE3DE}"/>
              </a:ext>
            </a:extLst>
          </p:cNvPr>
          <p:cNvSpPr txBox="1"/>
          <p:nvPr/>
        </p:nvSpPr>
        <p:spPr bwMode="auto">
          <a:xfrm>
            <a:off x="10019697" y="4859507"/>
            <a:ext cx="390459" cy="246219"/>
          </a:xfrm>
          <a:prstGeom prst="rect">
            <a:avLst/>
          </a:prstGeom>
          <a:noFill/>
        </p:spPr>
        <p:txBody>
          <a:bodyPr vert="horz" wrap="square" lIns="121917" tIns="60959" rIns="121917" bIns="60959">
            <a:sp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596169"/>
                </a:solidFill>
                <a:latin typeface="Arial" charset="0"/>
                <a:cs typeface="Arial" charset="0"/>
              </a:rPr>
              <a:t>24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="" xmlns:a16="http://schemas.microsoft.com/office/drawing/2014/main" id="{5C6AF844-FB9E-4E6C-A583-ED3E08CBCD96}"/>
              </a:ext>
            </a:extLst>
          </p:cNvPr>
          <p:cNvSpPr txBox="1"/>
          <p:nvPr/>
        </p:nvSpPr>
        <p:spPr bwMode="auto">
          <a:xfrm>
            <a:off x="8601960" y="5094484"/>
            <a:ext cx="1638513" cy="249393"/>
          </a:xfrm>
          <a:prstGeom prst="rect">
            <a:avLst/>
          </a:prstGeom>
          <a:noFill/>
        </p:spPr>
        <p:txBody>
          <a:bodyPr vert="horz" wrap="square" lIns="121917" tIns="60959" rIns="121917" bIns="60959">
            <a:noAutofit/>
          </a:bodyPr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596169"/>
                </a:solidFill>
                <a:latin typeface="Arial" charset="0"/>
                <a:cs typeface="Arial" charset="0"/>
              </a:rPr>
              <a:t>Time, h</a:t>
            </a:r>
          </a:p>
        </p:txBody>
      </p:sp>
      <p:sp>
        <p:nvSpPr>
          <p:cNvPr id="85" name="Text Box 13">
            <a:extLst>
              <a:ext uri="{FF2B5EF4-FFF2-40B4-BE49-F238E27FC236}">
                <a16:creationId xmlns="" xmlns:a16="http://schemas.microsoft.com/office/drawing/2014/main" id="{53DAE8AB-ADA0-426D-AF4C-46FC00FC04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68746" y="4091422"/>
            <a:ext cx="1197700" cy="23301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89999" tIns="46799" rIns="89999" bIns="46799">
            <a:no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457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b="1" dirty="0">
                <a:solidFill>
                  <a:srgbClr val="0092D0"/>
                </a:solidFill>
                <a:ea typeface="ＭＳ Ｐゴシック" pitchFamily="34" charset="-128"/>
              </a:rPr>
              <a:t>Gla-100</a:t>
            </a:r>
            <a:endParaRPr lang="en-GB" sz="1067" b="1" baseline="30000" dirty="0">
              <a:solidFill>
                <a:srgbClr val="0092D0"/>
              </a:solidFill>
              <a:ea typeface="ＭＳ Ｐゴシック" pitchFamily="34" charset="-128"/>
            </a:endParaRPr>
          </a:p>
        </p:txBody>
      </p:sp>
      <p:sp>
        <p:nvSpPr>
          <p:cNvPr id="86" name="Text Box 13">
            <a:extLst>
              <a:ext uri="{FF2B5EF4-FFF2-40B4-BE49-F238E27FC236}">
                <a16:creationId xmlns="" xmlns:a16="http://schemas.microsoft.com/office/drawing/2014/main" id="{69A9C538-39AE-4BCD-98F0-A0FED5BDEB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99451" y="1883102"/>
            <a:ext cx="1467172" cy="23301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89999" tIns="46799" rIns="89999" bIns="46799">
            <a:no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b="1" dirty="0">
                <a:solidFill>
                  <a:srgbClr val="444492"/>
                </a:solidFill>
                <a:ea typeface="ＭＳ Ｐゴシック" pitchFamily="34" charset="-128"/>
              </a:rPr>
              <a:t>Insulin detemir</a:t>
            </a:r>
            <a:endParaRPr lang="en-GB" sz="1067" b="1" baseline="30000" dirty="0">
              <a:solidFill>
                <a:srgbClr val="444492"/>
              </a:solidFill>
              <a:ea typeface="ＭＳ Ｐゴシック" pitchFamily="34" charset="-128"/>
            </a:endParaRPr>
          </a:p>
        </p:txBody>
      </p:sp>
      <p:sp>
        <p:nvSpPr>
          <p:cNvPr id="87" name="Text Box 13">
            <a:extLst>
              <a:ext uri="{FF2B5EF4-FFF2-40B4-BE49-F238E27FC236}">
                <a16:creationId xmlns="" xmlns:a16="http://schemas.microsoft.com/office/drawing/2014/main" id="{1E3D9139-DD51-451C-AA42-D8554EC4A0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13030" y="2059061"/>
            <a:ext cx="831457" cy="23301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89999" tIns="46799" rIns="89999" bIns="46799">
            <a:no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457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b="1" dirty="0">
                <a:solidFill>
                  <a:srgbClr val="0092D0"/>
                </a:solidFill>
                <a:ea typeface="ＭＳ Ｐゴシック" pitchFamily="34" charset="-128"/>
              </a:rPr>
              <a:t>Gla-100</a:t>
            </a:r>
            <a:endParaRPr lang="en-GB" sz="1067" b="1" baseline="30000" dirty="0">
              <a:solidFill>
                <a:srgbClr val="0092D0"/>
              </a:solidFill>
              <a:ea typeface="ＭＳ Ｐゴシック" pitchFamily="34" charset="-128"/>
            </a:endParaRPr>
          </a:p>
        </p:txBody>
      </p:sp>
      <p:sp>
        <p:nvSpPr>
          <p:cNvPr id="88" name="Text Box 13">
            <a:extLst>
              <a:ext uri="{FF2B5EF4-FFF2-40B4-BE49-F238E27FC236}">
                <a16:creationId xmlns="" xmlns:a16="http://schemas.microsoft.com/office/drawing/2014/main" id="{04B98B49-C244-4587-965E-BFCB4B5484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49997" y="2031838"/>
            <a:ext cx="786617" cy="23301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89999" tIns="46799" rIns="89999" bIns="46799">
            <a:no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457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b="1" dirty="0">
                <a:solidFill>
                  <a:srgbClr val="0092D0"/>
                </a:solidFill>
                <a:ea typeface="ＭＳ Ｐゴシック" pitchFamily="34" charset="-128"/>
              </a:rPr>
              <a:t>Gla-100</a:t>
            </a:r>
            <a:endParaRPr lang="en-GB" sz="1067" b="1" baseline="30000" dirty="0">
              <a:solidFill>
                <a:srgbClr val="0092D0"/>
              </a:solidFill>
              <a:ea typeface="ＭＳ Ｐゴシック" pitchFamily="34" charset="-128"/>
            </a:endParaRPr>
          </a:p>
        </p:txBody>
      </p:sp>
      <p:sp>
        <p:nvSpPr>
          <p:cNvPr id="89" name="Text Box 13">
            <a:extLst>
              <a:ext uri="{FF2B5EF4-FFF2-40B4-BE49-F238E27FC236}">
                <a16:creationId xmlns="" xmlns:a16="http://schemas.microsoft.com/office/drawing/2014/main" id="{F51293D8-2725-4123-853B-174723DFB6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77180" y="1541118"/>
            <a:ext cx="916001" cy="23301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89999" tIns="46799" rIns="89999" bIns="46799">
            <a:no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b="1" dirty="0">
                <a:solidFill>
                  <a:srgbClr val="C15E1C"/>
                </a:solidFill>
                <a:ea typeface="ＭＳ Ｐゴシック" pitchFamily="34" charset="-128"/>
              </a:rPr>
              <a:t>NPH insulin</a:t>
            </a:r>
            <a:endParaRPr lang="en-GB" sz="1067" b="1" baseline="30000" dirty="0">
              <a:solidFill>
                <a:srgbClr val="C15E1C"/>
              </a:solidFill>
              <a:ea typeface="ＭＳ Ｐゴシック" pitchFamily="34" charset="-128"/>
            </a:endParaRPr>
          </a:p>
        </p:txBody>
      </p:sp>
      <p:sp>
        <p:nvSpPr>
          <p:cNvPr id="90" name="Text Box 13">
            <a:extLst>
              <a:ext uri="{FF2B5EF4-FFF2-40B4-BE49-F238E27FC236}">
                <a16:creationId xmlns="" xmlns:a16="http://schemas.microsoft.com/office/drawing/2014/main" id="{B3509ACC-AD4E-443E-8C28-1AC811E222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67384" y="4500729"/>
            <a:ext cx="1323256" cy="23301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89999" tIns="46799" rIns="89999" bIns="46799">
            <a:no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457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67" b="1" dirty="0">
                <a:solidFill>
                  <a:srgbClr val="81B838"/>
                </a:solidFill>
                <a:ea typeface="ＭＳ Ｐゴシック" pitchFamily="34" charset="-128"/>
              </a:rPr>
              <a:t>Gla-300</a:t>
            </a:r>
            <a:endParaRPr lang="en-GB" sz="1067" b="1" baseline="30000" dirty="0">
              <a:solidFill>
                <a:srgbClr val="81B838"/>
              </a:solidFill>
              <a:ea typeface="ＭＳ Ｐゴシック" pitchFamily="34" charset="-128"/>
            </a:endParaRPr>
          </a:p>
        </p:txBody>
      </p:sp>
      <p:sp>
        <p:nvSpPr>
          <p:cNvPr id="91" name="Freeform 5">
            <a:extLst>
              <a:ext uri="{FF2B5EF4-FFF2-40B4-BE49-F238E27FC236}">
                <a16:creationId xmlns="" xmlns:a16="http://schemas.microsoft.com/office/drawing/2014/main" id="{73FA09C8-020E-4995-8595-E67F5291D381}"/>
              </a:ext>
            </a:extLst>
          </p:cNvPr>
          <p:cNvSpPr>
            <a:spLocks/>
          </p:cNvSpPr>
          <p:nvPr/>
        </p:nvSpPr>
        <p:spPr bwMode="auto">
          <a:xfrm>
            <a:off x="6380454" y="1254225"/>
            <a:ext cx="1598613" cy="1335088"/>
          </a:xfrm>
          <a:custGeom>
            <a:avLst/>
            <a:gdLst>
              <a:gd name="T0" fmla="*/ 0 w 1007"/>
              <a:gd name="T1" fmla="*/ 0 h 841"/>
              <a:gd name="T2" fmla="*/ 0 w 1007"/>
              <a:gd name="T3" fmla="*/ 841 h 841"/>
              <a:gd name="T4" fmla="*/ 1007 w 1007"/>
              <a:gd name="T5" fmla="*/ 841 h 8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007" h="841">
                <a:moveTo>
                  <a:pt x="0" y="0"/>
                </a:moveTo>
                <a:lnTo>
                  <a:pt x="0" y="841"/>
                </a:lnTo>
                <a:lnTo>
                  <a:pt x="1007" y="841"/>
                </a:lnTo>
              </a:path>
            </a:pathLst>
          </a:custGeom>
          <a:noFill/>
          <a:ln w="19050" cap="flat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92" name="Freeform 13">
            <a:extLst>
              <a:ext uri="{FF2B5EF4-FFF2-40B4-BE49-F238E27FC236}">
                <a16:creationId xmlns="" xmlns:a16="http://schemas.microsoft.com/office/drawing/2014/main" id="{A73C17B3-10AB-4599-B254-3C1FE00C6BCD}"/>
              </a:ext>
            </a:extLst>
          </p:cNvPr>
          <p:cNvSpPr>
            <a:spLocks/>
          </p:cNvSpPr>
          <p:nvPr/>
        </p:nvSpPr>
        <p:spPr bwMode="auto">
          <a:xfrm>
            <a:off x="8564832" y="1254225"/>
            <a:ext cx="1598613" cy="1335088"/>
          </a:xfrm>
          <a:custGeom>
            <a:avLst/>
            <a:gdLst>
              <a:gd name="T0" fmla="*/ 0 w 1007"/>
              <a:gd name="T1" fmla="*/ 0 h 841"/>
              <a:gd name="T2" fmla="*/ 0 w 1007"/>
              <a:gd name="T3" fmla="*/ 841 h 841"/>
              <a:gd name="T4" fmla="*/ 1007 w 1007"/>
              <a:gd name="T5" fmla="*/ 841 h 8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007" h="841">
                <a:moveTo>
                  <a:pt x="0" y="0"/>
                </a:moveTo>
                <a:lnTo>
                  <a:pt x="0" y="841"/>
                </a:lnTo>
                <a:lnTo>
                  <a:pt x="1007" y="841"/>
                </a:lnTo>
              </a:path>
            </a:pathLst>
          </a:custGeom>
          <a:noFill/>
          <a:ln w="19050" cap="flat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94" name="Freeform 29">
            <a:extLst>
              <a:ext uri="{FF2B5EF4-FFF2-40B4-BE49-F238E27FC236}">
                <a16:creationId xmlns="" xmlns:a16="http://schemas.microsoft.com/office/drawing/2014/main" id="{732C9992-FC64-4DD2-A753-74458E30CC40}"/>
              </a:ext>
            </a:extLst>
          </p:cNvPr>
          <p:cNvSpPr>
            <a:spLocks/>
          </p:cNvSpPr>
          <p:nvPr/>
        </p:nvSpPr>
        <p:spPr bwMode="auto">
          <a:xfrm>
            <a:off x="8611932" y="3492512"/>
            <a:ext cx="1598613" cy="1335088"/>
          </a:xfrm>
          <a:custGeom>
            <a:avLst/>
            <a:gdLst>
              <a:gd name="T0" fmla="*/ 0 w 1007"/>
              <a:gd name="T1" fmla="*/ 0 h 841"/>
              <a:gd name="T2" fmla="*/ 0 w 1007"/>
              <a:gd name="T3" fmla="*/ 841 h 841"/>
              <a:gd name="T4" fmla="*/ 1007 w 1007"/>
              <a:gd name="T5" fmla="*/ 841 h 8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007" h="841">
                <a:moveTo>
                  <a:pt x="0" y="0"/>
                </a:moveTo>
                <a:lnTo>
                  <a:pt x="0" y="841"/>
                </a:lnTo>
                <a:lnTo>
                  <a:pt x="1007" y="841"/>
                </a:lnTo>
              </a:path>
            </a:pathLst>
          </a:custGeom>
          <a:noFill/>
          <a:ln w="19050" cap="flat">
            <a:solidFill>
              <a:srgbClr val="59616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67">
              <a:solidFill>
                <a:srgbClr val="444492"/>
              </a:solidFill>
              <a:latin typeface="Arial" charset="0"/>
              <a:cs typeface="Arial" charset="0"/>
            </a:endParaRPr>
          </a:p>
        </p:txBody>
      </p:sp>
      <p:sp>
        <p:nvSpPr>
          <p:cNvPr id="3" name="Right Arrow 2"/>
          <p:cNvSpPr/>
          <p:nvPr/>
        </p:nvSpPr>
        <p:spPr>
          <a:xfrm>
            <a:off x="6003434" y="3922779"/>
            <a:ext cx="2069929" cy="289939"/>
          </a:xfrm>
          <a:prstGeom prst="rightArrow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748546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: Rounded Corners 5"/>
          <p:cNvSpPr/>
          <p:nvPr/>
        </p:nvSpPr>
        <p:spPr>
          <a:xfrm>
            <a:off x="2646367" y="2669795"/>
            <a:ext cx="2087911" cy="1083787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1435" tIns="25719" rIns="51435" bIns="25719" rtlCol="0" anchor="ctr"/>
          <a:lstStyle/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00" b="1" dirty="0">
                <a:solidFill>
                  <a:srgbClr val="444492"/>
                </a:solidFill>
              </a:rPr>
              <a:t>Insulin glargine</a:t>
            </a: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51E1E8C2-66E0-4586-BFF2-515A0362E6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78548" y="6051305"/>
            <a:ext cx="11591784" cy="381000"/>
          </a:xfrm>
        </p:spPr>
        <p:txBody>
          <a:bodyPr/>
          <a:lstStyle/>
          <a:p>
            <a:r>
              <a:rPr lang="en-GB" sz="933" dirty="0"/>
              <a:t>1. Pettus J et al. Diabetes </a:t>
            </a:r>
            <a:r>
              <a:rPr lang="en-GB" sz="933" dirty="0" err="1"/>
              <a:t>Metab</a:t>
            </a:r>
            <a:r>
              <a:rPr lang="en-GB" sz="933" dirty="0"/>
              <a:t> Res Rev. </a:t>
            </a:r>
            <a:r>
              <a:rPr lang="en-GB" sz="933" dirty="0"/>
              <a:t>2016;32:478-96; </a:t>
            </a:r>
            <a:br>
              <a:rPr lang="en-GB" sz="933" dirty="0"/>
            </a:br>
            <a:r>
              <a:rPr lang="en-GB" sz="933" dirty="0" smtClean="0"/>
              <a:t>2. </a:t>
            </a:r>
            <a:r>
              <a:rPr lang="en-GB" sz="933" dirty="0"/>
              <a:t>Steinstraesser A et al. </a:t>
            </a:r>
            <a:r>
              <a:rPr lang="en-GB" sz="933" dirty="0"/>
              <a:t>Diabetes </a:t>
            </a:r>
            <a:r>
              <a:rPr lang="en-GB" sz="933" dirty="0" err="1"/>
              <a:t>Obes</a:t>
            </a:r>
            <a:r>
              <a:rPr lang="en-GB" sz="933" dirty="0"/>
              <a:t> </a:t>
            </a:r>
            <a:r>
              <a:rPr lang="en-GB" sz="933" dirty="0" err="1"/>
              <a:t>Metab</a:t>
            </a:r>
            <a:r>
              <a:rPr lang="en-GB" sz="933" dirty="0"/>
              <a:t>. </a:t>
            </a:r>
            <a:r>
              <a:rPr lang="en-GB" sz="933" dirty="0"/>
              <a:t>2014;16:873-6; </a:t>
            </a:r>
            <a:r>
              <a:rPr lang="en-GB" sz="933" dirty="0" smtClean="0"/>
              <a:t>3. </a:t>
            </a:r>
            <a:r>
              <a:rPr lang="en-GB" sz="933" dirty="0"/>
              <a:t>Becker RH et al. Diabetes Care. 2015;38:637-43 </a:t>
            </a:r>
          </a:p>
        </p:txBody>
      </p: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287664" y="259421"/>
            <a:ext cx="11523537" cy="436361"/>
          </a:xfrm>
        </p:spPr>
        <p:txBody>
          <a:bodyPr/>
          <a:lstStyle/>
          <a:p>
            <a:r>
              <a:rPr lang="en-US" sz="2667" b="1" dirty="0"/>
              <a:t>Compact depot formation results in more gradual insulin </a:t>
            </a:r>
            <a:r>
              <a:rPr lang="en-US" sz="2667" b="1" dirty="0"/>
              <a:t>release</a:t>
            </a:r>
            <a:endParaRPr lang="en-GB" sz="2667" b="1" dirty="0"/>
          </a:p>
        </p:txBody>
      </p:sp>
      <p:pic>
        <p:nvPicPr>
          <p:cNvPr id="7" name="Picture 6" descr="A close up of a keyboard&#10;&#10;Description generated with high confidence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269" y="2937394"/>
            <a:ext cx="2000107" cy="703453"/>
          </a:xfrm>
          <a:prstGeom prst="rect">
            <a:avLst/>
          </a:prstGeom>
        </p:spPr>
      </p:pic>
      <p:sp>
        <p:nvSpPr>
          <p:cNvPr id="60" name="Arrow: Right 14"/>
          <p:cNvSpPr/>
          <p:nvPr/>
        </p:nvSpPr>
        <p:spPr>
          <a:xfrm rot="18867882">
            <a:off x="4096928" y="2003161"/>
            <a:ext cx="360043" cy="424207"/>
          </a:xfrm>
          <a:prstGeom prst="chevron">
            <a:avLst/>
          </a:prstGeom>
          <a:solidFill>
            <a:schemeClr val="accent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61" name="Rectangle 60"/>
          <p:cNvSpPr/>
          <p:nvPr/>
        </p:nvSpPr>
        <p:spPr>
          <a:xfrm rot="13467882">
            <a:off x="4047805" y="2112682"/>
            <a:ext cx="131115" cy="46922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 rot="18831738">
            <a:off x="4112332" y="3903723"/>
            <a:ext cx="131115" cy="46922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3" name="Arrow: Right 14"/>
          <p:cNvSpPr/>
          <p:nvPr/>
        </p:nvSpPr>
        <p:spPr>
          <a:xfrm rot="2374582">
            <a:off x="4155308" y="4087478"/>
            <a:ext cx="360043" cy="424207"/>
          </a:xfrm>
          <a:prstGeom prst="chevron">
            <a:avLst/>
          </a:prstGeom>
          <a:solidFill>
            <a:schemeClr val="accent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68" name="Rectangle 67"/>
          <p:cNvSpPr/>
          <p:nvPr/>
        </p:nvSpPr>
        <p:spPr>
          <a:xfrm rot="5400000">
            <a:off x="5094773" y="4183591"/>
            <a:ext cx="658791" cy="5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90" name="组合 494"/>
          <p:cNvGrpSpPr>
            <a:grpSpLocks/>
          </p:cNvGrpSpPr>
          <p:nvPr/>
        </p:nvGrpSpPr>
        <p:grpSpPr bwMode="auto">
          <a:xfrm>
            <a:off x="5176374" y="4381323"/>
            <a:ext cx="1268021" cy="1131763"/>
            <a:chOff x="1122363" y="2720975"/>
            <a:chExt cx="3349625" cy="3214688"/>
          </a:xfrm>
        </p:grpSpPr>
        <p:sp>
          <p:nvSpPr>
            <p:cNvPr id="91" name="AutoShape 2"/>
            <p:cNvSpPr>
              <a:spLocks noChangeArrowheads="1"/>
            </p:cNvSpPr>
            <p:nvPr/>
          </p:nvSpPr>
          <p:spPr bwMode="auto">
            <a:xfrm rot="10800000">
              <a:off x="1122363" y="4108450"/>
              <a:ext cx="541337" cy="425450"/>
            </a:xfrm>
            <a:custGeom>
              <a:avLst/>
              <a:gdLst>
                <a:gd name="T0" fmla="*/ 2147483647 w 21600"/>
                <a:gd name="T1" fmla="*/ 0 h 21600"/>
                <a:gd name="T2" fmla="*/ 0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5400 h 21600"/>
                <a:gd name="T14" fmla="*/ 18900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92" name="AutoShape 3"/>
            <p:cNvSpPr>
              <a:spLocks noChangeArrowheads="1"/>
            </p:cNvSpPr>
            <p:nvPr/>
          </p:nvSpPr>
          <p:spPr bwMode="auto">
            <a:xfrm rot="-5400000">
              <a:off x="2520157" y="2777331"/>
              <a:ext cx="539750" cy="427037"/>
            </a:xfrm>
            <a:custGeom>
              <a:avLst/>
              <a:gdLst>
                <a:gd name="T0" fmla="*/ 2147483647 w 21600"/>
                <a:gd name="T1" fmla="*/ 0 h 21600"/>
                <a:gd name="T2" fmla="*/ 0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5400 h 21600"/>
                <a:gd name="T14" fmla="*/ 18900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grpSp>
          <p:nvGrpSpPr>
            <p:cNvPr id="93" name="Group 4"/>
            <p:cNvGrpSpPr>
              <a:grpSpLocks/>
            </p:cNvGrpSpPr>
            <p:nvPr/>
          </p:nvGrpSpPr>
          <p:grpSpPr bwMode="auto">
            <a:xfrm>
              <a:off x="1249364" y="2846391"/>
              <a:ext cx="3222626" cy="3089277"/>
              <a:chOff x="787" y="1793"/>
              <a:chExt cx="2030" cy="1946"/>
            </a:xfrm>
          </p:grpSpPr>
          <p:sp>
            <p:nvSpPr>
              <p:cNvPr id="94" name="Oval 5"/>
              <p:cNvSpPr>
                <a:spLocks noChangeArrowheads="1"/>
              </p:cNvSpPr>
              <p:nvPr/>
            </p:nvSpPr>
            <p:spPr bwMode="auto">
              <a:xfrm>
                <a:off x="1066" y="2071"/>
                <a:ext cx="1393" cy="1350"/>
              </a:xfrm>
              <a:prstGeom prst="ellipse">
                <a:avLst/>
              </a:prstGeom>
              <a:solidFill>
                <a:srgbClr val="D7AFFF">
                  <a:alpha val="8117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95" name="Oval 6"/>
              <p:cNvSpPr>
                <a:spLocks noChangeArrowheads="1"/>
              </p:cNvSpPr>
              <p:nvPr/>
            </p:nvSpPr>
            <p:spPr bwMode="auto">
              <a:xfrm>
                <a:off x="1185" y="2190"/>
                <a:ext cx="1155" cy="1112"/>
              </a:xfrm>
              <a:prstGeom prst="ellipse">
                <a:avLst/>
              </a:prstGeom>
              <a:solidFill>
                <a:srgbClr val="BBE0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96" name="Oval 7"/>
              <p:cNvSpPr>
                <a:spLocks noChangeArrowheads="1"/>
              </p:cNvSpPr>
              <p:nvPr/>
            </p:nvSpPr>
            <p:spPr bwMode="auto">
              <a:xfrm>
                <a:off x="1902" y="2906"/>
                <a:ext cx="79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97" name="Oval 8"/>
              <p:cNvSpPr>
                <a:spLocks noChangeArrowheads="1"/>
              </p:cNvSpPr>
              <p:nvPr/>
            </p:nvSpPr>
            <p:spPr bwMode="auto">
              <a:xfrm>
                <a:off x="1385" y="3064"/>
                <a:ext cx="79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98" name="Oval 9"/>
              <p:cNvSpPr>
                <a:spLocks noChangeArrowheads="1"/>
              </p:cNvSpPr>
              <p:nvPr/>
            </p:nvSpPr>
            <p:spPr bwMode="auto">
              <a:xfrm>
                <a:off x="1385" y="2349"/>
                <a:ext cx="79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99" name="Oval 10"/>
              <p:cNvSpPr>
                <a:spLocks noChangeArrowheads="1"/>
              </p:cNvSpPr>
              <p:nvPr/>
            </p:nvSpPr>
            <p:spPr bwMode="auto">
              <a:xfrm>
                <a:off x="1305" y="2984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00" name="Oval 11"/>
              <p:cNvSpPr>
                <a:spLocks noChangeArrowheads="1"/>
              </p:cNvSpPr>
              <p:nvPr/>
            </p:nvSpPr>
            <p:spPr bwMode="auto">
              <a:xfrm>
                <a:off x="1583" y="3025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01" name="Oval 12"/>
              <p:cNvSpPr>
                <a:spLocks noChangeArrowheads="1"/>
              </p:cNvSpPr>
              <p:nvPr/>
            </p:nvSpPr>
            <p:spPr bwMode="auto">
              <a:xfrm>
                <a:off x="1264" y="2547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02" name="Oval 13"/>
              <p:cNvSpPr>
                <a:spLocks noChangeArrowheads="1"/>
              </p:cNvSpPr>
              <p:nvPr/>
            </p:nvSpPr>
            <p:spPr bwMode="auto">
              <a:xfrm>
                <a:off x="1305" y="2428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03" name="Oval 14"/>
              <p:cNvSpPr>
                <a:spLocks noChangeArrowheads="1"/>
              </p:cNvSpPr>
              <p:nvPr/>
            </p:nvSpPr>
            <p:spPr bwMode="auto">
              <a:xfrm>
                <a:off x="1464" y="2270"/>
                <a:ext cx="79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04" name="Oval 15"/>
              <p:cNvSpPr>
                <a:spLocks noChangeArrowheads="1"/>
              </p:cNvSpPr>
              <p:nvPr/>
            </p:nvSpPr>
            <p:spPr bwMode="auto">
              <a:xfrm>
                <a:off x="1822" y="2230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05" name="Oval 16"/>
              <p:cNvSpPr>
                <a:spLocks noChangeArrowheads="1"/>
              </p:cNvSpPr>
              <p:nvPr/>
            </p:nvSpPr>
            <p:spPr bwMode="auto">
              <a:xfrm>
                <a:off x="1942" y="2270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06" name="Oval 17"/>
              <p:cNvSpPr>
                <a:spLocks noChangeArrowheads="1"/>
              </p:cNvSpPr>
              <p:nvPr/>
            </p:nvSpPr>
            <p:spPr bwMode="auto">
              <a:xfrm>
                <a:off x="1702" y="2190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07" name="Oval 18"/>
              <p:cNvSpPr>
                <a:spLocks noChangeArrowheads="1"/>
              </p:cNvSpPr>
              <p:nvPr/>
            </p:nvSpPr>
            <p:spPr bwMode="auto">
              <a:xfrm>
                <a:off x="2021" y="2349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08" name="Oval 19"/>
              <p:cNvSpPr>
                <a:spLocks noChangeArrowheads="1"/>
              </p:cNvSpPr>
              <p:nvPr/>
            </p:nvSpPr>
            <p:spPr bwMode="auto">
              <a:xfrm>
                <a:off x="2101" y="2428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09" name="Oval 20"/>
              <p:cNvSpPr>
                <a:spLocks noChangeArrowheads="1"/>
              </p:cNvSpPr>
              <p:nvPr/>
            </p:nvSpPr>
            <p:spPr bwMode="auto">
              <a:xfrm>
                <a:off x="2220" y="2588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10" name="Oval 21"/>
              <p:cNvSpPr>
                <a:spLocks noChangeArrowheads="1"/>
              </p:cNvSpPr>
              <p:nvPr/>
            </p:nvSpPr>
            <p:spPr bwMode="auto">
              <a:xfrm>
                <a:off x="1424" y="2508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11" name="Oval 22"/>
              <p:cNvSpPr>
                <a:spLocks noChangeArrowheads="1"/>
              </p:cNvSpPr>
              <p:nvPr/>
            </p:nvSpPr>
            <p:spPr bwMode="auto">
              <a:xfrm>
                <a:off x="1504" y="3144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112" name="Oval 23"/>
              <p:cNvSpPr>
                <a:spLocks noChangeArrowheads="1"/>
              </p:cNvSpPr>
              <p:nvPr/>
            </p:nvSpPr>
            <p:spPr bwMode="auto">
              <a:xfrm>
                <a:off x="1623" y="3183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13" name="Oval 24"/>
              <p:cNvSpPr>
                <a:spLocks noChangeArrowheads="1"/>
              </p:cNvSpPr>
              <p:nvPr/>
            </p:nvSpPr>
            <p:spPr bwMode="auto">
              <a:xfrm>
                <a:off x="1702" y="3025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14" name="Oval 25"/>
              <p:cNvSpPr>
                <a:spLocks noChangeArrowheads="1"/>
              </p:cNvSpPr>
              <p:nvPr/>
            </p:nvSpPr>
            <p:spPr bwMode="auto">
              <a:xfrm>
                <a:off x="1385" y="2865"/>
                <a:ext cx="79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15" name="Oval 26"/>
              <p:cNvSpPr>
                <a:spLocks noChangeArrowheads="1"/>
              </p:cNvSpPr>
              <p:nvPr/>
            </p:nvSpPr>
            <p:spPr bwMode="auto">
              <a:xfrm>
                <a:off x="1305" y="2746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16" name="Oval 27"/>
              <p:cNvSpPr>
                <a:spLocks noChangeArrowheads="1"/>
              </p:cNvSpPr>
              <p:nvPr/>
            </p:nvSpPr>
            <p:spPr bwMode="auto">
              <a:xfrm>
                <a:off x="1225" y="2667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17" name="Oval 28"/>
              <p:cNvSpPr>
                <a:spLocks noChangeArrowheads="1"/>
              </p:cNvSpPr>
              <p:nvPr/>
            </p:nvSpPr>
            <p:spPr bwMode="auto">
              <a:xfrm>
                <a:off x="1583" y="2508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18" name="Oval 29"/>
              <p:cNvSpPr>
                <a:spLocks noChangeArrowheads="1"/>
              </p:cNvSpPr>
              <p:nvPr/>
            </p:nvSpPr>
            <p:spPr bwMode="auto">
              <a:xfrm>
                <a:off x="1822" y="3025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19" name="Oval 30"/>
              <p:cNvSpPr>
                <a:spLocks noChangeArrowheads="1"/>
              </p:cNvSpPr>
              <p:nvPr/>
            </p:nvSpPr>
            <p:spPr bwMode="auto">
              <a:xfrm>
                <a:off x="1504" y="2826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20" name="Oval 31"/>
              <p:cNvSpPr>
                <a:spLocks noChangeArrowheads="1"/>
              </p:cNvSpPr>
              <p:nvPr/>
            </p:nvSpPr>
            <p:spPr bwMode="auto">
              <a:xfrm>
                <a:off x="1623" y="2746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21" name="Oval 32"/>
              <p:cNvSpPr>
                <a:spLocks noChangeArrowheads="1"/>
              </p:cNvSpPr>
              <p:nvPr/>
            </p:nvSpPr>
            <p:spPr bwMode="auto">
              <a:xfrm>
                <a:off x="1782" y="3183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22" name="Oval 33"/>
              <p:cNvSpPr>
                <a:spLocks noChangeArrowheads="1"/>
              </p:cNvSpPr>
              <p:nvPr/>
            </p:nvSpPr>
            <p:spPr bwMode="auto">
              <a:xfrm>
                <a:off x="1902" y="2428"/>
                <a:ext cx="79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23" name="Oval 34"/>
              <p:cNvSpPr>
                <a:spLocks noChangeArrowheads="1"/>
              </p:cNvSpPr>
              <p:nvPr/>
            </p:nvSpPr>
            <p:spPr bwMode="auto">
              <a:xfrm>
                <a:off x="1583" y="2230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24" name="Oval 35"/>
              <p:cNvSpPr>
                <a:spLocks noChangeArrowheads="1"/>
              </p:cNvSpPr>
              <p:nvPr/>
            </p:nvSpPr>
            <p:spPr bwMode="auto">
              <a:xfrm>
                <a:off x="1543" y="2389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25" name="Oval 36"/>
              <p:cNvSpPr>
                <a:spLocks noChangeArrowheads="1"/>
              </p:cNvSpPr>
              <p:nvPr/>
            </p:nvSpPr>
            <p:spPr bwMode="auto">
              <a:xfrm>
                <a:off x="1782" y="2389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26" name="Oval 37"/>
              <p:cNvSpPr>
                <a:spLocks noChangeArrowheads="1"/>
              </p:cNvSpPr>
              <p:nvPr/>
            </p:nvSpPr>
            <p:spPr bwMode="auto">
              <a:xfrm>
                <a:off x="1385" y="2667"/>
                <a:ext cx="79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27" name="Oval 38"/>
              <p:cNvSpPr>
                <a:spLocks noChangeArrowheads="1"/>
              </p:cNvSpPr>
              <p:nvPr/>
            </p:nvSpPr>
            <p:spPr bwMode="auto">
              <a:xfrm>
                <a:off x="1663" y="2349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28" name="Oval 39"/>
              <p:cNvSpPr>
                <a:spLocks noChangeArrowheads="1"/>
              </p:cNvSpPr>
              <p:nvPr/>
            </p:nvSpPr>
            <p:spPr bwMode="auto">
              <a:xfrm>
                <a:off x="1981" y="2508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29" name="Oval 40"/>
              <p:cNvSpPr>
                <a:spLocks noChangeArrowheads="1"/>
              </p:cNvSpPr>
              <p:nvPr/>
            </p:nvSpPr>
            <p:spPr bwMode="auto">
              <a:xfrm>
                <a:off x="1743" y="2746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30" name="Oval 41"/>
              <p:cNvSpPr>
                <a:spLocks noChangeArrowheads="1"/>
              </p:cNvSpPr>
              <p:nvPr/>
            </p:nvSpPr>
            <p:spPr bwMode="auto">
              <a:xfrm>
                <a:off x="1623" y="2906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31" name="Oval 42"/>
              <p:cNvSpPr>
                <a:spLocks noChangeArrowheads="1"/>
              </p:cNvSpPr>
              <p:nvPr/>
            </p:nvSpPr>
            <p:spPr bwMode="auto">
              <a:xfrm>
                <a:off x="1981" y="2984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32" name="Oval 43"/>
              <p:cNvSpPr>
                <a:spLocks noChangeArrowheads="1"/>
              </p:cNvSpPr>
              <p:nvPr/>
            </p:nvSpPr>
            <p:spPr bwMode="auto">
              <a:xfrm>
                <a:off x="2021" y="2826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33" name="Oval 44"/>
              <p:cNvSpPr>
                <a:spLocks noChangeArrowheads="1"/>
              </p:cNvSpPr>
              <p:nvPr/>
            </p:nvSpPr>
            <p:spPr bwMode="auto">
              <a:xfrm>
                <a:off x="1504" y="2667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34" name="Oval 45"/>
              <p:cNvSpPr>
                <a:spLocks noChangeArrowheads="1"/>
              </p:cNvSpPr>
              <p:nvPr/>
            </p:nvSpPr>
            <p:spPr bwMode="auto">
              <a:xfrm>
                <a:off x="2220" y="2707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35" name="Oval 46"/>
              <p:cNvSpPr>
                <a:spLocks noChangeArrowheads="1"/>
              </p:cNvSpPr>
              <p:nvPr/>
            </p:nvSpPr>
            <p:spPr bwMode="auto">
              <a:xfrm>
                <a:off x="2181" y="2508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36" name="Oval 47"/>
              <p:cNvSpPr>
                <a:spLocks noChangeArrowheads="1"/>
              </p:cNvSpPr>
              <p:nvPr/>
            </p:nvSpPr>
            <p:spPr bwMode="auto">
              <a:xfrm>
                <a:off x="1743" y="2508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37" name="Oval 48"/>
              <p:cNvSpPr>
                <a:spLocks noChangeArrowheads="1"/>
              </p:cNvSpPr>
              <p:nvPr/>
            </p:nvSpPr>
            <p:spPr bwMode="auto">
              <a:xfrm>
                <a:off x="2181" y="2945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38" name="Oval 49"/>
              <p:cNvSpPr>
                <a:spLocks noChangeArrowheads="1"/>
              </p:cNvSpPr>
              <p:nvPr/>
            </p:nvSpPr>
            <p:spPr bwMode="auto">
              <a:xfrm>
                <a:off x="1981" y="2667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39" name="Oval 50"/>
              <p:cNvSpPr>
                <a:spLocks noChangeArrowheads="1"/>
              </p:cNvSpPr>
              <p:nvPr/>
            </p:nvSpPr>
            <p:spPr bwMode="auto">
              <a:xfrm>
                <a:off x="1663" y="2627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40" name="Oval 51"/>
              <p:cNvSpPr>
                <a:spLocks noChangeArrowheads="1"/>
              </p:cNvSpPr>
              <p:nvPr/>
            </p:nvSpPr>
            <p:spPr bwMode="auto">
              <a:xfrm>
                <a:off x="2061" y="3064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41" name="Oval 52"/>
              <p:cNvSpPr>
                <a:spLocks noChangeArrowheads="1"/>
              </p:cNvSpPr>
              <p:nvPr/>
            </p:nvSpPr>
            <p:spPr bwMode="auto">
              <a:xfrm>
                <a:off x="2220" y="2826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42" name="Oval 53"/>
              <p:cNvSpPr>
                <a:spLocks noChangeArrowheads="1"/>
              </p:cNvSpPr>
              <p:nvPr/>
            </p:nvSpPr>
            <p:spPr bwMode="auto">
              <a:xfrm>
                <a:off x="2140" y="2746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43" name="Oval 54"/>
              <p:cNvSpPr>
                <a:spLocks noChangeArrowheads="1"/>
              </p:cNvSpPr>
              <p:nvPr/>
            </p:nvSpPr>
            <p:spPr bwMode="auto">
              <a:xfrm>
                <a:off x="1822" y="2627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44" name="Oval 55"/>
              <p:cNvSpPr>
                <a:spLocks noChangeArrowheads="1"/>
              </p:cNvSpPr>
              <p:nvPr/>
            </p:nvSpPr>
            <p:spPr bwMode="auto">
              <a:xfrm>
                <a:off x="1782" y="2865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45" name="Oval 56"/>
              <p:cNvSpPr>
                <a:spLocks noChangeArrowheads="1"/>
              </p:cNvSpPr>
              <p:nvPr/>
            </p:nvSpPr>
            <p:spPr bwMode="auto">
              <a:xfrm>
                <a:off x="2101" y="2627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46" name="Oval 57"/>
              <p:cNvSpPr>
                <a:spLocks noChangeArrowheads="1"/>
              </p:cNvSpPr>
              <p:nvPr/>
            </p:nvSpPr>
            <p:spPr bwMode="auto">
              <a:xfrm>
                <a:off x="1942" y="3144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47" name="Oval 58"/>
              <p:cNvSpPr>
                <a:spLocks noChangeArrowheads="1"/>
              </p:cNvSpPr>
              <p:nvPr/>
            </p:nvSpPr>
            <p:spPr bwMode="auto">
              <a:xfrm>
                <a:off x="1902" y="2746"/>
                <a:ext cx="79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48" name="Oval 59"/>
              <p:cNvSpPr>
                <a:spLocks noChangeArrowheads="1"/>
              </p:cNvSpPr>
              <p:nvPr/>
            </p:nvSpPr>
            <p:spPr bwMode="auto">
              <a:xfrm>
                <a:off x="2260" y="2389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49" name="Oval 60"/>
              <p:cNvSpPr>
                <a:spLocks noChangeArrowheads="1"/>
              </p:cNvSpPr>
              <p:nvPr/>
            </p:nvSpPr>
            <p:spPr bwMode="auto">
              <a:xfrm>
                <a:off x="2140" y="2270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50" name="Oval 61"/>
              <p:cNvSpPr>
                <a:spLocks noChangeArrowheads="1"/>
              </p:cNvSpPr>
              <p:nvPr/>
            </p:nvSpPr>
            <p:spPr bwMode="auto">
              <a:xfrm>
                <a:off x="2061" y="2190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51" name="Oval 62"/>
              <p:cNvSpPr>
                <a:spLocks noChangeArrowheads="1"/>
              </p:cNvSpPr>
              <p:nvPr/>
            </p:nvSpPr>
            <p:spPr bwMode="auto">
              <a:xfrm>
                <a:off x="2340" y="2547"/>
                <a:ext cx="79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52" name="Oval 63"/>
              <p:cNvSpPr>
                <a:spLocks noChangeArrowheads="1"/>
              </p:cNvSpPr>
              <p:nvPr/>
            </p:nvSpPr>
            <p:spPr bwMode="auto">
              <a:xfrm>
                <a:off x="2340" y="2707"/>
                <a:ext cx="79" cy="79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53" name="Oval 64"/>
              <p:cNvSpPr>
                <a:spLocks noChangeArrowheads="1"/>
              </p:cNvSpPr>
              <p:nvPr/>
            </p:nvSpPr>
            <p:spPr bwMode="auto">
              <a:xfrm>
                <a:off x="2340" y="2826"/>
                <a:ext cx="79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54" name="Oval 65"/>
              <p:cNvSpPr>
                <a:spLocks noChangeArrowheads="1"/>
              </p:cNvSpPr>
              <p:nvPr/>
            </p:nvSpPr>
            <p:spPr bwMode="auto">
              <a:xfrm>
                <a:off x="2260" y="3064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55" name="Oval 66"/>
              <p:cNvSpPr>
                <a:spLocks noChangeArrowheads="1"/>
              </p:cNvSpPr>
              <p:nvPr/>
            </p:nvSpPr>
            <p:spPr bwMode="auto">
              <a:xfrm>
                <a:off x="1225" y="3103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56" name="Oval 67"/>
              <p:cNvSpPr>
                <a:spLocks noChangeArrowheads="1"/>
              </p:cNvSpPr>
              <p:nvPr/>
            </p:nvSpPr>
            <p:spPr bwMode="auto">
              <a:xfrm>
                <a:off x="1145" y="2984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57" name="Oval 68"/>
              <p:cNvSpPr>
                <a:spLocks noChangeArrowheads="1"/>
              </p:cNvSpPr>
              <p:nvPr/>
            </p:nvSpPr>
            <p:spPr bwMode="auto">
              <a:xfrm>
                <a:off x="1105" y="2865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58" name="Oval 69"/>
              <p:cNvSpPr>
                <a:spLocks noChangeArrowheads="1"/>
              </p:cNvSpPr>
              <p:nvPr/>
            </p:nvSpPr>
            <p:spPr bwMode="auto">
              <a:xfrm>
                <a:off x="1902" y="2151"/>
                <a:ext cx="79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59" name="Oval 70"/>
              <p:cNvSpPr>
                <a:spLocks noChangeArrowheads="1"/>
              </p:cNvSpPr>
              <p:nvPr/>
            </p:nvSpPr>
            <p:spPr bwMode="auto">
              <a:xfrm>
                <a:off x="1105" y="2746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60" name="Oval 71"/>
              <p:cNvSpPr>
                <a:spLocks noChangeArrowheads="1"/>
              </p:cNvSpPr>
              <p:nvPr/>
            </p:nvSpPr>
            <p:spPr bwMode="auto">
              <a:xfrm>
                <a:off x="1105" y="2627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61" name="Oval 72"/>
              <p:cNvSpPr>
                <a:spLocks noChangeArrowheads="1"/>
              </p:cNvSpPr>
              <p:nvPr/>
            </p:nvSpPr>
            <p:spPr bwMode="auto">
              <a:xfrm>
                <a:off x="1145" y="2508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62" name="Oval 73"/>
              <p:cNvSpPr>
                <a:spLocks noChangeArrowheads="1"/>
              </p:cNvSpPr>
              <p:nvPr/>
            </p:nvSpPr>
            <p:spPr bwMode="auto">
              <a:xfrm>
                <a:off x="1185" y="2389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63" name="Oval 74"/>
              <p:cNvSpPr>
                <a:spLocks noChangeArrowheads="1"/>
              </p:cNvSpPr>
              <p:nvPr/>
            </p:nvSpPr>
            <p:spPr bwMode="auto">
              <a:xfrm>
                <a:off x="1264" y="2270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64" name="Oval 75"/>
              <p:cNvSpPr>
                <a:spLocks noChangeArrowheads="1"/>
              </p:cNvSpPr>
              <p:nvPr/>
            </p:nvSpPr>
            <p:spPr bwMode="auto">
              <a:xfrm>
                <a:off x="1344" y="2190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65" name="Oval 76"/>
              <p:cNvSpPr>
                <a:spLocks noChangeArrowheads="1"/>
              </p:cNvSpPr>
              <p:nvPr/>
            </p:nvSpPr>
            <p:spPr bwMode="auto">
              <a:xfrm>
                <a:off x="1464" y="2151"/>
                <a:ext cx="79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66" name="Oval 77"/>
              <p:cNvSpPr>
                <a:spLocks noChangeArrowheads="1"/>
              </p:cNvSpPr>
              <p:nvPr/>
            </p:nvSpPr>
            <p:spPr bwMode="auto">
              <a:xfrm>
                <a:off x="1623" y="2111"/>
                <a:ext cx="80" cy="79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67" name="Oval 78"/>
              <p:cNvSpPr>
                <a:spLocks noChangeArrowheads="1"/>
              </p:cNvSpPr>
              <p:nvPr/>
            </p:nvSpPr>
            <p:spPr bwMode="auto">
              <a:xfrm>
                <a:off x="1782" y="2111"/>
                <a:ext cx="80" cy="79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68" name="AutoShape 79"/>
              <p:cNvSpPr>
                <a:spLocks noChangeArrowheads="1"/>
              </p:cNvSpPr>
              <p:nvPr/>
            </p:nvSpPr>
            <p:spPr bwMode="auto">
              <a:xfrm>
                <a:off x="2459" y="2588"/>
                <a:ext cx="358" cy="26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79 w 21600"/>
                  <a:gd name="T13" fmla="*/ 5400 h 21600"/>
                  <a:gd name="T14" fmla="*/ 18885 w 21600"/>
                  <a:gd name="T15" fmla="*/ 1620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AutoShape 80"/>
              <p:cNvSpPr>
                <a:spLocks noChangeArrowheads="1"/>
              </p:cNvSpPr>
              <p:nvPr/>
            </p:nvSpPr>
            <p:spPr bwMode="auto">
              <a:xfrm rot="-2095551">
                <a:off x="2340" y="2151"/>
                <a:ext cx="351" cy="26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85 w 21600"/>
                  <a:gd name="T13" fmla="*/ 5400 h 21600"/>
                  <a:gd name="T14" fmla="*/ 18892 w 21600"/>
                  <a:gd name="T15" fmla="*/ 1620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0" name="AutoShape 81"/>
              <p:cNvSpPr>
                <a:spLocks noChangeArrowheads="1"/>
              </p:cNvSpPr>
              <p:nvPr/>
            </p:nvSpPr>
            <p:spPr bwMode="auto">
              <a:xfrm rot="1775881">
                <a:off x="2379" y="3025"/>
                <a:ext cx="343" cy="26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401 w 21600"/>
                  <a:gd name="T13" fmla="*/ 5400 h 21600"/>
                  <a:gd name="T14" fmla="*/ 18892 w 21600"/>
                  <a:gd name="T15" fmla="*/ 1620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1" name="AutoShape 82"/>
              <p:cNvSpPr>
                <a:spLocks noChangeArrowheads="1"/>
              </p:cNvSpPr>
              <p:nvPr/>
            </p:nvSpPr>
            <p:spPr bwMode="auto">
              <a:xfrm rot="9323005">
                <a:off x="787" y="2984"/>
                <a:ext cx="340" cy="26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67 w 21600"/>
                  <a:gd name="T13" fmla="*/ 5400 h 21600"/>
                  <a:gd name="T14" fmla="*/ 18868 w 21600"/>
                  <a:gd name="T15" fmla="*/ 1620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2" name="AutoShape 83"/>
              <p:cNvSpPr>
                <a:spLocks noChangeArrowheads="1"/>
              </p:cNvSpPr>
              <p:nvPr/>
            </p:nvSpPr>
            <p:spPr bwMode="auto">
              <a:xfrm rot="5400000">
                <a:off x="1599" y="3445"/>
                <a:ext cx="318" cy="2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96 w 21600"/>
                  <a:gd name="T13" fmla="*/ 5380 h 21600"/>
                  <a:gd name="T14" fmla="*/ 18883 w 21600"/>
                  <a:gd name="T15" fmla="*/ 1622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3" name="AutoShape 84"/>
              <p:cNvSpPr>
                <a:spLocks noChangeArrowheads="1"/>
              </p:cNvSpPr>
              <p:nvPr/>
            </p:nvSpPr>
            <p:spPr bwMode="auto">
              <a:xfrm rot="-7297549">
                <a:off x="1117" y="1900"/>
                <a:ext cx="326" cy="2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79 w 21600"/>
                  <a:gd name="T13" fmla="*/ 5380 h 21600"/>
                  <a:gd name="T14" fmla="*/ 18883 w 21600"/>
                  <a:gd name="T15" fmla="*/ 1622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4" name="Oval 85"/>
              <p:cNvSpPr>
                <a:spLocks noChangeArrowheads="1"/>
              </p:cNvSpPr>
              <p:nvPr/>
            </p:nvSpPr>
            <p:spPr bwMode="auto">
              <a:xfrm>
                <a:off x="1464" y="2984"/>
                <a:ext cx="79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75" name="Oval 86"/>
              <p:cNvSpPr>
                <a:spLocks noChangeArrowheads="1"/>
              </p:cNvSpPr>
              <p:nvPr/>
            </p:nvSpPr>
            <p:spPr bwMode="auto">
              <a:xfrm>
                <a:off x="1264" y="2865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76" name="Oval 87"/>
              <p:cNvSpPr>
                <a:spLocks noChangeArrowheads="1"/>
              </p:cNvSpPr>
              <p:nvPr/>
            </p:nvSpPr>
            <p:spPr bwMode="auto">
              <a:xfrm>
                <a:off x="1305" y="3183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77" name="Oval 88"/>
              <p:cNvSpPr>
                <a:spLocks noChangeArrowheads="1"/>
              </p:cNvSpPr>
              <p:nvPr/>
            </p:nvSpPr>
            <p:spPr bwMode="auto">
              <a:xfrm>
                <a:off x="1424" y="3263"/>
                <a:ext cx="80" cy="79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78" name="Oval 89"/>
              <p:cNvSpPr>
                <a:spLocks noChangeArrowheads="1"/>
              </p:cNvSpPr>
              <p:nvPr/>
            </p:nvSpPr>
            <p:spPr bwMode="auto">
              <a:xfrm>
                <a:off x="1543" y="3302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79" name="Oval 90"/>
              <p:cNvSpPr>
                <a:spLocks noChangeArrowheads="1"/>
              </p:cNvSpPr>
              <p:nvPr/>
            </p:nvSpPr>
            <p:spPr bwMode="auto">
              <a:xfrm>
                <a:off x="1663" y="3342"/>
                <a:ext cx="80" cy="79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80" name="Oval 91"/>
              <p:cNvSpPr>
                <a:spLocks noChangeArrowheads="1"/>
              </p:cNvSpPr>
              <p:nvPr/>
            </p:nvSpPr>
            <p:spPr bwMode="auto">
              <a:xfrm>
                <a:off x="1782" y="3302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81" name="Oval 92"/>
              <p:cNvSpPr>
                <a:spLocks noChangeArrowheads="1"/>
              </p:cNvSpPr>
              <p:nvPr/>
            </p:nvSpPr>
            <p:spPr bwMode="auto">
              <a:xfrm>
                <a:off x="1902" y="3302"/>
                <a:ext cx="79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82" name="Oval 93"/>
              <p:cNvSpPr>
                <a:spLocks noChangeArrowheads="1"/>
              </p:cNvSpPr>
              <p:nvPr/>
            </p:nvSpPr>
            <p:spPr bwMode="auto">
              <a:xfrm>
                <a:off x="2140" y="3183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83" name="Oval 94"/>
              <p:cNvSpPr>
                <a:spLocks noChangeArrowheads="1"/>
              </p:cNvSpPr>
              <p:nvPr/>
            </p:nvSpPr>
            <p:spPr bwMode="auto">
              <a:xfrm>
                <a:off x="2300" y="2945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84" name="Oval 95"/>
              <p:cNvSpPr>
                <a:spLocks noChangeArrowheads="1"/>
              </p:cNvSpPr>
              <p:nvPr/>
            </p:nvSpPr>
            <p:spPr bwMode="auto">
              <a:xfrm>
                <a:off x="2021" y="3263"/>
                <a:ext cx="80" cy="79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185" name="AutoShape 96"/>
              <p:cNvSpPr>
                <a:spLocks noChangeArrowheads="1"/>
              </p:cNvSpPr>
              <p:nvPr/>
            </p:nvSpPr>
            <p:spPr bwMode="auto">
              <a:xfrm rot="-3739222">
                <a:off x="2021" y="1833"/>
                <a:ext cx="350" cy="2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94 w 21600"/>
                  <a:gd name="T13" fmla="*/ 5380 h 21600"/>
                  <a:gd name="T14" fmla="*/ 18885 w 21600"/>
                  <a:gd name="T15" fmla="*/ 1622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6" name="AutoShape 97"/>
              <p:cNvSpPr>
                <a:spLocks noChangeArrowheads="1"/>
              </p:cNvSpPr>
              <p:nvPr/>
            </p:nvSpPr>
            <p:spPr bwMode="auto">
              <a:xfrm rot="-9262190">
                <a:off x="826" y="2190"/>
                <a:ext cx="327" cy="26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69 w 21600"/>
                  <a:gd name="T13" fmla="*/ 5400 h 21600"/>
                  <a:gd name="T14" fmla="*/ 18892 w 21600"/>
                  <a:gd name="T15" fmla="*/ 1620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7" name="AutoShape 98"/>
              <p:cNvSpPr>
                <a:spLocks noChangeArrowheads="1"/>
              </p:cNvSpPr>
              <p:nvPr/>
            </p:nvSpPr>
            <p:spPr bwMode="auto">
              <a:xfrm rot="7753639">
                <a:off x="1070" y="3298"/>
                <a:ext cx="339" cy="2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77 w 21600"/>
                  <a:gd name="T13" fmla="*/ 5380 h 21600"/>
                  <a:gd name="T14" fmla="*/ 18924 w 21600"/>
                  <a:gd name="T15" fmla="*/ 1622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8" name="AutoShape 99"/>
              <p:cNvSpPr>
                <a:spLocks noChangeArrowheads="1"/>
              </p:cNvSpPr>
              <p:nvPr/>
            </p:nvSpPr>
            <p:spPr bwMode="auto">
              <a:xfrm rot="3103542">
                <a:off x="2064" y="3339"/>
                <a:ext cx="342" cy="26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47 w 21600"/>
                  <a:gd name="T13" fmla="*/ 5400 h 21600"/>
                  <a:gd name="T14" fmla="*/ 18884 w 21600"/>
                  <a:gd name="T15" fmla="*/ 1620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479" name="Rectangle: Rounded Corners 5"/>
          <p:cNvSpPr/>
          <p:nvPr/>
        </p:nvSpPr>
        <p:spPr>
          <a:xfrm>
            <a:off x="7330424" y="3936051"/>
            <a:ext cx="1550161" cy="1512168"/>
          </a:xfrm>
          <a:prstGeom prst="roundRect">
            <a:avLst/>
          </a:prstGeom>
          <a:noFill/>
          <a:ln w="28575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1435" tIns="25719" rIns="51435" bIns="25719" rtlCol="0" anchor="ctr"/>
          <a:lstStyle/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600" b="1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</p:txBody>
      </p:sp>
      <p:sp>
        <p:nvSpPr>
          <p:cNvPr id="480" name="Rectangle 479"/>
          <p:cNvSpPr/>
          <p:nvPr/>
        </p:nvSpPr>
        <p:spPr>
          <a:xfrm rot="5400000">
            <a:off x="7395257" y="4201119"/>
            <a:ext cx="658791" cy="5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81" name="Rectangle 480"/>
          <p:cNvSpPr/>
          <p:nvPr/>
        </p:nvSpPr>
        <p:spPr>
          <a:xfrm rot="5400000">
            <a:off x="7563956" y="4020641"/>
            <a:ext cx="369168" cy="70872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82" name="Rectangle 481"/>
          <p:cNvSpPr/>
          <p:nvPr/>
        </p:nvSpPr>
        <p:spPr>
          <a:xfrm>
            <a:off x="7489049" y="4187648"/>
            <a:ext cx="482400" cy="324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484" name="组合 494"/>
          <p:cNvGrpSpPr>
            <a:grpSpLocks/>
          </p:cNvGrpSpPr>
          <p:nvPr/>
        </p:nvGrpSpPr>
        <p:grpSpPr bwMode="auto">
          <a:xfrm>
            <a:off x="7549638" y="4205259"/>
            <a:ext cx="1112897" cy="1008059"/>
            <a:chOff x="1122363" y="2720975"/>
            <a:chExt cx="3349625" cy="3214688"/>
          </a:xfrm>
        </p:grpSpPr>
        <p:sp>
          <p:nvSpPr>
            <p:cNvPr id="485" name="AutoShape 2"/>
            <p:cNvSpPr>
              <a:spLocks noChangeArrowheads="1"/>
            </p:cNvSpPr>
            <p:nvPr/>
          </p:nvSpPr>
          <p:spPr bwMode="auto">
            <a:xfrm rot="10800000">
              <a:off x="1122363" y="4108450"/>
              <a:ext cx="541337" cy="425450"/>
            </a:xfrm>
            <a:custGeom>
              <a:avLst/>
              <a:gdLst>
                <a:gd name="T0" fmla="*/ 2147483647 w 21600"/>
                <a:gd name="T1" fmla="*/ 0 h 21600"/>
                <a:gd name="T2" fmla="*/ 0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5400 h 21600"/>
                <a:gd name="T14" fmla="*/ 18900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86" name="AutoShape 3"/>
            <p:cNvSpPr>
              <a:spLocks noChangeArrowheads="1"/>
            </p:cNvSpPr>
            <p:nvPr/>
          </p:nvSpPr>
          <p:spPr bwMode="auto">
            <a:xfrm rot="-5400000">
              <a:off x="2520157" y="2777331"/>
              <a:ext cx="539750" cy="427037"/>
            </a:xfrm>
            <a:custGeom>
              <a:avLst/>
              <a:gdLst>
                <a:gd name="T0" fmla="*/ 2147483647 w 21600"/>
                <a:gd name="T1" fmla="*/ 0 h 21600"/>
                <a:gd name="T2" fmla="*/ 0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5400 h 21600"/>
                <a:gd name="T14" fmla="*/ 18900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grpSp>
          <p:nvGrpSpPr>
            <p:cNvPr id="487" name="Group 4"/>
            <p:cNvGrpSpPr>
              <a:grpSpLocks/>
            </p:cNvGrpSpPr>
            <p:nvPr/>
          </p:nvGrpSpPr>
          <p:grpSpPr bwMode="auto">
            <a:xfrm>
              <a:off x="1249364" y="2846391"/>
              <a:ext cx="3222626" cy="3089277"/>
              <a:chOff x="787" y="1793"/>
              <a:chExt cx="2030" cy="1946"/>
            </a:xfrm>
          </p:grpSpPr>
          <p:sp>
            <p:nvSpPr>
              <p:cNvPr id="488" name="Oval 5"/>
              <p:cNvSpPr>
                <a:spLocks noChangeArrowheads="1"/>
              </p:cNvSpPr>
              <p:nvPr/>
            </p:nvSpPr>
            <p:spPr bwMode="auto">
              <a:xfrm>
                <a:off x="1066" y="2071"/>
                <a:ext cx="1393" cy="1350"/>
              </a:xfrm>
              <a:prstGeom prst="ellipse">
                <a:avLst/>
              </a:prstGeom>
              <a:solidFill>
                <a:srgbClr val="D7AFFF">
                  <a:alpha val="81175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489" name="Oval 6"/>
              <p:cNvSpPr>
                <a:spLocks noChangeArrowheads="1"/>
              </p:cNvSpPr>
              <p:nvPr/>
            </p:nvSpPr>
            <p:spPr bwMode="auto">
              <a:xfrm>
                <a:off x="1185" y="2190"/>
                <a:ext cx="1155" cy="1112"/>
              </a:xfrm>
              <a:prstGeom prst="ellipse">
                <a:avLst/>
              </a:prstGeom>
              <a:solidFill>
                <a:srgbClr val="BBE0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490" name="Oval 7"/>
              <p:cNvSpPr>
                <a:spLocks noChangeArrowheads="1"/>
              </p:cNvSpPr>
              <p:nvPr/>
            </p:nvSpPr>
            <p:spPr bwMode="auto">
              <a:xfrm>
                <a:off x="1902" y="2906"/>
                <a:ext cx="79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491" name="Oval 8"/>
              <p:cNvSpPr>
                <a:spLocks noChangeArrowheads="1"/>
              </p:cNvSpPr>
              <p:nvPr/>
            </p:nvSpPr>
            <p:spPr bwMode="auto">
              <a:xfrm>
                <a:off x="1385" y="3064"/>
                <a:ext cx="79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492" name="Oval 9"/>
              <p:cNvSpPr>
                <a:spLocks noChangeArrowheads="1"/>
              </p:cNvSpPr>
              <p:nvPr/>
            </p:nvSpPr>
            <p:spPr bwMode="auto">
              <a:xfrm>
                <a:off x="1385" y="2349"/>
                <a:ext cx="79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493" name="Oval 10"/>
              <p:cNvSpPr>
                <a:spLocks noChangeArrowheads="1"/>
              </p:cNvSpPr>
              <p:nvPr/>
            </p:nvSpPr>
            <p:spPr bwMode="auto">
              <a:xfrm>
                <a:off x="1305" y="2984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494" name="Oval 11"/>
              <p:cNvSpPr>
                <a:spLocks noChangeArrowheads="1"/>
              </p:cNvSpPr>
              <p:nvPr/>
            </p:nvSpPr>
            <p:spPr bwMode="auto">
              <a:xfrm>
                <a:off x="1583" y="3025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495" name="Oval 12"/>
              <p:cNvSpPr>
                <a:spLocks noChangeArrowheads="1"/>
              </p:cNvSpPr>
              <p:nvPr/>
            </p:nvSpPr>
            <p:spPr bwMode="auto">
              <a:xfrm>
                <a:off x="1264" y="2547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496" name="Oval 13"/>
              <p:cNvSpPr>
                <a:spLocks noChangeArrowheads="1"/>
              </p:cNvSpPr>
              <p:nvPr/>
            </p:nvSpPr>
            <p:spPr bwMode="auto">
              <a:xfrm>
                <a:off x="1305" y="2428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497" name="Oval 14"/>
              <p:cNvSpPr>
                <a:spLocks noChangeArrowheads="1"/>
              </p:cNvSpPr>
              <p:nvPr/>
            </p:nvSpPr>
            <p:spPr bwMode="auto">
              <a:xfrm>
                <a:off x="1464" y="2270"/>
                <a:ext cx="79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498" name="Oval 15"/>
              <p:cNvSpPr>
                <a:spLocks noChangeArrowheads="1"/>
              </p:cNvSpPr>
              <p:nvPr/>
            </p:nvSpPr>
            <p:spPr bwMode="auto">
              <a:xfrm>
                <a:off x="1822" y="2230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499" name="Oval 16"/>
              <p:cNvSpPr>
                <a:spLocks noChangeArrowheads="1"/>
              </p:cNvSpPr>
              <p:nvPr/>
            </p:nvSpPr>
            <p:spPr bwMode="auto">
              <a:xfrm>
                <a:off x="1942" y="2270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500" name="Oval 17"/>
              <p:cNvSpPr>
                <a:spLocks noChangeArrowheads="1"/>
              </p:cNvSpPr>
              <p:nvPr/>
            </p:nvSpPr>
            <p:spPr bwMode="auto">
              <a:xfrm>
                <a:off x="1702" y="2190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501" name="Oval 18"/>
              <p:cNvSpPr>
                <a:spLocks noChangeArrowheads="1"/>
              </p:cNvSpPr>
              <p:nvPr/>
            </p:nvSpPr>
            <p:spPr bwMode="auto">
              <a:xfrm>
                <a:off x="2021" y="2349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502" name="Oval 19"/>
              <p:cNvSpPr>
                <a:spLocks noChangeArrowheads="1"/>
              </p:cNvSpPr>
              <p:nvPr/>
            </p:nvSpPr>
            <p:spPr bwMode="auto">
              <a:xfrm>
                <a:off x="2101" y="2428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503" name="Oval 20"/>
              <p:cNvSpPr>
                <a:spLocks noChangeArrowheads="1"/>
              </p:cNvSpPr>
              <p:nvPr/>
            </p:nvSpPr>
            <p:spPr bwMode="auto">
              <a:xfrm>
                <a:off x="2220" y="2588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504" name="Oval 21"/>
              <p:cNvSpPr>
                <a:spLocks noChangeArrowheads="1"/>
              </p:cNvSpPr>
              <p:nvPr/>
            </p:nvSpPr>
            <p:spPr bwMode="auto">
              <a:xfrm>
                <a:off x="1424" y="2508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505" name="Oval 22"/>
              <p:cNvSpPr>
                <a:spLocks noChangeArrowheads="1"/>
              </p:cNvSpPr>
              <p:nvPr/>
            </p:nvSpPr>
            <p:spPr bwMode="auto">
              <a:xfrm>
                <a:off x="1504" y="3144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zh-CN" sz="1400">
                  <a:solidFill>
                    <a:srgbClr val="444492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506" name="Oval 23"/>
              <p:cNvSpPr>
                <a:spLocks noChangeArrowheads="1"/>
              </p:cNvSpPr>
              <p:nvPr/>
            </p:nvSpPr>
            <p:spPr bwMode="auto">
              <a:xfrm>
                <a:off x="1623" y="3183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07" name="Oval 24"/>
              <p:cNvSpPr>
                <a:spLocks noChangeArrowheads="1"/>
              </p:cNvSpPr>
              <p:nvPr/>
            </p:nvSpPr>
            <p:spPr bwMode="auto">
              <a:xfrm>
                <a:off x="1702" y="3025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08" name="Oval 25"/>
              <p:cNvSpPr>
                <a:spLocks noChangeArrowheads="1"/>
              </p:cNvSpPr>
              <p:nvPr/>
            </p:nvSpPr>
            <p:spPr bwMode="auto">
              <a:xfrm>
                <a:off x="1385" y="2865"/>
                <a:ext cx="79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09" name="Oval 26"/>
              <p:cNvSpPr>
                <a:spLocks noChangeArrowheads="1"/>
              </p:cNvSpPr>
              <p:nvPr/>
            </p:nvSpPr>
            <p:spPr bwMode="auto">
              <a:xfrm>
                <a:off x="1305" y="2746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10" name="Oval 27"/>
              <p:cNvSpPr>
                <a:spLocks noChangeArrowheads="1"/>
              </p:cNvSpPr>
              <p:nvPr/>
            </p:nvSpPr>
            <p:spPr bwMode="auto">
              <a:xfrm>
                <a:off x="1225" y="2667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11" name="Oval 28"/>
              <p:cNvSpPr>
                <a:spLocks noChangeArrowheads="1"/>
              </p:cNvSpPr>
              <p:nvPr/>
            </p:nvSpPr>
            <p:spPr bwMode="auto">
              <a:xfrm>
                <a:off x="1583" y="2508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12" name="Oval 29"/>
              <p:cNvSpPr>
                <a:spLocks noChangeArrowheads="1"/>
              </p:cNvSpPr>
              <p:nvPr/>
            </p:nvSpPr>
            <p:spPr bwMode="auto">
              <a:xfrm>
                <a:off x="1822" y="3025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13" name="Oval 30"/>
              <p:cNvSpPr>
                <a:spLocks noChangeArrowheads="1"/>
              </p:cNvSpPr>
              <p:nvPr/>
            </p:nvSpPr>
            <p:spPr bwMode="auto">
              <a:xfrm>
                <a:off x="1504" y="2826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14" name="Oval 31"/>
              <p:cNvSpPr>
                <a:spLocks noChangeArrowheads="1"/>
              </p:cNvSpPr>
              <p:nvPr/>
            </p:nvSpPr>
            <p:spPr bwMode="auto">
              <a:xfrm>
                <a:off x="1623" y="2746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15" name="Oval 32"/>
              <p:cNvSpPr>
                <a:spLocks noChangeArrowheads="1"/>
              </p:cNvSpPr>
              <p:nvPr/>
            </p:nvSpPr>
            <p:spPr bwMode="auto">
              <a:xfrm>
                <a:off x="1782" y="3183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16" name="Oval 33"/>
              <p:cNvSpPr>
                <a:spLocks noChangeArrowheads="1"/>
              </p:cNvSpPr>
              <p:nvPr/>
            </p:nvSpPr>
            <p:spPr bwMode="auto">
              <a:xfrm>
                <a:off x="1902" y="2428"/>
                <a:ext cx="79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17" name="Oval 34"/>
              <p:cNvSpPr>
                <a:spLocks noChangeArrowheads="1"/>
              </p:cNvSpPr>
              <p:nvPr/>
            </p:nvSpPr>
            <p:spPr bwMode="auto">
              <a:xfrm>
                <a:off x="1583" y="2230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18" name="Oval 35"/>
              <p:cNvSpPr>
                <a:spLocks noChangeArrowheads="1"/>
              </p:cNvSpPr>
              <p:nvPr/>
            </p:nvSpPr>
            <p:spPr bwMode="auto">
              <a:xfrm>
                <a:off x="1543" y="2389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19" name="Oval 36"/>
              <p:cNvSpPr>
                <a:spLocks noChangeArrowheads="1"/>
              </p:cNvSpPr>
              <p:nvPr/>
            </p:nvSpPr>
            <p:spPr bwMode="auto">
              <a:xfrm>
                <a:off x="1782" y="2389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20" name="Oval 37"/>
              <p:cNvSpPr>
                <a:spLocks noChangeArrowheads="1"/>
              </p:cNvSpPr>
              <p:nvPr/>
            </p:nvSpPr>
            <p:spPr bwMode="auto">
              <a:xfrm>
                <a:off x="1385" y="2667"/>
                <a:ext cx="79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21" name="Oval 38"/>
              <p:cNvSpPr>
                <a:spLocks noChangeArrowheads="1"/>
              </p:cNvSpPr>
              <p:nvPr/>
            </p:nvSpPr>
            <p:spPr bwMode="auto">
              <a:xfrm>
                <a:off x="1663" y="2349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22" name="Oval 39"/>
              <p:cNvSpPr>
                <a:spLocks noChangeArrowheads="1"/>
              </p:cNvSpPr>
              <p:nvPr/>
            </p:nvSpPr>
            <p:spPr bwMode="auto">
              <a:xfrm>
                <a:off x="1981" y="2508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23" name="Oval 40"/>
              <p:cNvSpPr>
                <a:spLocks noChangeArrowheads="1"/>
              </p:cNvSpPr>
              <p:nvPr/>
            </p:nvSpPr>
            <p:spPr bwMode="auto">
              <a:xfrm>
                <a:off x="1743" y="2746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24" name="Oval 41"/>
              <p:cNvSpPr>
                <a:spLocks noChangeArrowheads="1"/>
              </p:cNvSpPr>
              <p:nvPr/>
            </p:nvSpPr>
            <p:spPr bwMode="auto">
              <a:xfrm>
                <a:off x="1623" y="2906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25" name="Oval 42"/>
              <p:cNvSpPr>
                <a:spLocks noChangeArrowheads="1"/>
              </p:cNvSpPr>
              <p:nvPr/>
            </p:nvSpPr>
            <p:spPr bwMode="auto">
              <a:xfrm>
                <a:off x="1981" y="2984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26" name="Oval 43"/>
              <p:cNvSpPr>
                <a:spLocks noChangeArrowheads="1"/>
              </p:cNvSpPr>
              <p:nvPr/>
            </p:nvSpPr>
            <p:spPr bwMode="auto">
              <a:xfrm>
                <a:off x="2021" y="2826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27" name="Oval 44"/>
              <p:cNvSpPr>
                <a:spLocks noChangeArrowheads="1"/>
              </p:cNvSpPr>
              <p:nvPr/>
            </p:nvSpPr>
            <p:spPr bwMode="auto">
              <a:xfrm>
                <a:off x="1504" y="2667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28" name="Oval 45"/>
              <p:cNvSpPr>
                <a:spLocks noChangeArrowheads="1"/>
              </p:cNvSpPr>
              <p:nvPr/>
            </p:nvSpPr>
            <p:spPr bwMode="auto">
              <a:xfrm>
                <a:off x="2220" y="2707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29" name="Oval 46"/>
              <p:cNvSpPr>
                <a:spLocks noChangeArrowheads="1"/>
              </p:cNvSpPr>
              <p:nvPr/>
            </p:nvSpPr>
            <p:spPr bwMode="auto">
              <a:xfrm>
                <a:off x="2181" y="2508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30" name="Oval 47"/>
              <p:cNvSpPr>
                <a:spLocks noChangeArrowheads="1"/>
              </p:cNvSpPr>
              <p:nvPr/>
            </p:nvSpPr>
            <p:spPr bwMode="auto">
              <a:xfrm>
                <a:off x="1743" y="2508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31" name="Oval 48"/>
              <p:cNvSpPr>
                <a:spLocks noChangeArrowheads="1"/>
              </p:cNvSpPr>
              <p:nvPr/>
            </p:nvSpPr>
            <p:spPr bwMode="auto">
              <a:xfrm>
                <a:off x="2181" y="2945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32" name="Oval 49"/>
              <p:cNvSpPr>
                <a:spLocks noChangeArrowheads="1"/>
              </p:cNvSpPr>
              <p:nvPr/>
            </p:nvSpPr>
            <p:spPr bwMode="auto">
              <a:xfrm>
                <a:off x="1981" y="2667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33" name="Oval 50"/>
              <p:cNvSpPr>
                <a:spLocks noChangeArrowheads="1"/>
              </p:cNvSpPr>
              <p:nvPr/>
            </p:nvSpPr>
            <p:spPr bwMode="auto">
              <a:xfrm>
                <a:off x="1663" y="2627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34" name="Oval 51"/>
              <p:cNvSpPr>
                <a:spLocks noChangeArrowheads="1"/>
              </p:cNvSpPr>
              <p:nvPr/>
            </p:nvSpPr>
            <p:spPr bwMode="auto">
              <a:xfrm>
                <a:off x="2061" y="3064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35" name="Oval 52"/>
              <p:cNvSpPr>
                <a:spLocks noChangeArrowheads="1"/>
              </p:cNvSpPr>
              <p:nvPr/>
            </p:nvSpPr>
            <p:spPr bwMode="auto">
              <a:xfrm>
                <a:off x="2220" y="2826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36" name="Oval 53"/>
              <p:cNvSpPr>
                <a:spLocks noChangeArrowheads="1"/>
              </p:cNvSpPr>
              <p:nvPr/>
            </p:nvSpPr>
            <p:spPr bwMode="auto">
              <a:xfrm>
                <a:off x="2140" y="2746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37" name="Oval 54"/>
              <p:cNvSpPr>
                <a:spLocks noChangeArrowheads="1"/>
              </p:cNvSpPr>
              <p:nvPr/>
            </p:nvSpPr>
            <p:spPr bwMode="auto">
              <a:xfrm>
                <a:off x="1822" y="2627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38" name="Oval 55"/>
              <p:cNvSpPr>
                <a:spLocks noChangeArrowheads="1"/>
              </p:cNvSpPr>
              <p:nvPr/>
            </p:nvSpPr>
            <p:spPr bwMode="auto">
              <a:xfrm>
                <a:off x="1782" y="2865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39" name="Oval 56"/>
              <p:cNvSpPr>
                <a:spLocks noChangeArrowheads="1"/>
              </p:cNvSpPr>
              <p:nvPr/>
            </p:nvSpPr>
            <p:spPr bwMode="auto">
              <a:xfrm>
                <a:off x="2101" y="2627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40" name="Oval 57"/>
              <p:cNvSpPr>
                <a:spLocks noChangeArrowheads="1"/>
              </p:cNvSpPr>
              <p:nvPr/>
            </p:nvSpPr>
            <p:spPr bwMode="auto">
              <a:xfrm>
                <a:off x="1942" y="3144"/>
                <a:ext cx="80" cy="79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41" name="Oval 58"/>
              <p:cNvSpPr>
                <a:spLocks noChangeArrowheads="1"/>
              </p:cNvSpPr>
              <p:nvPr/>
            </p:nvSpPr>
            <p:spPr bwMode="auto">
              <a:xfrm>
                <a:off x="1902" y="2746"/>
                <a:ext cx="79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42" name="Oval 59"/>
              <p:cNvSpPr>
                <a:spLocks noChangeArrowheads="1"/>
              </p:cNvSpPr>
              <p:nvPr/>
            </p:nvSpPr>
            <p:spPr bwMode="auto">
              <a:xfrm>
                <a:off x="2260" y="2389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43" name="Oval 60"/>
              <p:cNvSpPr>
                <a:spLocks noChangeArrowheads="1"/>
              </p:cNvSpPr>
              <p:nvPr/>
            </p:nvSpPr>
            <p:spPr bwMode="auto">
              <a:xfrm>
                <a:off x="2140" y="2270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44" name="Oval 61"/>
              <p:cNvSpPr>
                <a:spLocks noChangeArrowheads="1"/>
              </p:cNvSpPr>
              <p:nvPr/>
            </p:nvSpPr>
            <p:spPr bwMode="auto">
              <a:xfrm>
                <a:off x="2061" y="2190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45" name="Oval 62"/>
              <p:cNvSpPr>
                <a:spLocks noChangeArrowheads="1"/>
              </p:cNvSpPr>
              <p:nvPr/>
            </p:nvSpPr>
            <p:spPr bwMode="auto">
              <a:xfrm>
                <a:off x="2340" y="2547"/>
                <a:ext cx="79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46" name="Oval 63"/>
              <p:cNvSpPr>
                <a:spLocks noChangeArrowheads="1"/>
              </p:cNvSpPr>
              <p:nvPr/>
            </p:nvSpPr>
            <p:spPr bwMode="auto">
              <a:xfrm>
                <a:off x="2340" y="2707"/>
                <a:ext cx="79" cy="79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47" name="Oval 64"/>
              <p:cNvSpPr>
                <a:spLocks noChangeArrowheads="1"/>
              </p:cNvSpPr>
              <p:nvPr/>
            </p:nvSpPr>
            <p:spPr bwMode="auto">
              <a:xfrm>
                <a:off x="2340" y="2826"/>
                <a:ext cx="79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48" name="Oval 65"/>
              <p:cNvSpPr>
                <a:spLocks noChangeArrowheads="1"/>
              </p:cNvSpPr>
              <p:nvPr/>
            </p:nvSpPr>
            <p:spPr bwMode="auto">
              <a:xfrm>
                <a:off x="2260" y="3064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49" name="Oval 66"/>
              <p:cNvSpPr>
                <a:spLocks noChangeArrowheads="1"/>
              </p:cNvSpPr>
              <p:nvPr/>
            </p:nvSpPr>
            <p:spPr bwMode="auto">
              <a:xfrm>
                <a:off x="1225" y="3103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50" name="Oval 67"/>
              <p:cNvSpPr>
                <a:spLocks noChangeArrowheads="1"/>
              </p:cNvSpPr>
              <p:nvPr/>
            </p:nvSpPr>
            <p:spPr bwMode="auto">
              <a:xfrm>
                <a:off x="1145" y="2984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51" name="Oval 68"/>
              <p:cNvSpPr>
                <a:spLocks noChangeArrowheads="1"/>
              </p:cNvSpPr>
              <p:nvPr/>
            </p:nvSpPr>
            <p:spPr bwMode="auto">
              <a:xfrm>
                <a:off x="1105" y="2865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52" name="Oval 69"/>
              <p:cNvSpPr>
                <a:spLocks noChangeArrowheads="1"/>
              </p:cNvSpPr>
              <p:nvPr/>
            </p:nvSpPr>
            <p:spPr bwMode="auto">
              <a:xfrm>
                <a:off x="1902" y="2151"/>
                <a:ext cx="79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53" name="Oval 70"/>
              <p:cNvSpPr>
                <a:spLocks noChangeArrowheads="1"/>
              </p:cNvSpPr>
              <p:nvPr/>
            </p:nvSpPr>
            <p:spPr bwMode="auto">
              <a:xfrm>
                <a:off x="1105" y="2746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54" name="Oval 71"/>
              <p:cNvSpPr>
                <a:spLocks noChangeArrowheads="1"/>
              </p:cNvSpPr>
              <p:nvPr/>
            </p:nvSpPr>
            <p:spPr bwMode="auto">
              <a:xfrm>
                <a:off x="1105" y="2627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55" name="Oval 72"/>
              <p:cNvSpPr>
                <a:spLocks noChangeArrowheads="1"/>
              </p:cNvSpPr>
              <p:nvPr/>
            </p:nvSpPr>
            <p:spPr bwMode="auto">
              <a:xfrm>
                <a:off x="1145" y="2508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56" name="Oval 73"/>
              <p:cNvSpPr>
                <a:spLocks noChangeArrowheads="1"/>
              </p:cNvSpPr>
              <p:nvPr/>
            </p:nvSpPr>
            <p:spPr bwMode="auto">
              <a:xfrm>
                <a:off x="1185" y="2389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57" name="Oval 74"/>
              <p:cNvSpPr>
                <a:spLocks noChangeArrowheads="1"/>
              </p:cNvSpPr>
              <p:nvPr/>
            </p:nvSpPr>
            <p:spPr bwMode="auto">
              <a:xfrm>
                <a:off x="1264" y="2270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58" name="Oval 75"/>
              <p:cNvSpPr>
                <a:spLocks noChangeArrowheads="1"/>
              </p:cNvSpPr>
              <p:nvPr/>
            </p:nvSpPr>
            <p:spPr bwMode="auto">
              <a:xfrm>
                <a:off x="1344" y="2190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59" name="Oval 76"/>
              <p:cNvSpPr>
                <a:spLocks noChangeArrowheads="1"/>
              </p:cNvSpPr>
              <p:nvPr/>
            </p:nvSpPr>
            <p:spPr bwMode="auto">
              <a:xfrm>
                <a:off x="1464" y="2151"/>
                <a:ext cx="79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60" name="Oval 77"/>
              <p:cNvSpPr>
                <a:spLocks noChangeArrowheads="1"/>
              </p:cNvSpPr>
              <p:nvPr/>
            </p:nvSpPr>
            <p:spPr bwMode="auto">
              <a:xfrm>
                <a:off x="1623" y="2111"/>
                <a:ext cx="80" cy="79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61" name="Oval 78"/>
              <p:cNvSpPr>
                <a:spLocks noChangeArrowheads="1"/>
              </p:cNvSpPr>
              <p:nvPr/>
            </p:nvSpPr>
            <p:spPr bwMode="auto">
              <a:xfrm>
                <a:off x="1782" y="2111"/>
                <a:ext cx="80" cy="79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62" name="AutoShape 79"/>
              <p:cNvSpPr>
                <a:spLocks noChangeArrowheads="1"/>
              </p:cNvSpPr>
              <p:nvPr/>
            </p:nvSpPr>
            <p:spPr bwMode="auto">
              <a:xfrm>
                <a:off x="2459" y="2588"/>
                <a:ext cx="358" cy="26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79 w 21600"/>
                  <a:gd name="T13" fmla="*/ 5400 h 21600"/>
                  <a:gd name="T14" fmla="*/ 18885 w 21600"/>
                  <a:gd name="T15" fmla="*/ 1620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3" name="AutoShape 80"/>
              <p:cNvSpPr>
                <a:spLocks noChangeArrowheads="1"/>
              </p:cNvSpPr>
              <p:nvPr/>
            </p:nvSpPr>
            <p:spPr bwMode="auto">
              <a:xfrm rot="-2095551">
                <a:off x="2340" y="2151"/>
                <a:ext cx="351" cy="26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85 w 21600"/>
                  <a:gd name="T13" fmla="*/ 5400 h 21600"/>
                  <a:gd name="T14" fmla="*/ 18892 w 21600"/>
                  <a:gd name="T15" fmla="*/ 1620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4" name="AutoShape 81"/>
              <p:cNvSpPr>
                <a:spLocks noChangeArrowheads="1"/>
              </p:cNvSpPr>
              <p:nvPr/>
            </p:nvSpPr>
            <p:spPr bwMode="auto">
              <a:xfrm rot="1775881">
                <a:off x="2379" y="3025"/>
                <a:ext cx="343" cy="26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401 w 21600"/>
                  <a:gd name="T13" fmla="*/ 5400 h 21600"/>
                  <a:gd name="T14" fmla="*/ 18892 w 21600"/>
                  <a:gd name="T15" fmla="*/ 1620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5" name="AutoShape 82"/>
              <p:cNvSpPr>
                <a:spLocks noChangeArrowheads="1"/>
              </p:cNvSpPr>
              <p:nvPr/>
            </p:nvSpPr>
            <p:spPr bwMode="auto">
              <a:xfrm rot="9323005">
                <a:off x="787" y="2984"/>
                <a:ext cx="340" cy="26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67 w 21600"/>
                  <a:gd name="T13" fmla="*/ 5400 h 21600"/>
                  <a:gd name="T14" fmla="*/ 18868 w 21600"/>
                  <a:gd name="T15" fmla="*/ 1620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6" name="AutoShape 83"/>
              <p:cNvSpPr>
                <a:spLocks noChangeArrowheads="1"/>
              </p:cNvSpPr>
              <p:nvPr/>
            </p:nvSpPr>
            <p:spPr bwMode="auto">
              <a:xfrm rot="5400000">
                <a:off x="1599" y="3445"/>
                <a:ext cx="318" cy="2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96 w 21600"/>
                  <a:gd name="T13" fmla="*/ 5380 h 21600"/>
                  <a:gd name="T14" fmla="*/ 18883 w 21600"/>
                  <a:gd name="T15" fmla="*/ 1622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7" name="AutoShape 84"/>
              <p:cNvSpPr>
                <a:spLocks noChangeArrowheads="1"/>
              </p:cNvSpPr>
              <p:nvPr/>
            </p:nvSpPr>
            <p:spPr bwMode="auto">
              <a:xfrm rot="-7297549">
                <a:off x="1117" y="1900"/>
                <a:ext cx="326" cy="2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79 w 21600"/>
                  <a:gd name="T13" fmla="*/ 5380 h 21600"/>
                  <a:gd name="T14" fmla="*/ 18883 w 21600"/>
                  <a:gd name="T15" fmla="*/ 1622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8" name="Oval 85"/>
              <p:cNvSpPr>
                <a:spLocks noChangeArrowheads="1"/>
              </p:cNvSpPr>
              <p:nvPr/>
            </p:nvSpPr>
            <p:spPr bwMode="auto">
              <a:xfrm>
                <a:off x="1464" y="2984"/>
                <a:ext cx="79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69" name="Oval 86"/>
              <p:cNvSpPr>
                <a:spLocks noChangeArrowheads="1"/>
              </p:cNvSpPr>
              <p:nvPr/>
            </p:nvSpPr>
            <p:spPr bwMode="auto">
              <a:xfrm>
                <a:off x="1264" y="2865"/>
                <a:ext cx="80" cy="80"/>
              </a:xfrm>
              <a:prstGeom prst="ellipse">
                <a:avLst/>
              </a:prstGeom>
              <a:solidFill>
                <a:srgbClr val="9900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70" name="Oval 87"/>
              <p:cNvSpPr>
                <a:spLocks noChangeArrowheads="1"/>
              </p:cNvSpPr>
              <p:nvPr/>
            </p:nvSpPr>
            <p:spPr bwMode="auto">
              <a:xfrm>
                <a:off x="1305" y="3183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71" name="Oval 88"/>
              <p:cNvSpPr>
                <a:spLocks noChangeArrowheads="1"/>
              </p:cNvSpPr>
              <p:nvPr/>
            </p:nvSpPr>
            <p:spPr bwMode="auto">
              <a:xfrm>
                <a:off x="1424" y="3263"/>
                <a:ext cx="80" cy="79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72" name="Oval 89"/>
              <p:cNvSpPr>
                <a:spLocks noChangeArrowheads="1"/>
              </p:cNvSpPr>
              <p:nvPr/>
            </p:nvSpPr>
            <p:spPr bwMode="auto">
              <a:xfrm>
                <a:off x="1543" y="3302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73" name="Oval 90"/>
              <p:cNvSpPr>
                <a:spLocks noChangeArrowheads="1"/>
              </p:cNvSpPr>
              <p:nvPr/>
            </p:nvSpPr>
            <p:spPr bwMode="auto">
              <a:xfrm>
                <a:off x="1663" y="3342"/>
                <a:ext cx="80" cy="79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74" name="Oval 91"/>
              <p:cNvSpPr>
                <a:spLocks noChangeArrowheads="1"/>
              </p:cNvSpPr>
              <p:nvPr/>
            </p:nvSpPr>
            <p:spPr bwMode="auto">
              <a:xfrm>
                <a:off x="1782" y="3302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75" name="Oval 92"/>
              <p:cNvSpPr>
                <a:spLocks noChangeArrowheads="1"/>
              </p:cNvSpPr>
              <p:nvPr/>
            </p:nvSpPr>
            <p:spPr bwMode="auto">
              <a:xfrm>
                <a:off x="1902" y="3302"/>
                <a:ext cx="79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76" name="Oval 93"/>
              <p:cNvSpPr>
                <a:spLocks noChangeArrowheads="1"/>
              </p:cNvSpPr>
              <p:nvPr/>
            </p:nvSpPr>
            <p:spPr bwMode="auto">
              <a:xfrm>
                <a:off x="2140" y="3183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77" name="Oval 94"/>
              <p:cNvSpPr>
                <a:spLocks noChangeArrowheads="1"/>
              </p:cNvSpPr>
              <p:nvPr/>
            </p:nvSpPr>
            <p:spPr bwMode="auto">
              <a:xfrm>
                <a:off x="2300" y="2945"/>
                <a:ext cx="80" cy="80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78" name="Oval 95"/>
              <p:cNvSpPr>
                <a:spLocks noChangeArrowheads="1"/>
              </p:cNvSpPr>
              <p:nvPr/>
            </p:nvSpPr>
            <p:spPr bwMode="auto">
              <a:xfrm>
                <a:off x="2021" y="3263"/>
                <a:ext cx="80" cy="79"/>
              </a:xfrm>
              <a:prstGeom prst="ellipse">
                <a:avLst/>
              </a:prstGeom>
              <a:gradFill rotWithShape="1">
                <a:gsLst>
                  <a:gs pos="0">
                    <a:srgbClr val="990099"/>
                  </a:gs>
                  <a:gs pos="100000">
                    <a:srgbClr val="D7AFFF">
                      <a:alpha val="1400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189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400">
                  <a:solidFill>
                    <a:srgbClr val="444492"/>
                  </a:solidFill>
                  <a:ea typeface="SimSun" pitchFamily="2" charset="-122"/>
                </a:endParaRPr>
              </a:p>
            </p:txBody>
          </p:sp>
          <p:sp>
            <p:nvSpPr>
              <p:cNvPr id="579" name="AutoShape 96"/>
              <p:cNvSpPr>
                <a:spLocks noChangeArrowheads="1"/>
              </p:cNvSpPr>
              <p:nvPr/>
            </p:nvSpPr>
            <p:spPr bwMode="auto">
              <a:xfrm rot="-3739222">
                <a:off x="2021" y="1833"/>
                <a:ext cx="350" cy="2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94 w 21600"/>
                  <a:gd name="T13" fmla="*/ 5380 h 21600"/>
                  <a:gd name="T14" fmla="*/ 18885 w 21600"/>
                  <a:gd name="T15" fmla="*/ 1622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0" name="AutoShape 97"/>
              <p:cNvSpPr>
                <a:spLocks noChangeArrowheads="1"/>
              </p:cNvSpPr>
              <p:nvPr/>
            </p:nvSpPr>
            <p:spPr bwMode="auto">
              <a:xfrm rot="-9262190">
                <a:off x="826" y="2190"/>
                <a:ext cx="327" cy="26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69 w 21600"/>
                  <a:gd name="T13" fmla="*/ 5400 h 21600"/>
                  <a:gd name="T14" fmla="*/ 18892 w 21600"/>
                  <a:gd name="T15" fmla="*/ 1620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1" name="AutoShape 98"/>
              <p:cNvSpPr>
                <a:spLocks noChangeArrowheads="1"/>
              </p:cNvSpPr>
              <p:nvPr/>
            </p:nvSpPr>
            <p:spPr bwMode="auto">
              <a:xfrm rot="7753639">
                <a:off x="1070" y="3298"/>
                <a:ext cx="339" cy="269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77 w 21600"/>
                  <a:gd name="T13" fmla="*/ 5380 h 21600"/>
                  <a:gd name="T14" fmla="*/ 18924 w 21600"/>
                  <a:gd name="T15" fmla="*/ 1622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2" name="AutoShape 99"/>
              <p:cNvSpPr>
                <a:spLocks noChangeArrowheads="1"/>
              </p:cNvSpPr>
              <p:nvPr/>
            </p:nvSpPr>
            <p:spPr bwMode="auto">
              <a:xfrm rot="3103542">
                <a:off x="2064" y="3339"/>
                <a:ext cx="342" cy="26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47 w 21600"/>
                  <a:gd name="T13" fmla="*/ 5400 h 21600"/>
                  <a:gd name="T14" fmla="*/ 18884 w 21600"/>
                  <a:gd name="T15" fmla="*/ 1620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6200" y="0"/>
                    </a:moveTo>
                    <a:lnTo>
                      <a:pt x="16200" y="5400"/>
                    </a:lnTo>
                    <a:lnTo>
                      <a:pt x="3375" y="5400"/>
                    </a:lnTo>
                    <a:lnTo>
                      <a:pt x="3375" y="16200"/>
                    </a:lnTo>
                    <a:lnTo>
                      <a:pt x="16200" y="16200"/>
                    </a:lnTo>
                    <a:lnTo>
                      <a:pt x="16200" y="21600"/>
                    </a:lnTo>
                    <a:lnTo>
                      <a:pt x="21600" y="10800"/>
                    </a:lnTo>
                    <a:lnTo>
                      <a:pt x="16200" y="0"/>
                    </a:lnTo>
                    <a:close/>
                  </a:path>
                  <a:path w="21600" h="21600">
                    <a:moveTo>
                      <a:pt x="1350" y="5400"/>
                    </a:moveTo>
                    <a:lnTo>
                      <a:pt x="1350" y="16200"/>
                    </a:lnTo>
                    <a:lnTo>
                      <a:pt x="2700" y="16200"/>
                    </a:lnTo>
                    <a:lnTo>
                      <a:pt x="2700" y="5400"/>
                    </a:lnTo>
                    <a:lnTo>
                      <a:pt x="1350" y="5400"/>
                    </a:lnTo>
                    <a:close/>
                  </a:path>
                  <a:path w="21600" h="21600">
                    <a:moveTo>
                      <a:pt x="0" y="5400"/>
                    </a:moveTo>
                    <a:lnTo>
                      <a:pt x="0" y="16200"/>
                    </a:lnTo>
                    <a:lnTo>
                      <a:pt x="675" y="16200"/>
                    </a:lnTo>
                    <a:lnTo>
                      <a:pt x="675" y="5400"/>
                    </a:lnTo>
                    <a:lnTo>
                      <a:pt x="0" y="540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D7AFFF"/>
                  </a:gs>
                  <a:gs pos="100000">
                    <a:schemeClr val="bg1">
                      <a:alpha val="17000"/>
                    </a:schemeClr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83" name="Circle: Hollow 582"/>
          <p:cNvSpPr/>
          <p:nvPr/>
        </p:nvSpPr>
        <p:spPr>
          <a:xfrm>
            <a:off x="5145357" y="4318337"/>
            <a:ext cx="1350836" cy="1276716"/>
          </a:xfrm>
          <a:prstGeom prst="donut">
            <a:avLst>
              <a:gd name="adj" fmla="val 20885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GB" dirty="0">
              <a:solidFill>
                <a:srgbClr val="444492"/>
              </a:solidFill>
            </a:endParaRPr>
          </a:p>
        </p:txBody>
      </p:sp>
      <p:sp>
        <p:nvSpPr>
          <p:cNvPr id="585" name="Arrow: Right 14"/>
          <p:cNvSpPr/>
          <p:nvPr/>
        </p:nvSpPr>
        <p:spPr>
          <a:xfrm>
            <a:off x="6893373" y="4449123"/>
            <a:ext cx="278516" cy="315648"/>
          </a:xfrm>
          <a:prstGeom prst="chevron">
            <a:avLst/>
          </a:prstGeom>
          <a:solidFill>
            <a:schemeClr val="accent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587" name="Rectangle 586"/>
          <p:cNvSpPr/>
          <p:nvPr/>
        </p:nvSpPr>
        <p:spPr>
          <a:xfrm>
            <a:off x="5216935" y="1677986"/>
            <a:ext cx="475200" cy="48609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89" name="Rectangle: Rounded Corners 5"/>
          <p:cNvSpPr/>
          <p:nvPr/>
        </p:nvSpPr>
        <p:spPr>
          <a:xfrm>
            <a:off x="7340517" y="1037647"/>
            <a:ext cx="1521011" cy="1344875"/>
          </a:xfrm>
          <a:prstGeom prst="roundRect">
            <a:avLst/>
          </a:prstGeom>
          <a:noFill/>
          <a:ln w="28575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1435" tIns="25719" rIns="51435" bIns="25719" rtlCol="0" anchor="ctr"/>
          <a:lstStyle/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600" b="1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</p:txBody>
      </p:sp>
      <p:sp>
        <p:nvSpPr>
          <p:cNvPr id="590" name="Arrow: Right 14"/>
          <p:cNvSpPr/>
          <p:nvPr/>
        </p:nvSpPr>
        <p:spPr>
          <a:xfrm>
            <a:off x="6841385" y="1600093"/>
            <a:ext cx="278516" cy="315648"/>
          </a:xfrm>
          <a:prstGeom prst="chevron">
            <a:avLst/>
          </a:prstGeom>
          <a:solidFill>
            <a:schemeClr val="accent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591" name="Group 103"/>
          <p:cNvGrpSpPr>
            <a:grpSpLocks/>
          </p:cNvGrpSpPr>
          <p:nvPr/>
        </p:nvGrpSpPr>
        <p:grpSpPr bwMode="auto">
          <a:xfrm>
            <a:off x="5384963" y="1714027"/>
            <a:ext cx="834917" cy="650096"/>
            <a:chOff x="3484" y="1991"/>
            <a:chExt cx="1543" cy="1557"/>
          </a:xfrm>
        </p:grpSpPr>
        <p:sp>
          <p:nvSpPr>
            <p:cNvPr id="592" name="Oval 104"/>
            <p:cNvSpPr>
              <a:spLocks noChangeArrowheads="1"/>
            </p:cNvSpPr>
            <p:nvPr/>
          </p:nvSpPr>
          <p:spPr bwMode="auto">
            <a:xfrm>
              <a:off x="3815" y="2333"/>
              <a:ext cx="882" cy="911"/>
            </a:xfrm>
            <a:prstGeom prst="ellipse">
              <a:avLst/>
            </a:prstGeom>
            <a:solidFill>
              <a:srgbClr val="D7AFFF">
                <a:alpha val="8117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593" name="Oval 105"/>
            <p:cNvSpPr>
              <a:spLocks noChangeArrowheads="1"/>
            </p:cNvSpPr>
            <p:nvPr/>
          </p:nvSpPr>
          <p:spPr bwMode="auto">
            <a:xfrm>
              <a:off x="3925" y="2447"/>
              <a:ext cx="661" cy="68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594" name="Oval 106"/>
            <p:cNvSpPr>
              <a:spLocks noChangeArrowheads="1"/>
            </p:cNvSpPr>
            <p:nvPr/>
          </p:nvSpPr>
          <p:spPr bwMode="auto">
            <a:xfrm>
              <a:off x="3962" y="286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595" name="Oval 107"/>
            <p:cNvSpPr>
              <a:spLocks noChangeArrowheads="1"/>
            </p:cNvSpPr>
            <p:nvPr/>
          </p:nvSpPr>
          <p:spPr bwMode="auto">
            <a:xfrm>
              <a:off x="3998" y="2940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596" name="Oval 108"/>
            <p:cNvSpPr>
              <a:spLocks noChangeArrowheads="1"/>
            </p:cNvSpPr>
            <p:nvPr/>
          </p:nvSpPr>
          <p:spPr bwMode="auto">
            <a:xfrm>
              <a:off x="4109" y="248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597" name="Oval 109"/>
            <p:cNvSpPr>
              <a:spLocks noChangeArrowheads="1"/>
            </p:cNvSpPr>
            <p:nvPr/>
          </p:nvSpPr>
          <p:spPr bwMode="auto">
            <a:xfrm>
              <a:off x="3925" y="278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598" name="Oval 110"/>
            <p:cNvSpPr>
              <a:spLocks noChangeArrowheads="1"/>
            </p:cNvSpPr>
            <p:nvPr/>
          </p:nvSpPr>
          <p:spPr bwMode="auto">
            <a:xfrm>
              <a:off x="3925" y="2713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599" name="Oval 111"/>
            <p:cNvSpPr>
              <a:spLocks noChangeArrowheads="1"/>
            </p:cNvSpPr>
            <p:nvPr/>
          </p:nvSpPr>
          <p:spPr bwMode="auto">
            <a:xfrm>
              <a:off x="3962" y="259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00" name="Oval 112"/>
            <p:cNvSpPr>
              <a:spLocks noChangeArrowheads="1"/>
            </p:cNvSpPr>
            <p:nvPr/>
          </p:nvSpPr>
          <p:spPr bwMode="auto">
            <a:xfrm>
              <a:off x="4036" y="2523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601" name="Oval 113"/>
            <p:cNvSpPr>
              <a:spLocks noChangeArrowheads="1"/>
            </p:cNvSpPr>
            <p:nvPr/>
          </p:nvSpPr>
          <p:spPr bwMode="auto">
            <a:xfrm>
              <a:off x="4182" y="2447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602" name="Oval 114"/>
            <p:cNvSpPr>
              <a:spLocks noChangeArrowheads="1"/>
            </p:cNvSpPr>
            <p:nvPr/>
          </p:nvSpPr>
          <p:spPr bwMode="auto">
            <a:xfrm>
              <a:off x="4256" y="2447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603" name="Oval 115"/>
            <p:cNvSpPr>
              <a:spLocks noChangeArrowheads="1"/>
            </p:cNvSpPr>
            <p:nvPr/>
          </p:nvSpPr>
          <p:spPr bwMode="auto">
            <a:xfrm>
              <a:off x="4330" y="2485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604" name="Oval 116"/>
            <p:cNvSpPr>
              <a:spLocks noChangeArrowheads="1"/>
            </p:cNvSpPr>
            <p:nvPr/>
          </p:nvSpPr>
          <p:spPr bwMode="auto">
            <a:xfrm>
              <a:off x="4403" y="2523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605" name="Oval 117"/>
            <p:cNvSpPr>
              <a:spLocks noChangeArrowheads="1"/>
            </p:cNvSpPr>
            <p:nvPr/>
          </p:nvSpPr>
          <p:spPr bwMode="auto">
            <a:xfrm>
              <a:off x="4476" y="259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606" name="Oval 118"/>
            <p:cNvSpPr>
              <a:spLocks noChangeArrowheads="1"/>
            </p:cNvSpPr>
            <p:nvPr/>
          </p:nvSpPr>
          <p:spPr bwMode="auto">
            <a:xfrm>
              <a:off x="4513" y="267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607" name="Oval 119"/>
            <p:cNvSpPr>
              <a:spLocks noChangeArrowheads="1"/>
            </p:cNvSpPr>
            <p:nvPr/>
          </p:nvSpPr>
          <p:spPr bwMode="auto">
            <a:xfrm>
              <a:off x="4513" y="2751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608" name="Oval 120"/>
            <p:cNvSpPr>
              <a:spLocks noChangeArrowheads="1"/>
            </p:cNvSpPr>
            <p:nvPr/>
          </p:nvSpPr>
          <p:spPr bwMode="auto">
            <a:xfrm>
              <a:off x="4440" y="2751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609" name="Oval 121"/>
            <p:cNvSpPr>
              <a:spLocks noChangeArrowheads="1"/>
            </p:cNvSpPr>
            <p:nvPr/>
          </p:nvSpPr>
          <p:spPr bwMode="auto">
            <a:xfrm>
              <a:off x="4072" y="3016"/>
              <a:ext cx="74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610" name="Oval 122"/>
            <p:cNvSpPr>
              <a:spLocks noChangeArrowheads="1"/>
            </p:cNvSpPr>
            <p:nvPr/>
          </p:nvSpPr>
          <p:spPr bwMode="auto">
            <a:xfrm>
              <a:off x="4109" y="2940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11" name="Oval 123"/>
            <p:cNvSpPr>
              <a:spLocks noChangeArrowheads="1"/>
            </p:cNvSpPr>
            <p:nvPr/>
          </p:nvSpPr>
          <p:spPr bwMode="auto">
            <a:xfrm>
              <a:off x="3998" y="278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12" name="Oval 124"/>
            <p:cNvSpPr>
              <a:spLocks noChangeArrowheads="1"/>
            </p:cNvSpPr>
            <p:nvPr/>
          </p:nvSpPr>
          <p:spPr bwMode="auto">
            <a:xfrm>
              <a:off x="3998" y="2713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13" name="Oval 125"/>
            <p:cNvSpPr>
              <a:spLocks noChangeArrowheads="1"/>
            </p:cNvSpPr>
            <p:nvPr/>
          </p:nvSpPr>
          <p:spPr bwMode="auto">
            <a:xfrm>
              <a:off x="4036" y="2636"/>
              <a:ext cx="73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14" name="Oval 126"/>
            <p:cNvSpPr>
              <a:spLocks noChangeArrowheads="1"/>
            </p:cNvSpPr>
            <p:nvPr/>
          </p:nvSpPr>
          <p:spPr bwMode="auto">
            <a:xfrm>
              <a:off x="4109" y="2561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15" name="Oval 127"/>
            <p:cNvSpPr>
              <a:spLocks noChangeArrowheads="1"/>
            </p:cNvSpPr>
            <p:nvPr/>
          </p:nvSpPr>
          <p:spPr bwMode="auto">
            <a:xfrm>
              <a:off x="4182" y="2523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16" name="Oval 128"/>
            <p:cNvSpPr>
              <a:spLocks noChangeArrowheads="1"/>
            </p:cNvSpPr>
            <p:nvPr/>
          </p:nvSpPr>
          <p:spPr bwMode="auto">
            <a:xfrm>
              <a:off x="4072" y="286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17" name="Oval 129"/>
            <p:cNvSpPr>
              <a:spLocks noChangeArrowheads="1"/>
            </p:cNvSpPr>
            <p:nvPr/>
          </p:nvSpPr>
          <p:spPr bwMode="auto">
            <a:xfrm>
              <a:off x="4072" y="2751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18" name="Oval 130"/>
            <p:cNvSpPr>
              <a:spLocks noChangeArrowheads="1"/>
            </p:cNvSpPr>
            <p:nvPr/>
          </p:nvSpPr>
          <p:spPr bwMode="auto">
            <a:xfrm>
              <a:off x="4109" y="267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19" name="Oval 131"/>
            <p:cNvSpPr>
              <a:spLocks noChangeArrowheads="1"/>
            </p:cNvSpPr>
            <p:nvPr/>
          </p:nvSpPr>
          <p:spPr bwMode="auto">
            <a:xfrm>
              <a:off x="4146" y="3016"/>
              <a:ext cx="73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20" name="Oval 132"/>
            <p:cNvSpPr>
              <a:spLocks noChangeArrowheads="1"/>
            </p:cNvSpPr>
            <p:nvPr/>
          </p:nvSpPr>
          <p:spPr bwMode="auto">
            <a:xfrm>
              <a:off x="4182" y="259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21" name="Oval 133"/>
            <p:cNvSpPr>
              <a:spLocks noChangeArrowheads="1"/>
            </p:cNvSpPr>
            <p:nvPr/>
          </p:nvSpPr>
          <p:spPr bwMode="auto">
            <a:xfrm>
              <a:off x="4256" y="2523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22" name="Oval 134"/>
            <p:cNvSpPr>
              <a:spLocks noChangeArrowheads="1"/>
            </p:cNvSpPr>
            <p:nvPr/>
          </p:nvSpPr>
          <p:spPr bwMode="auto">
            <a:xfrm>
              <a:off x="4330" y="2561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23" name="Oval 135"/>
            <p:cNvSpPr>
              <a:spLocks noChangeArrowheads="1"/>
            </p:cNvSpPr>
            <p:nvPr/>
          </p:nvSpPr>
          <p:spPr bwMode="auto">
            <a:xfrm>
              <a:off x="4256" y="259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24" name="Oval 136"/>
            <p:cNvSpPr>
              <a:spLocks noChangeArrowheads="1"/>
            </p:cNvSpPr>
            <p:nvPr/>
          </p:nvSpPr>
          <p:spPr bwMode="auto">
            <a:xfrm>
              <a:off x="4182" y="267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25" name="Oval 137"/>
            <p:cNvSpPr>
              <a:spLocks noChangeArrowheads="1"/>
            </p:cNvSpPr>
            <p:nvPr/>
          </p:nvSpPr>
          <p:spPr bwMode="auto">
            <a:xfrm>
              <a:off x="4330" y="2636"/>
              <a:ext cx="73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26" name="Oval 138"/>
            <p:cNvSpPr>
              <a:spLocks noChangeArrowheads="1"/>
            </p:cNvSpPr>
            <p:nvPr/>
          </p:nvSpPr>
          <p:spPr bwMode="auto">
            <a:xfrm>
              <a:off x="4256" y="267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27" name="Oval 139"/>
            <p:cNvSpPr>
              <a:spLocks noChangeArrowheads="1"/>
            </p:cNvSpPr>
            <p:nvPr/>
          </p:nvSpPr>
          <p:spPr bwMode="auto">
            <a:xfrm>
              <a:off x="4146" y="2751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28" name="Oval 140"/>
            <p:cNvSpPr>
              <a:spLocks noChangeArrowheads="1"/>
            </p:cNvSpPr>
            <p:nvPr/>
          </p:nvSpPr>
          <p:spPr bwMode="auto">
            <a:xfrm>
              <a:off x="4146" y="2826"/>
              <a:ext cx="73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29" name="Oval 141"/>
            <p:cNvSpPr>
              <a:spLocks noChangeArrowheads="1"/>
            </p:cNvSpPr>
            <p:nvPr/>
          </p:nvSpPr>
          <p:spPr bwMode="auto">
            <a:xfrm>
              <a:off x="4182" y="2940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30" name="Oval 142"/>
            <p:cNvSpPr>
              <a:spLocks noChangeArrowheads="1"/>
            </p:cNvSpPr>
            <p:nvPr/>
          </p:nvSpPr>
          <p:spPr bwMode="auto">
            <a:xfrm>
              <a:off x="4182" y="286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31" name="Oval 143"/>
            <p:cNvSpPr>
              <a:spLocks noChangeArrowheads="1"/>
            </p:cNvSpPr>
            <p:nvPr/>
          </p:nvSpPr>
          <p:spPr bwMode="auto">
            <a:xfrm>
              <a:off x="4219" y="2751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32" name="Oval 145"/>
            <p:cNvSpPr>
              <a:spLocks noChangeArrowheads="1"/>
            </p:cNvSpPr>
            <p:nvPr/>
          </p:nvSpPr>
          <p:spPr bwMode="auto">
            <a:xfrm>
              <a:off x="4440" y="2675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33" name="Oval 146"/>
            <p:cNvSpPr>
              <a:spLocks noChangeArrowheads="1"/>
            </p:cNvSpPr>
            <p:nvPr/>
          </p:nvSpPr>
          <p:spPr bwMode="auto">
            <a:xfrm>
              <a:off x="4292" y="2713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34" name="Oval 147"/>
            <p:cNvSpPr>
              <a:spLocks noChangeArrowheads="1"/>
            </p:cNvSpPr>
            <p:nvPr/>
          </p:nvSpPr>
          <p:spPr bwMode="auto">
            <a:xfrm>
              <a:off x="4366" y="2713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35" name="Oval 148"/>
            <p:cNvSpPr>
              <a:spLocks noChangeArrowheads="1"/>
            </p:cNvSpPr>
            <p:nvPr/>
          </p:nvSpPr>
          <p:spPr bwMode="auto">
            <a:xfrm>
              <a:off x="4256" y="2826"/>
              <a:ext cx="74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36" name="Oval 149"/>
            <p:cNvSpPr>
              <a:spLocks noChangeArrowheads="1"/>
            </p:cNvSpPr>
            <p:nvPr/>
          </p:nvSpPr>
          <p:spPr bwMode="auto">
            <a:xfrm>
              <a:off x="4330" y="2789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37" name="Oval 150"/>
            <p:cNvSpPr>
              <a:spLocks noChangeArrowheads="1"/>
            </p:cNvSpPr>
            <p:nvPr/>
          </p:nvSpPr>
          <p:spPr bwMode="auto">
            <a:xfrm>
              <a:off x="4403" y="2826"/>
              <a:ext cx="73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38" name="Oval 151"/>
            <p:cNvSpPr>
              <a:spLocks noChangeArrowheads="1"/>
            </p:cNvSpPr>
            <p:nvPr/>
          </p:nvSpPr>
          <p:spPr bwMode="auto">
            <a:xfrm>
              <a:off x="4476" y="2826"/>
              <a:ext cx="74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39" name="Oval 152"/>
            <p:cNvSpPr>
              <a:spLocks noChangeArrowheads="1"/>
            </p:cNvSpPr>
            <p:nvPr/>
          </p:nvSpPr>
          <p:spPr bwMode="auto">
            <a:xfrm>
              <a:off x="4256" y="2903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40" name="Oval 153"/>
            <p:cNvSpPr>
              <a:spLocks noChangeArrowheads="1"/>
            </p:cNvSpPr>
            <p:nvPr/>
          </p:nvSpPr>
          <p:spPr bwMode="auto">
            <a:xfrm>
              <a:off x="4330" y="2865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41" name="Oval 154"/>
            <p:cNvSpPr>
              <a:spLocks noChangeArrowheads="1"/>
            </p:cNvSpPr>
            <p:nvPr/>
          </p:nvSpPr>
          <p:spPr bwMode="auto">
            <a:xfrm>
              <a:off x="4219" y="3016"/>
              <a:ext cx="74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42" name="Oval 155"/>
            <p:cNvSpPr>
              <a:spLocks noChangeArrowheads="1"/>
            </p:cNvSpPr>
            <p:nvPr/>
          </p:nvSpPr>
          <p:spPr bwMode="auto">
            <a:xfrm>
              <a:off x="4292" y="297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43" name="Oval 156"/>
            <p:cNvSpPr>
              <a:spLocks noChangeArrowheads="1"/>
            </p:cNvSpPr>
            <p:nvPr/>
          </p:nvSpPr>
          <p:spPr bwMode="auto">
            <a:xfrm>
              <a:off x="4403" y="2903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44" name="Oval 157"/>
            <p:cNvSpPr>
              <a:spLocks noChangeArrowheads="1"/>
            </p:cNvSpPr>
            <p:nvPr/>
          </p:nvSpPr>
          <p:spPr bwMode="auto">
            <a:xfrm>
              <a:off x="4366" y="297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45" name="Oval 158"/>
            <p:cNvSpPr>
              <a:spLocks noChangeArrowheads="1"/>
            </p:cNvSpPr>
            <p:nvPr/>
          </p:nvSpPr>
          <p:spPr bwMode="auto">
            <a:xfrm>
              <a:off x="4476" y="3054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46" name="Oval 159"/>
            <p:cNvSpPr>
              <a:spLocks noChangeArrowheads="1"/>
            </p:cNvSpPr>
            <p:nvPr/>
          </p:nvSpPr>
          <p:spPr bwMode="auto">
            <a:xfrm>
              <a:off x="4550" y="2979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47" name="Oval 160"/>
            <p:cNvSpPr>
              <a:spLocks noChangeArrowheads="1"/>
            </p:cNvSpPr>
            <p:nvPr/>
          </p:nvSpPr>
          <p:spPr bwMode="auto">
            <a:xfrm>
              <a:off x="4586" y="2865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48" name="Oval 161"/>
            <p:cNvSpPr>
              <a:spLocks noChangeArrowheads="1"/>
            </p:cNvSpPr>
            <p:nvPr/>
          </p:nvSpPr>
          <p:spPr bwMode="auto">
            <a:xfrm>
              <a:off x="4366" y="3130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49" name="Oval 162"/>
            <p:cNvSpPr>
              <a:spLocks noChangeArrowheads="1"/>
            </p:cNvSpPr>
            <p:nvPr/>
          </p:nvSpPr>
          <p:spPr bwMode="auto">
            <a:xfrm>
              <a:off x="4219" y="3168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50" name="Oval 163"/>
            <p:cNvSpPr>
              <a:spLocks noChangeArrowheads="1"/>
            </p:cNvSpPr>
            <p:nvPr/>
          </p:nvSpPr>
          <p:spPr bwMode="auto">
            <a:xfrm>
              <a:off x="4072" y="3130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51" name="Oval 164"/>
            <p:cNvSpPr>
              <a:spLocks noChangeArrowheads="1"/>
            </p:cNvSpPr>
            <p:nvPr/>
          </p:nvSpPr>
          <p:spPr bwMode="auto">
            <a:xfrm>
              <a:off x="3962" y="3054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52" name="Oval 165"/>
            <p:cNvSpPr>
              <a:spLocks noChangeArrowheads="1"/>
            </p:cNvSpPr>
            <p:nvPr/>
          </p:nvSpPr>
          <p:spPr bwMode="auto">
            <a:xfrm>
              <a:off x="3888" y="2940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53" name="Oval 166"/>
            <p:cNvSpPr>
              <a:spLocks noChangeArrowheads="1"/>
            </p:cNvSpPr>
            <p:nvPr/>
          </p:nvSpPr>
          <p:spPr bwMode="auto">
            <a:xfrm>
              <a:off x="3852" y="2826"/>
              <a:ext cx="73" cy="77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54" name="Oval 167"/>
            <p:cNvSpPr>
              <a:spLocks noChangeArrowheads="1"/>
            </p:cNvSpPr>
            <p:nvPr/>
          </p:nvSpPr>
          <p:spPr bwMode="auto">
            <a:xfrm>
              <a:off x="3852" y="2713"/>
              <a:ext cx="73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55" name="Oval 168"/>
            <p:cNvSpPr>
              <a:spLocks noChangeArrowheads="1"/>
            </p:cNvSpPr>
            <p:nvPr/>
          </p:nvSpPr>
          <p:spPr bwMode="auto">
            <a:xfrm>
              <a:off x="4586" y="2751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56" name="Oval 169"/>
            <p:cNvSpPr>
              <a:spLocks noChangeArrowheads="1"/>
            </p:cNvSpPr>
            <p:nvPr/>
          </p:nvSpPr>
          <p:spPr bwMode="auto">
            <a:xfrm>
              <a:off x="3852" y="2599"/>
              <a:ext cx="73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57" name="Oval 170"/>
            <p:cNvSpPr>
              <a:spLocks noChangeArrowheads="1"/>
            </p:cNvSpPr>
            <p:nvPr/>
          </p:nvSpPr>
          <p:spPr bwMode="auto">
            <a:xfrm>
              <a:off x="3925" y="2485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58" name="Oval 171"/>
            <p:cNvSpPr>
              <a:spLocks noChangeArrowheads="1"/>
            </p:cNvSpPr>
            <p:nvPr/>
          </p:nvSpPr>
          <p:spPr bwMode="auto">
            <a:xfrm>
              <a:off x="3998" y="2409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59" name="Oval 172"/>
            <p:cNvSpPr>
              <a:spLocks noChangeArrowheads="1"/>
            </p:cNvSpPr>
            <p:nvPr/>
          </p:nvSpPr>
          <p:spPr bwMode="auto">
            <a:xfrm>
              <a:off x="4109" y="2371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60" name="Oval 173"/>
            <p:cNvSpPr>
              <a:spLocks noChangeArrowheads="1"/>
            </p:cNvSpPr>
            <p:nvPr/>
          </p:nvSpPr>
          <p:spPr bwMode="auto">
            <a:xfrm>
              <a:off x="4219" y="2333"/>
              <a:ext cx="74" cy="77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61" name="Oval 174"/>
            <p:cNvSpPr>
              <a:spLocks noChangeArrowheads="1"/>
            </p:cNvSpPr>
            <p:nvPr/>
          </p:nvSpPr>
          <p:spPr bwMode="auto">
            <a:xfrm>
              <a:off x="4330" y="2371"/>
              <a:ext cx="73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62" name="Oval 175"/>
            <p:cNvSpPr>
              <a:spLocks noChangeArrowheads="1"/>
            </p:cNvSpPr>
            <p:nvPr/>
          </p:nvSpPr>
          <p:spPr bwMode="auto">
            <a:xfrm>
              <a:off x="4440" y="2409"/>
              <a:ext cx="73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63" name="Oval 176"/>
            <p:cNvSpPr>
              <a:spLocks noChangeArrowheads="1"/>
            </p:cNvSpPr>
            <p:nvPr/>
          </p:nvSpPr>
          <p:spPr bwMode="auto">
            <a:xfrm>
              <a:off x="4513" y="2523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64" name="Oval 177"/>
            <p:cNvSpPr>
              <a:spLocks noChangeArrowheads="1"/>
            </p:cNvSpPr>
            <p:nvPr/>
          </p:nvSpPr>
          <p:spPr bwMode="auto">
            <a:xfrm>
              <a:off x="4586" y="2636"/>
              <a:ext cx="74" cy="77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65" name="AutoShape 178"/>
            <p:cNvSpPr>
              <a:spLocks noChangeArrowheads="1"/>
            </p:cNvSpPr>
            <p:nvPr/>
          </p:nvSpPr>
          <p:spPr bwMode="auto">
            <a:xfrm>
              <a:off x="4697" y="2636"/>
              <a:ext cx="330" cy="257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404 w 21600"/>
                <a:gd name="T13" fmla="*/ 5379 h 21600"/>
                <a:gd name="T14" fmla="*/ 18916 w 21600"/>
                <a:gd name="T15" fmla="*/ 162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666" name="AutoShape 179"/>
            <p:cNvSpPr>
              <a:spLocks noChangeArrowheads="1"/>
            </p:cNvSpPr>
            <p:nvPr/>
          </p:nvSpPr>
          <p:spPr bwMode="auto">
            <a:xfrm rot="10800000">
              <a:off x="3484" y="2636"/>
              <a:ext cx="314" cy="257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1 w 21600"/>
                <a:gd name="T13" fmla="*/ 5379 h 21600"/>
                <a:gd name="T14" fmla="*/ 18917 w 21600"/>
                <a:gd name="T15" fmla="*/ 162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667" name="AutoShape 180"/>
            <p:cNvSpPr>
              <a:spLocks noChangeArrowheads="1"/>
            </p:cNvSpPr>
            <p:nvPr/>
          </p:nvSpPr>
          <p:spPr bwMode="auto">
            <a:xfrm rot="-5400000">
              <a:off x="4107" y="2030"/>
              <a:ext cx="325" cy="24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90 w 21600"/>
                <a:gd name="T13" fmla="*/ 5400 h 21600"/>
                <a:gd name="T14" fmla="*/ 18875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668" name="AutoShape 181"/>
            <p:cNvSpPr>
              <a:spLocks noChangeArrowheads="1"/>
            </p:cNvSpPr>
            <p:nvPr/>
          </p:nvSpPr>
          <p:spPr bwMode="auto">
            <a:xfrm rot="-2364142">
              <a:off x="4550" y="2219"/>
              <a:ext cx="324" cy="25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400 w 21600"/>
                <a:gd name="T13" fmla="*/ 5400 h 21600"/>
                <a:gd name="T14" fmla="*/ 18867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669" name="AutoShape 182"/>
            <p:cNvSpPr>
              <a:spLocks noChangeArrowheads="1"/>
            </p:cNvSpPr>
            <p:nvPr/>
          </p:nvSpPr>
          <p:spPr bwMode="auto">
            <a:xfrm rot="2382720">
              <a:off x="4586" y="3054"/>
              <a:ext cx="317" cy="25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407 w 21600"/>
                <a:gd name="T13" fmla="*/ 5400 h 21600"/>
                <a:gd name="T14" fmla="*/ 18874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670" name="AutoShape 183"/>
            <p:cNvSpPr>
              <a:spLocks noChangeArrowheads="1"/>
            </p:cNvSpPr>
            <p:nvPr/>
          </p:nvSpPr>
          <p:spPr bwMode="auto">
            <a:xfrm rot="8328387">
              <a:off x="3668" y="3093"/>
              <a:ext cx="314" cy="25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1 w 21600"/>
                <a:gd name="T13" fmla="*/ 5400 h 21600"/>
                <a:gd name="T14" fmla="*/ 18917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671" name="AutoShape 184"/>
            <p:cNvSpPr>
              <a:spLocks noChangeArrowheads="1"/>
            </p:cNvSpPr>
            <p:nvPr/>
          </p:nvSpPr>
          <p:spPr bwMode="auto">
            <a:xfrm rot="5400000">
              <a:off x="4118" y="3272"/>
              <a:ext cx="304" cy="24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39 w 21600"/>
                <a:gd name="T13" fmla="*/ 5400 h 21600"/>
                <a:gd name="T14" fmla="*/ 18900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672" name="AutoShape 185"/>
            <p:cNvSpPr>
              <a:spLocks noChangeArrowheads="1"/>
            </p:cNvSpPr>
            <p:nvPr/>
          </p:nvSpPr>
          <p:spPr bwMode="auto">
            <a:xfrm rot="-8240971">
              <a:off x="3668" y="2219"/>
              <a:ext cx="301" cy="25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3 w 21600"/>
                <a:gd name="T13" fmla="*/ 5400 h 21600"/>
                <a:gd name="T14" fmla="*/ 18873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673" name="Oval 186"/>
            <p:cNvSpPr>
              <a:spLocks noChangeArrowheads="1"/>
            </p:cNvSpPr>
            <p:nvPr/>
          </p:nvSpPr>
          <p:spPr bwMode="auto">
            <a:xfrm>
              <a:off x="4366" y="2940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74" name="Oval 187"/>
            <p:cNvSpPr>
              <a:spLocks noChangeArrowheads="1"/>
            </p:cNvSpPr>
            <p:nvPr/>
          </p:nvSpPr>
          <p:spPr bwMode="auto">
            <a:xfrm>
              <a:off x="4440" y="2903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75" name="Oval 188"/>
            <p:cNvSpPr>
              <a:spLocks noChangeArrowheads="1"/>
            </p:cNvSpPr>
            <p:nvPr/>
          </p:nvSpPr>
          <p:spPr bwMode="auto">
            <a:xfrm>
              <a:off x="4292" y="3016"/>
              <a:ext cx="74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76" name="Oval 189"/>
            <p:cNvSpPr>
              <a:spLocks noChangeArrowheads="1"/>
            </p:cNvSpPr>
            <p:nvPr/>
          </p:nvSpPr>
          <p:spPr bwMode="auto">
            <a:xfrm>
              <a:off x="4036" y="2940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77" name="Oval 190"/>
            <p:cNvSpPr>
              <a:spLocks noChangeArrowheads="1"/>
            </p:cNvSpPr>
            <p:nvPr/>
          </p:nvSpPr>
          <p:spPr bwMode="auto">
            <a:xfrm>
              <a:off x="4072" y="2826"/>
              <a:ext cx="74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78" name="Oval 191"/>
            <p:cNvSpPr>
              <a:spLocks noChangeArrowheads="1"/>
            </p:cNvSpPr>
            <p:nvPr/>
          </p:nvSpPr>
          <p:spPr bwMode="auto">
            <a:xfrm>
              <a:off x="4366" y="2751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79" name="Oval 192"/>
            <p:cNvSpPr>
              <a:spLocks noChangeArrowheads="1"/>
            </p:cNvSpPr>
            <p:nvPr/>
          </p:nvSpPr>
          <p:spPr bwMode="auto">
            <a:xfrm>
              <a:off x="3962" y="267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80" name="Oval 193"/>
            <p:cNvSpPr>
              <a:spLocks noChangeArrowheads="1"/>
            </p:cNvSpPr>
            <p:nvPr/>
          </p:nvSpPr>
          <p:spPr bwMode="auto">
            <a:xfrm>
              <a:off x="4109" y="259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81" name="Oval 194"/>
            <p:cNvSpPr>
              <a:spLocks noChangeArrowheads="1"/>
            </p:cNvSpPr>
            <p:nvPr/>
          </p:nvSpPr>
          <p:spPr bwMode="auto">
            <a:xfrm>
              <a:off x="4219" y="278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82" name="Oval 195"/>
            <p:cNvSpPr>
              <a:spLocks noChangeArrowheads="1"/>
            </p:cNvSpPr>
            <p:nvPr/>
          </p:nvSpPr>
          <p:spPr bwMode="auto">
            <a:xfrm>
              <a:off x="4072" y="267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</p:grpSp>
      <p:sp>
        <p:nvSpPr>
          <p:cNvPr id="683" name="Circle: Hollow 682"/>
          <p:cNvSpPr/>
          <p:nvPr/>
        </p:nvSpPr>
        <p:spPr>
          <a:xfrm>
            <a:off x="5315148" y="1567808"/>
            <a:ext cx="990336" cy="940331"/>
          </a:xfrm>
          <a:prstGeom prst="donut">
            <a:avLst>
              <a:gd name="adj" fmla="val 29934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GB" dirty="0">
              <a:solidFill>
                <a:srgbClr val="444492"/>
              </a:solidFill>
            </a:endParaRPr>
          </a:p>
        </p:txBody>
      </p:sp>
      <p:grpSp>
        <p:nvGrpSpPr>
          <p:cNvPr id="684" name="Group 103"/>
          <p:cNvGrpSpPr>
            <a:grpSpLocks/>
          </p:cNvGrpSpPr>
          <p:nvPr/>
        </p:nvGrpSpPr>
        <p:grpSpPr bwMode="auto">
          <a:xfrm>
            <a:off x="7709070" y="1412443"/>
            <a:ext cx="774508" cy="632523"/>
            <a:chOff x="3484" y="1991"/>
            <a:chExt cx="1543" cy="1557"/>
          </a:xfrm>
        </p:grpSpPr>
        <p:sp>
          <p:nvSpPr>
            <p:cNvPr id="685" name="Oval 104"/>
            <p:cNvSpPr>
              <a:spLocks noChangeArrowheads="1"/>
            </p:cNvSpPr>
            <p:nvPr/>
          </p:nvSpPr>
          <p:spPr bwMode="auto">
            <a:xfrm>
              <a:off x="3815" y="2333"/>
              <a:ext cx="882" cy="911"/>
            </a:xfrm>
            <a:prstGeom prst="ellipse">
              <a:avLst/>
            </a:prstGeom>
            <a:solidFill>
              <a:srgbClr val="D7AFFF">
                <a:alpha val="8117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86" name="Oval 105"/>
            <p:cNvSpPr>
              <a:spLocks noChangeArrowheads="1"/>
            </p:cNvSpPr>
            <p:nvPr/>
          </p:nvSpPr>
          <p:spPr bwMode="auto">
            <a:xfrm>
              <a:off x="3925" y="2447"/>
              <a:ext cx="661" cy="68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87" name="Oval 106"/>
            <p:cNvSpPr>
              <a:spLocks noChangeArrowheads="1"/>
            </p:cNvSpPr>
            <p:nvPr/>
          </p:nvSpPr>
          <p:spPr bwMode="auto">
            <a:xfrm>
              <a:off x="3962" y="286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88" name="Oval 107"/>
            <p:cNvSpPr>
              <a:spLocks noChangeArrowheads="1"/>
            </p:cNvSpPr>
            <p:nvPr/>
          </p:nvSpPr>
          <p:spPr bwMode="auto">
            <a:xfrm>
              <a:off x="3998" y="2940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89" name="Oval 108"/>
            <p:cNvSpPr>
              <a:spLocks noChangeArrowheads="1"/>
            </p:cNvSpPr>
            <p:nvPr/>
          </p:nvSpPr>
          <p:spPr bwMode="auto">
            <a:xfrm>
              <a:off x="4109" y="248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690" name="Oval 109"/>
            <p:cNvSpPr>
              <a:spLocks noChangeArrowheads="1"/>
            </p:cNvSpPr>
            <p:nvPr/>
          </p:nvSpPr>
          <p:spPr bwMode="auto">
            <a:xfrm>
              <a:off x="3925" y="278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91" name="Oval 110"/>
            <p:cNvSpPr>
              <a:spLocks noChangeArrowheads="1"/>
            </p:cNvSpPr>
            <p:nvPr/>
          </p:nvSpPr>
          <p:spPr bwMode="auto">
            <a:xfrm>
              <a:off x="3925" y="2713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92" name="Oval 111"/>
            <p:cNvSpPr>
              <a:spLocks noChangeArrowheads="1"/>
            </p:cNvSpPr>
            <p:nvPr/>
          </p:nvSpPr>
          <p:spPr bwMode="auto">
            <a:xfrm>
              <a:off x="3962" y="259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693" name="Oval 112"/>
            <p:cNvSpPr>
              <a:spLocks noChangeArrowheads="1"/>
            </p:cNvSpPr>
            <p:nvPr/>
          </p:nvSpPr>
          <p:spPr bwMode="auto">
            <a:xfrm>
              <a:off x="4036" y="2523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694" name="Oval 113"/>
            <p:cNvSpPr>
              <a:spLocks noChangeArrowheads="1"/>
            </p:cNvSpPr>
            <p:nvPr/>
          </p:nvSpPr>
          <p:spPr bwMode="auto">
            <a:xfrm>
              <a:off x="4182" y="2447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695" name="Oval 114"/>
            <p:cNvSpPr>
              <a:spLocks noChangeArrowheads="1"/>
            </p:cNvSpPr>
            <p:nvPr/>
          </p:nvSpPr>
          <p:spPr bwMode="auto">
            <a:xfrm>
              <a:off x="4256" y="2447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696" name="Oval 115"/>
            <p:cNvSpPr>
              <a:spLocks noChangeArrowheads="1"/>
            </p:cNvSpPr>
            <p:nvPr/>
          </p:nvSpPr>
          <p:spPr bwMode="auto">
            <a:xfrm>
              <a:off x="4330" y="2485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697" name="Oval 116"/>
            <p:cNvSpPr>
              <a:spLocks noChangeArrowheads="1"/>
            </p:cNvSpPr>
            <p:nvPr/>
          </p:nvSpPr>
          <p:spPr bwMode="auto">
            <a:xfrm>
              <a:off x="4403" y="2523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698" name="Oval 117"/>
            <p:cNvSpPr>
              <a:spLocks noChangeArrowheads="1"/>
            </p:cNvSpPr>
            <p:nvPr/>
          </p:nvSpPr>
          <p:spPr bwMode="auto">
            <a:xfrm>
              <a:off x="4476" y="259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699" name="Oval 118"/>
            <p:cNvSpPr>
              <a:spLocks noChangeArrowheads="1"/>
            </p:cNvSpPr>
            <p:nvPr/>
          </p:nvSpPr>
          <p:spPr bwMode="auto">
            <a:xfrm>
              <a:off x="4513" y="267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700" name="Oval 119"/>
            <p:cNvSpPr>
              <a:spLocks noChangeArrowheads="1"/>
            </p:cNvSpPr>
            <p:nvPr/>
          </p:nvSpPr>
          <p:spPr bwMode="auto">
            <a:xfrm>
              <a:off x="4513" y="2751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701" name="Oval 120"/>
            <p:cNvSpPr>
              <a:spLocks noChangeArrowheads="1"/>
            </p:cNvSpPr>
            <p:nvPr/>
          </p:nvSpPr>
          <p:spPr bwMode="auto">
            <a:xfrm>
              <a:off x="4440" y="2751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702" name="Oval 121"/>
            <p:cNvSpPr>
              <a:spLocks noChangeArrowheads="1"/>
            </p:cNvSpPr>
            <p:nvPr/>
          </p:nvSpPr>
          <p:spPr bwMode="auto">
            <a:xfrm>
              <a:off x="4072" y="3016"/>
              <a:ext cx="74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zh-CN" sz="1400">
                <a:solidFill>
                  <a:srgbClr val="444492"/>
                </a:solidFill>
                <a:ea typeface="ＭＳ Ｐゴシック" pitchFamily="34" charset="-128"/>
              </a:endParaRPr>
            </a:p>
          </p:txBody>
        </p:sp>
        <p:sp>
          <p:nvSpPr>
            <p:cNvPr id="703" name="Oval 122"/>
            <p:cNvSpPr>
              <a:spLocks noChangeArrowheads="1"/>
            </p:cNvSpPr>
            <p:nvPr/>
          </p:nvSpPr>
          <p:spPr bwMode="auto">
            <a:xfrm>
              <a:off x="4109" y="2940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04" name="Oval 123"/>
            <p:cNvSpPr>
              <a:spLocks noChangeArrowheads="1"/>
            </p:cNvSpPr>
            <p:nvPr/>
          </p:nvSpPr>
          <p:spPr bwMode="auto">
            <a:xfrm>
              <a:off x="3998" y="278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05" name="Oval 124"/>
            <p:cNvSpPr>
              <a:spLocks noChangeArrowheads="1"/>
            </p:cNvSpPr>
            <p:nvPr/>
          </p:nvSpPr>
          <p:spPr bwMode="auto">
            <a:xfrm>
              <a:off x="3998" y="2713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06" name="Oval 125"/>
            <p:cNvSpPr>
              <a:spLocks noChangeArrowheads="1"/>
            </p:cNvSpPr>
            <p:nvPr/>
          </p:nvSpPr>
          <p:spPr bwMode="auto">
            <a:xfrm>
              <a:off x="4036" y="2636"/>
              <a:ext cx="73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07" name="Oval 126"/>
            <p:cNvSpPr>
              <a:spLocks noChangeArrowheads="1"/>
            </p:cNvSpPr>
            <p:nvPr/>
          </p:nvSpPr>
          <p:spPr bwMode="auto">
            <a:xfrm>
              <a:off x="4109" y="2561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08" name="Oval 127"/>
            <p:cNvSpPr>
              <a:spLocks noChangeArrowheads="1"/>
            </p:cNvSpPr>
            <p:nvPr/>
          </p:nvSpPr>
          <p:spPr bwMode="auto">
            <a:xfrm>
              <a:off x="4182" y="2523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09" name="Oval 128"/>
            <p:cNvSpPr>
              <a:spLocks noChangeArrowheads="1"/>
            </p:cNvSpPr>
            <p:nvPr/>
          </p:nvSpPr>
          <p:spPr bwMode="auto">
            <a:xfrm>
              <a:off x="4072" y="286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10" name="Oval 129"/>
            <p:cNvSpPr>
              <a:spLocks noChangeArrowheads="1"/>
            </p:cNvSpPr>
            <p:nvPr/>
          </p:nvSpPr>
          <p:spPr bwMode="auto">
            <a:xfrm>
              <a:off x="4072" y="2751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11" name="Oval 130"/>
            <p:cNvSpPr>
              <a:spLocks noChangeArrowheads="1"/>
            </p:cNvSpPr>
            <p:nvPr/>
          </p:nvSpPr>
          <p:spPr bwMode="auto">
            <a:xfrm>
              <a:off x="4109" y="267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12" name="Oval 131"/>
            <p:cNvSpPr>
              <a:spLocks noChangeArrowheads="1"/>
            </p:cNvSpPr>
            <p:nvPr/>
          </p:nvSpPr>
          <p:spPr bwMode="auto">
            <a:xfrm>
              <a:off x="4146" y="3016"/>
              <a:ext cx="73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13" name="Oval 132"/>
            <p:cNvSpPr>
              <a:spLocks noChangeArrowheads="1"/>
            </p:cNvSpPr>
            <p:nvPr/>
          </p:nvSpPr>
          <p:spPr bwMode="auto">
            <a:xfrm>
              <a:off x="4182" y="259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14" name="Oval 133"/>
            <p:cNvSpPr>
              <a:spLocks noChangeArrowheads="1"/>
            </p:cNvSpPr>
            <p:nvPr/>
          </p:nvSpPr>
          <p:spPr bwMode="auto">
            <a:xfrm>
              <a:off x="4256" y="2523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15" name="Oval 134"/>
            <p:cNvSpPr>
              <a:spLocks noChangeArrowheads="1"/>
            </p:cNvSpPr>
            <p:nvPr/>
          </p:nvSpPr>
          <p:spPr bwMode="auto">
            <a:xfrm>
              <a:off x="4330" y="2561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16" name="Oval 135"/>
            <p:cNvSpPr>
              <a:spLocks noChangeArrowheads="1"/>
            </p:cNvSpPr>
            <p:nvPr/>
          </p:nvSpPr>
          <p:spPr bwMode="auto">
            <a:xfrm>
              <a:off x="4256" y="259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17" name="Oval 136"/>
            <p:cNvSpPr>
              <a:spLocks noChangeArrowheads="1"/>
            </p:cNvSpPr>
            <p:nvPr/>
          </p:nvSpPr>
          <p:spPr bwMode="auto">
            <a:xfrm>
              <a:off x="4182" y="267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18" name="Oval 137"/>
            <p:cNvSpPr>
              <a:spLocks noChangeArrowheads="1"/>
            </p:cNvSpPr>
            <p:nvPr/>
          </p:nvSpPr>
          <p:spPr bwMode="auto">
            <a:xfrm>
              <a:off x="4330" y="2636"/>
              <a:ext cx="73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19" name="Oval 138"/>
            <p:cNvSpPr>
              <a:spLocks noChangeArrowheads="1"/>
            </p:cNvSpPr>
            <p:nvPr/>
          </p:nvSpPr>
          <p:spPr bwMode="auto">
            <a:xfrm>
              <a:off x="4256" y="267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20" name="Oval 139"/>
            <p:cNvSpPr>
              <a:spLocks noChangeArrowheads="1"/>
            </p:cNvSpPr>
            <p:nvPr/>
          </p:nvSpPr>
          <p:spPr bwMode="auto">
            <a:xfrm>
              <a:off x="4146" y="2751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21" name="Oval 140"/>
            <p:cNvSpPr>
              <a:spLocks noChangeArrowheads="1"/>
            </p:cNvSpPr>
            <p:nvPr/>
          </p:nvSpPr>
          <p:spPr bwMode="auto">
            <a:xfrm>
              <a:off x="4146" y="2826"/>
              <a:ext cx="73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22" name="Oval 141"/>
            <p:cNvSpPr>
              <a:spLocks noChangeArrowheads="1"/>
            </p:cNvSpPr>
            <p:nvPr/>
          </p:nvSpPr>
          <p:spPr bwMode="auto">
            <a:xfrm>
              <a:off x="4182" y="2940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23" name="Oval 142"/>
            <p:cNvSpPr>
              <a:spLocks noChangeArrowheads="1"/>
            </p:cNvSpPr>
            <p:nvPr/>
          </p:nvSpPr>
          <p:spPr bwMode="auto">
            <a:xfrm>
              <a:off x="4182" y="286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24" name="Oval 143"/>
            <p:cNvSpPr>
              <a:spLocks noChangeArrowheads="1"/>
            </p:cNvSpPr>
            <p:nvPr/>
          </p:nvSpPr>
          <p:spPr bwMode="auto">
            <a:xfrm>
              <a:off x="4219" y="2751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25" name="Oval 144"/>
            <p:cNvSpPr>
              <a:spLocks noChangeArrowheads="1"/>
            </p:cNvSpPr>
            <p:nvPr/>
          </p:nvSpPr>
          <p:spPr bwMode="auto">
            <a:xfrm>
              <a:off x="4403" y="2599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26" name="Oval 145"/>
            <p:cNvSpPr>
              <a:spLocks noChangeArrowheads="1"/>
            </p:cNvSpPr>
            <p:nvPr/>
          </p:nvSpPr>
          <p:spPr bwMode="auto">
            <a:xfrm>
              <a:off x="4440" y="2675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27" name="Oval 146"/>
            <p:cNvSpPr>
              <a:spLocks noChangeArrowheads="1"/>
            </p:cNvSpPr>
            <p:nvPr/>
          </p:nvSpPr>
          <p:spPr bwMode="auto">
            <a:xfrm>
              <a:off x="4292" y="2713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28" name="Oval 147"/>
            <p:cNvSpPr>
              <a:spLocks noChangeArrowheads="1"/>
            </p:cNvSpPr>
            <p:nvPr/>
          </p:nvSpPr>
          <p:spPr bwMode="auto">
            <a:xfrm>
              <a:off x="4366" y="2713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29" name="Oval 148"/>
            <p:cNvSpPr>
              <a:spLocks noChangeArrowheads="1"/>
            </p:cNvSpPr>
            <p:nvPr/>
          </p:nvSpPr>
          <p:spPr bwMode="auto">
            <a:xfrm>
              <a:off x="4256" y="2826"/>
              <a:ext cx="74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30" name="Oval 149"/>
            <p:cNvSpPr>
              <a:spLocks noChangeArrowheads="1"/>
            </p:cNvSpPr>
            <p:nvPr/>
          </p:nvSpPr>
          <p:spPr bwMode="auto">
            <a:xfrm>
              <a:off x="4330" y="2789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31" name="Oval 150"/>
            <p:cNvSpPr>
              <a:spLocks noChangeArrowheads="1"/>
            </p:cNvSpPr>
            <p:nvPr/>
          </p:nvSpPr>
          <p:spPr bwMode="auto">
            <a:xfrm>
              <a:off x="4403" y="2826"/>
              <a:ext cx="73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32" name="Oval 151"/>
            <p:cNvSpPr>
              <a:spLocks noChangeArrowheads="1"/>
            </p:cNvSpPr>
            <p:nvPr/>
          </p:nvSpPr>
          <p:spPr bwMode="auto">
            <a:xfrm>
              <a:off x="4476" y="2826"/>
              <a:ext cx="74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33" name="Oval 152"/>
            <p:cNvSpPr>
              <a:spLocks noChangeArrowheads="1"/>
            </p:cNvSpPr>
            <p:nvPr/>
          </p:nvSpPr>
          <p:spPr bwMode="auto">
            <a:xfrm>
              <a:off x="4256" y="2903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34" name="Oval 153"/>
            <p:cNvSpPr>
              <a:spLocks noChangeArrowheads="1"/>
            </p:cNvSpPr>
            <p:nvPr/>
          </p:nvSpPr>
          <p:spPr bwMode="auto">
            <a:xfrm>
              <a:off x="4330" y="2865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35" name="Oval 154"/>
            <p:cNvSpPr>
              <a:spLocks noChangeArrowheads="1"/>
            </p:cNvSpPr>
            <p:nvPr/>
          </p:nvSpPr>
          <p:spPr bwMode="auto">
            <a:xfrm>
              <a:off x="4219" y="3016"/>
              <a:ext cx="74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36" name="Oval 155"/>
            <p:cNvSpPr>
              <a:spLocks noChangeArrowheads="1"/>
            </p:cNvSpPr>
            <p:nvPr/>
          </p:nvSpPr>
          <p:spPr bwMode="auto">
            <a:xfrm>
              <a:off x="4292" y="297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37" name="Oval 156"/>
            <p:cNvSpPr>
              <a:spLocks noChangeArrowheads="1"/>
            </p:cNvSpPr>
            <p:nvPr/>
          </p:nvSpPr>
          <p:spPr bwMode="auto">
            <a:xfrm>
              <a:off x="4403" y="2903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38" name="Oval 157"/>
            <p:cNvSpPr>
              <a:spLocks noChangeArrowheads="1"/>
            </p:cNvSpPr>
            <p:nvPr/>
          </p:nvSpPr>
          <p:spPr bwMode="auto">
            <a:xfrm>
              <a:off x="4366" y="297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39" name="Oval 158"/>
            <p:cNvSpPr>
              <a:spLocks noChangeArrowheads="1"/>
            </p:cNvSpPr>
            <p:nvPr/>
          </p:nvSpPr>
          <p:spPr bwMode="auto">
            <a:xfrm>
              <a:off x="4476" y="3054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40" name="Oval 159"/>
            <p:cNvSpPr>
              <a:spLocks noChangeArrowheads="1"/>
            </p:cNvSpPr>
            <p:nvPr/>
          </p:nvSpPr>
          <p:spPr bwMode="auto">
            <a:xfrm>
              <a:off x="4550" y="2979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41" name="Oval 160"/>
            <p:cNvSpPr>
              <a:spLocks noChangeArrowheads="1"/>
            </p:cNvSpPr>
            <p:nvPr/>
          </p:nvSpPr>
          <p:spPr bwMode="auto">
            <a:xfrm>
              <a:off x="4586" y="2865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42" name="Oval 161"/>
            <p:cNvSpPr>
              <a:spLocks noChangeArrowheads="1"/>
            </p:cNvSpPr>
            <p:nvPr/>
          </p:nvSpPr>
          <p:spPr bwMode="auto">
            <a:xfrm>
              <a:off x="4366" y="3130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43" name="Oval 162"/>
            <p:cNvSpPr>
              <a:spLocks noChangeArrowheads="1"/>
            </p:cNvSpPr>
            <p:nvPr/>
          </p:nvSpPr>
          <p:spPr bwMode="auto">
            <a:xfrm>
              <a:off x="4219" y="3168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44" name="Oval 163"/>
            <p:cNvSpPr>
              <a:spLocks noChangeArrowheads="1"/>
            </p:cNvSpPr>
            <p:nvPr/>
          </p:nvSpPr>
          <p:spPr bwMode="auto">
            <a:xfrm>
              <a:off x="4072" y="3130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45" name="Oval 164"/>
            <p:cNvSpPr>
              <a:spLocks noChangeArrowheads="1"/>
            </p:cNvSpPr>
            <p:nvPr/>
          </p:nvSpPr>
          <p:spPr bwMode="auto">
            <a:xfrm>
              <a:off x="3962" y="3054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46" name="Oval 165"/>
            <p:cNvSpPr>
              <a:spLocks noChangeArrowheads="1"/>
            </p:cNvSpPr>
            <p:nvPr/>
          </p:nvSpPr>
          <p:spPr bwMode="auto">
            <a:xfrm>
              <a:off x="3888" y="2940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47" name="Oval 166"/>
            <p:cNvSpPr>
              <a:spLocks noChangeArrowheads="1"/>
            </p:cNvSpPr>
            <p:nvPr/>
          </p:nvSpPr>
          <p:spPr bwMode="auto">
            <a:xfrm>
              <a:off x="3852" y="2826"/>
              <a:ext cx="73" cy="77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48" name="Oval 167"/>
            <p:cNvSpPr>
              <a:spLocks noChangeArrowheads="1"/>
            </p:cNvSpPr>
            <p:nvPr/>
          </p:nvSpPr>
          <p:spPr bwMode="auto">
            <a:xfrm>
              <a:off x="3852" y="2713"/>
              <a:ext cx="73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49" name="Oval 168"/>
            <p:cNvSpPr>
              <a:spLocks noChangeArrowheads="1"/>
            </p:cNvSpPr>
            <p:nvPr/>
          </p:nvSpPr>
          <p:spPr bwMode="auto">
            <a:xfrm>
              <a:off x="4586" y="2751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50" name="Oval 169"/>
            <p:cNvSpPr>
              <a:spLocks noChangeArrowheads="1"/>
            </p:cNvSpPr>
            <p:nvPr/>
          </p:nvSpPr>
          <p:spPr bwMode="auto">
            <a:xfrm>
              <a:off x="3852" y="2599"/>
              <a:ext cx="73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51" name="Oval 170"/>
            <p:cNvSpPr>
              <a:spLocks noChangeArrowheads="1"/>
            </p:cNvSpPr>
            <p:nvPr/>
          </p:nvSpPr>
          <p:spPr bwMode="auto">
            <a:xfrm>
              <a:off x="3925" y="2485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52" name="Oval 171"/>
            <p:cNvSpPr>
              <a:spLocks noChangeArrowheads="1"/>
            </p:cNvSpPr>
            <p:nvPr/>
          </p:nvSpPr>
          <p:spPr bwMode="auto">
            <a:xfrm>
              <a:off x="3998" y="2409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53" name="Oval 172"/>
            <p:cNvSpPr>
              <a:spLocks noChangeArrowheads="1"/>
            </p:cNvSpPr>
            <p:nvPr/>
          </p:nvSpPr>
          <p:spPr bwMode="auto">
            <a:xfrm>
              <a:off x="4109" y="2371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54" name="Oval 173"/>
            <p:cNvSpPr>
              <a:spLocks noChangeArrowheads="1"/>
            </p:cNvSpPr>
            <p:nvPr/>
          </p:nvSpPr>
          <p:spPr bwMode="auto">
            <a:xfrm>
              <a:off x="4219" y="2333"/>
              <a:ext cx="74" cy="77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55" name="Oval 174"/>
            <p:cNvSpPr>
              <a:spLocks noChangeArrowheads="1"/>
            </p:cNvSpPr>
            <p:nvPr/>
          </p:nvSpPr>
          <p:spPr bwMode="auto">
            <a:xfrm>
              <a:off x="4330" y="2371"/>
              <a:ext cx="73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56" name="Oval 175"/>
            <p:cNvSpPr>
              <a:spLocks noChangeArrowheads="1"/>
            </p:cNvSpPr>
            <p:nvPr/>
          </p:nvSpPr>
          <p:spPr bwMode="auto">
            <a:xfrm>
              <a:off x="4440" y="2409"/>
              <a:ext cx="73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57" name="Oval 176"/>
            <p:cNvSpPr>
              <a:spLocks noChangeArrowheads="1"/>
            </p:cNvSpPr>
            <p:nvPr/>
          </p:nvSpPr>
          <p:spPr bwMode="auto">
            <a:xfrm>
              <a:off x="4513" y="2523"/>
              <a:ext cx="74" cy="76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58" name="Oval 177"/>
            <p:cNvSpPr>
              <a:spLocks noChangeArrowheads="1"/>
            </p:cNvSpPr>
            <p:nvPr/>
          </p:nvSpPr>
          <p:spPr bwMode="auto">
            <a:xfrm>
              <a:off x="4586" y="2636"/>
              <a:ext cx="74" cy="77"/>
            </a:xfrm>
            <a:prstGeom prst="ellipse">
              <a:avLst/>
            </a:prstGeom>
            <a:gradFill rotWithShape="1">
              <a:gsLst>
                <a:gs pos="0">
                  <a:srgbClr val="990099"/>
                </a:gs>
                <a:gs pos="100000">
                  <a:srgbClr val="D7AFFF">
                    <a:alpha val="14000"/>
                  </a:srgbClr>
                </a:gs>
              </a:gsLst>
              <a:path path="shape">
                <a:fillToRect l="50000" t="50000" r="50000" b="50000"/>
              </a:path>
            </a:gra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59" name="AutoShape 178"/>
            <p:cNvSpPr>
              <a:spLocks noChangeArrowheads="1"/>
            </p:cNvSpPr>
            <p:nvPr/>
          </p:nvSpPr>
          <p:spPr bwMode="auto">
            <a:xfrm>
              <a:off x="4697" y="2636"/>
              <a:ext cx="330" cy="257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404 w 21600"/>
                <a:gd name="T13" fmla="*/ 5379 h 21600"/>
                <a:gd name="T14" fmla="*/ 18916 w 21600"/>
                <a:gd name="T15" fmla="*/ 162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760" name="AutoShape 179"/>
            <p:cNvSpPr>
              <a:spLocks noChangeArrowheads="1"/>
            </p:cNvSpPr>
            <p:nvPr/>
          </p:nvSpPr>
          <p:spPr bwMode="auto">
            <a:xfrm rot="10800000">
              <a:off x="3484" y="2636"/>
              <a:ext cx="314" cy="257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1 w 21600"/>
                <a:gd name="T13" fmla="*/ 5379 h 21600"/>
                <a:gd name="T14" fmla="*/ 18917 w 21600"/>
                <a:gd name="T15" fmla="*/ 1622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761" name="AutoShape 180"/>
            <p:cNvSpPr>
              <a:spLocks noChangeArrowheads="1"/>
            </p:cNvSpPr>
            <p:nvPr/>
          </p:nvSpPr>
          <p:spPr bwMode="auto">
            <a:xfrm rot="-5400000">
              <a:off x="4107" y="2030"/>
              <a:ext cx="325" cy="24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90 w 21600"/>
                <a:gd name="T13" fmla="*/ 5400 h 21600"/>
                <a:gd name="T14" fmla="*/ 18875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762" name="AutoShape 181"/>
            <p:cNvSpPr>
              <a:spLocks noChangeArrowheads="1"/>
            </p:cNvSpPr>
            <p:nvPr/>
          </p:nvSpPr>
          <p:spPr bwMode="auto">
            <a:xfrm rot="-2364142">
              <a:off x="4550" y="2219"/>
              <a:ext cx="324" cy="25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400 w 21600"/>
                <a:gd name="T13" fmla="*/ 5400 h 21600"/>
                <a:gd name="T14" fmla="*/ 18867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763" name="AutoShape 182"/>
            <p:cNvSpPr>
              <a:spLocks noChangeArrowheads="1"/>
            </p:cNvSpPr>
            <p:nvPr/>
          </p:nvSpPr>
          <p:spPr bwMode="auto">
            <a:xfrm rot="2382720">
              <a:off x="4586" y="3054"/>
              <a:ext cx="317" cy="25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407 w 21600"/>
                <a:gd name="T13" fmla="*/ 5400 h 21600"/>
                <a:gd name="T14" fmla="*/ 18874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764" name="AutoShape 183"/>
            <p:cNvSpPr>
              <a:spLocks noChangeArrowheads="1"/>
            </p:cNvSpPr>
            <p:nvPr/>
          </p:nvSpPr>
          <p:spPr bwMode="auto">
            <a:xfrm rot="8328387">
              <a:off x="3668" y="3093"/>
              <a:ext cx="314" cy="25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1 w 21600"/>
                <a:gd name="T13" fmla="*/ 5400 h 21600"/>
                <a:gd name="T14" fmla="*/ 18917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765" name="AutoShape 184"/>
            <p:cNvSpPr>
              <a:spLocks noChangeArrowheads="1"/>
            </p:cNvSpPr>
            <p:nvPr/>
          </p:nvSpPr>
          <p:spPr bwMode="auto">
            <a:xfrm rot="5400000">
              <a:off x="4118" y="3272"/>
              <a:ext cx="304" cy="24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39 w 21600"/>
                <a:gd name="T13" fmla="*/ 5400 h 21600"/>
                <a:gd name="T14" fmla="*/ 18900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766" name="AutoShape 185"/>
            <p:cNvSpPr>
              <a:spLocks noChangeArrowheads="1"/>
            </p:cNvSpPr>
            <p:nvPr/>
          </p:nvSpPr>
          <p:spPr bwMode="auto">
            <a:xfrm rot="-8240971">
              <a:off x="3668" y="2219"/>
              <a:ext cx="301" cy="25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3 w 21600"/>
                <a:gd name="T13" fmla="*/ 5400 h 21600"/>
                <a:gd name="T14" fmla="*/ 18873 w 21600"/>
                <a:gd name="T15" fmla="*/ 162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lnTo>
                    <a:pt x="16200" y="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lnTo>
                    <a:pt x="135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lnTo>
                    <a:pt x="0" y="5400"/>
                  </a:lnTo>
                  <a:close/>
                </a:path>
              </a:pathLst>
            </a:custGeom>
            <a:gradFill rotWithShape="1">
              <a:gsLst>
                <a:gs pos="0">
                  <a:srgbClr val="D7AFFF"/>
                </a:gs>
                <a:gs pos="100000">
                  <a:schemeClr val="bg1">
                    <a:alpha val="17000"/>
                  </a:schemeClr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767" name="Oval 186"/>
            <p:cNvSpPr>
              <a:spLocks noChangeArrowheads="1"/>
            </p:cNvSpPr>
            <p:nvPr/>
          </p:nvSpPr>
          <p:spPr bwMode="auto">
            <a:xfrm>
              <a:off x="4366" y="2940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68" name="Oval 187"/>
            <p:cNvSpPr>
              <a:spLocks noChangeArrowheads="1"/>
            </p:cNvSpPr>
            <p:nvPr/>
          </p:nvSpPr>
          <p:spPr bwMode="auto">
            <a:xfrm>
              <a:off x="4440" y="2903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69" name="Oval 188"/>
            <p:cNvSpPr>
              <a:spLocks noChangeArrowheads="1"/>
            </p:cNvSpPr>
            <p:nvPr/>
          </p:nvSpPr>
          <p:spPr bwMode="auto">
            <a:xfrm>
              <a:off x="4292" y="3016"/>
              <a:ext cx="74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70" name="Oval 189"/>
            <p:cNvSpPr>
              <a:spLocks noChangeArrowheads="1"/>
            </p:cNvSpPr>
            <p:nvPr/>
          </p:nvSpPr>
          <p:spPr bwMode="auto">
            <a:xfrm>
              <a:off x="4036" y="2940"/>
              <a:ext cx="73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71" name="Oval 190"/>
            <p:cNvSpPr>
              <a:spLocks noChangeArrowheads="1"/>
            </p:cNvSpPr>
            <p:nvPr/>
          </p:nvSpPr>
          <p:spPr bwMode="auto">
            <a:xfrm>
              <a:off x="4072" y="2826"/>
              <a:ext cx="74" cy="77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72" name="Oval 191"/>
            <p:cNvSpPr>
              <a:spLocks noChangeArrowheads="1"/>
            </p:cNvSpPr>
            <p:nvPr/>
          </p:nvSpPr>
          <p:spPr bwMode="auto">
            <a:xfrm>
              <a:off x="4366" y="2751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73" name="Oval 192"/>
            <p:cNvSpPr>
              <a:spLocks noChangeArrowheads="1"/>
            </p:cNvSpPr>
            <p:nvPr/>
          </p:nvSpPr>
          <p:spPr bwMode="auto">
            <a:xfrm>
              <a:off x="3962" y="267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74" name="Oval 193"/>
            <p:cNvSpPr>
              <a:spLocks noChangeArrowheads="1"/>
            </p:cNvSpPr>
            <p:nvPr/>
          </p:nvSpPr>
          <p:spPr bwMode="auto">
            <a:xfrm>
              <a:off x="4109" y="259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75" name="Oval 194"/>
            <p:cNvSpPr>
              <a:spLocks noChangeArrowheads="1"/>
            </p:cNvSpPr>
            <p:nvPr/>
          </p:nvSpPr>
          <p:spPr bwMode="auto">
            <a:xfrm>
              <a:off x="4219" y="2789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  <p:sp>
          <p:nvSpPr>
            <p:cNvPr id="776" name="Oval 195"/>
            <p:cNvSpPr>
              <a:spLocks noChangeArrowheads="1"/>
            </p:cNvSpPr>
            <p:nvPr/>
          </p:nvSpPr>
          <p:spPr bwMode="auto">
            <a:xfrm>
              <a:off x="4072" y="2675"/>
              <a:ext cx="74" cy="76"/>
            </a:xfrm>
            <a:prstGeom prst="ellipse">
              <a:avLst/>
            </a:prstGeom>
            <a:solidFill>
              <a:srgbClr val="9900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defTabSz="457189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400">
                <a:solidFill>
                  <a:srgbClr val="444492"/>
                </a:solidFill>
                <a:ea typeface="SimSun" pitchFamily="2" charset="-122"/>
              </a:endParaRPr>
            </a:p>
          </p:txBody>
        </p:sp>
      </p:grpSp>
      <p:sp>
        <p:nvSpPr>
          <p:cNvPr id="586" name="Rectangle: Rounded Corners 5"/>
          <p:cNvSpPr/>
          <p:nvPr/>
        </p:nvSpPr>
        <p:spPr>
          <a:xfrm>
            <a:off x="4991146" y="1031655"/>
            <a:ext cx="1642295" cy="1333963"/>
          </a:xfrm>
          <a:prstGeom prst="roundRect">
            <a:avLst/>
          </a:prstGeom>
          <a:noFill/>
          <a:ln w="28575">
            <a:solidFill>
              <a:schemeClr val="accent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1435" tIns="25719" rIns="51435" bIns="25719" rtlCol="0" anchor="ctr"/>
          <a:lstStyle/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600" b="1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</p:txBody>
      </p:sp>
      <p:sp>
        <p:nvSpPr>
          <p:cNvPr id="67" name="Rectangle: Rounded Corners 5"/>
          <p:cNvSpPr/>
          <p:nvPr/>
        </p:nvSpPr>
        <p:spPr>
          <a:xfrm>
            <a:off x="4982292" y="3926724"/>
            <a:ext cx="1641600" cy="1512168"/>
          </a:xfrm>
          <a:prstGeom prst="roundRect">
            <a:avLst/>
          </a:prstGeom>
          <a:noFill/>
          <a:ln w="28575">
            <a:solidFill>
              <a:schemeClr val="accent3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1435" tIns="25719" rIns="51435" bIns="25719" rtlCol="0" anchor="ctr"/>
          <a:lstStyle/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600" b="1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  <a:p>
            <a:pPr algn="ctr" defTabSz="6856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300" b="1" baseline="30000" dirty="0">
              <a:solidFill>
                <a:srgbClr val="FFFFFF"/>
              </a:solidFill>
            </a:endParaRPr>
          </a:p>
        </p:txBody>
      </p:sp>
      <p:cxnSp>
        <p:nvCxnSpPr>
          <p:cNvPr id="445" name="Straight Connector 444">
            <a:extLst>
              <a:ext uri="{FF2B5EF4-FFF2-40B4-BE49-F238E27FC236}">
                <a16:creationId xmlns="" xmlns:a16="http://schemas.microsoft.com/office/drawing/2014/main" id="{6085F00D-69F1-4525-BB5F-B95EE32D59AB}"/>
              </a:ext>
            </a:extLst>
          </p:cNvPr>
          <p:cNvCxnSpPr>
            <a:cxnSpLocks/>
          </p:cNvCxnSpPr>
          <p:nvPr/>
        </p:nvCxnSpPr>
        <p:spPr>
          <a:xfrm>
            <a:off x="5816412" y="1612819"/>
            <a:ext cx="0" cy="166559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446" name="Arc 445">
            <a:extLst>
              <a:ext uri="{FF2B5EF4-FFF2-40B4-BE49-F238E27FC236}">
                <a16:creationId xmlns="" xmlns:a16="http://schemas.microsoft.com/office/drawing/2014/main" id="{86DA87FD-071F-4079-BA15-4DADF988C6DB}"/>
              </a:ext>
            </a:extLst>
          </p:cNvPr>
          <p:cNvSpPr/>
          <p:nvPr/>
        </p:nvSpPr>
        <p:spPr>
          <a:xfrm>
            <a:off x="5537095" y="1709807"/>
            <a:ext cx="558636" cy="197591"/>
          </a:xfrm>
          <a:prstGeom prst="arc">
            <a:avLst>
              <a:gd name="adj1" fmla="val 10945659"/>
              <a:gd name="adj2" fmla="val 0"/>
            </a:avLst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219170"/>
            <a:endParaRPr lang="en-GB" dirty="0">
              <a:solidFill>
                <a:srgbClr val="444492"/>
              </a:solidFill>
            </a:endParaRPr>
          </a:p>
        </p:txBody>
      </p:sp>
      <p:sp>
        <p:nvSpPr>
          <p:cNvPr id="448" name="Content Placeholder 3">
            <a:extLst>
              <a:ext uri="{FF2B5EF4-FFF2-40B4-BE49-F238E27FC236}">
                <a16:creationId xmlns="" xmlns:a16="http://schemas.microsoft.com/office/drawing/2014/main" id="{D9195705-32A5-49FA-B357-2F8D750671D8}"/>
              </a:ext>
            </a:extLst>
          </p:cNvPr>
          <p:cNvSpPr txBox="1">
            <a:spLocks/>
          </p:cNvSpPr>
          <p:nvPr/>
        </p:nvSpPr>
        <p:spPr>
          <a:xfrm>
            <a:off x="5067334" y="5462978"/>
            <a:ext cx="1487825" cy="19778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69863" indent="-1698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20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–"/>
              <a:defRPr sz="18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•"/>
              <a:defRPr sz="16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3pPr>
            <a:lvl4pPr marL="719138" indent="-18256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–"/>
              <a:defRPr sz="14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/>
              <a:buChar char="»"/>
              <a:defRPr sz="1200" kern="1200">
                <a:solidFill>
                  <a:srgbClr val="596169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81B838"/>
              </a:buClr>
              <a:buNone/>
            </a:pPr>
            <a:r>
              <a:rPr lang="en-GB" sz="800" dirty="0"/>
              <a:t>For illustrative purposes only</a:t>
            </a:r>
            <a:endParaRPr lang="pt-BR" sz="800" dirty="0"/>
          </a:p>
        </p:txBody>
      </p:sp>
      <p:sp>
        <p:nvSpPr>
          <p:cNvPr id="282" name="Rounded Rectangle 216"/>
          <p:cNvSpPr/>
          <p:nvPr/>
        </p:nvSpPr>
        <p:spPr>
          <a:xfrm>
            <a:off x="5082886" y="2436882"/>
            <a:ext cx="1471121" cy="108104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r>
              <a:rPr lang="en-GB" sz="1300" b="1" dirty="0">
                <a:solidFill>
                  <a:srgbClr val="444492"/>
                </a:solidFill>
              </a:rPr>
              <a:t>More compact SC depot with smaller surface area</a:t>
            </a:r>
            <a:r>
              <a:rPr lang="en-GB" sz="1300" b="1" baseline="30000" dirty="0">
                <a:solidFill>
                  <a:srgbClr val="444492"/>
                </a:solidFill>
              </a:rPr>
              <a:t>1,2</a:t>
            </a:r>
            <a:endParaRPr lang="en-GB" sz="1300" b="1" dirty="0">
              <a:solidFill>
                <a:srgbClr val="444492"/>
              </a:solidFill>
            </a:endParaRPr>
          </a:p>
        </p:txBody>
      </p:sp>
      <p:sp>
        <p:nvSpPr>
          <p:cNvPr id="285" name="Rounded Rectangle 217"/>
          <p:cNvSpPr/>
          <p:nvPr/>
        </p:nvSpPr>
        <p:spPr>
          <a:xfrm>
            <a:off x="7311365" y="2436883"/>
            <a:ext cx="1659619" cy="108486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r>
              <a:rPr lang="en-GB" sz="1300" b="1" dirty="0">
                <a:solidFill>
                  <a:srgbClr val="444492"/>
                </a:solidFill>
              </a:rPr>
              <a:t>More gradual and slower release from depot surface</a:t>
            </a:r>
            <a:r>
              <a:rPr lang="en-GB" sz="1300" b="1" baseline="30000" dirty="0">
                <a:solidFill>
                  <a:srgbClr val="444492"/>
                </a:solidFill>
              </a:rPr>
              <a:t>1-4</a:t>
            </a:r>
            <a:endParaRPr lang="en-GB" sz="1300" b="1" dirty="0">
              <a:solidFill>
                <a:srgbClr val="444492"/>
              </a:solidFill>
            </a:endParaRPr>
          </a:p>
        </p:txBody>
      </p:sp>
      <p:sp>
        <p:nvSpPr>
          <p:cNvPr id="413" name="Arc 412">
            <a:extLst>
              <a:ext uri="{FF2B5EF4-FFF2-40B4-BE49-F238E27FC236}">
                <a16:creationId xmlns="" xmlns:a16="http://schemas.microsoft.com/office/drawing/2014/main" id="{86DA87FD-071F-4079-BA15-4DADF988C6DB}"/>
              </a:ext>
            </a:extLst>
          </p:cNvPr>
          <p:cNvSpPr/>
          <p:nvPr/>
        </p:nvSpPr>
        <p:spPr>
          <a:xfrm>
            <a:off x="5406689" y="4424077"/>
            <a:ext cx="856519" cy="197591"/>
          </a:xfrm>
          <a:prstGeom prst="arc">
            <a:avLst>
              <a:gd name="adj1" fmla="val 10945659"/>
              <a:gd name="adj2" fmla="val 0"/>
            </a:avLst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219170"/>
            <a:endParaRPr lang="en-GB" dirty="0">
              <a:solidFill>
                <a:srgbClr val="444492"/>
              </a:solidFill>
            </a:endParaRPr>
          </a:p>
        </p:txBody>
      </p:sp>
      <p:cxnSp>
        <p:nvCxnSpPr>
          <p:cNvPr id="414" name="Straight Connector 413">
            <a:extLst>
              <a:ext uri="{FF2B5EF4-FFF2-40B4-BE49-F238E27FC236}">
                <a16:creationId xmlns="" xmlns:a16="http://schemas.microsoft.com/office/drawing/2014/main" id="{6085F00D-69F1-4525-BB5F-B95EE32D59AB}"/>
              </a:ext>
            </a:extLst>
          </p:cNvPr>
          <p:cNvCxnSpPr>
            <a:cxnSpLocks/>
          </p:cNvCxnSpPr>
          <p:nvPr/>
        </p:nvCxnSpPr>
        <p:spPr>
          <a:xfrm>
            <a:off x="5816412" y="4323419"/>
            <a:ext cx="0" cy="166559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0719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/>
          <p:cNvSpPr/>
          <p:nvPr/>
        </p:nvSpPr>
        <p:spPr>
          <a:xfrm>
            <a:off x="2749068" y="4334353"/>
            <a:ext cx="6588369" cy="240323"/>
          </a:xfrm>
          <a:custGeom>
            <a:avLst/>
            <a:gdLst>
              <a:gd name="connsiteX0" fmla="*/ 0 w 6588369"/>
              <a:gd name="connsiteY0" fmla="*/ 240323 h 240323"/>
              <a:gd name="connsiteX1" fmla="*/ 275492 w 6588369"/>
              <a:gd name="connsiteY1" fmla="*/ 35169 h 240323"/>
              <a:gd name="connsiteX2" fmla="*/ 556846 w 6588369"/>
              <a:gd name="connsiteY2" fmla="*/ 11723 h 240323"/>
              <a:gd name="connsiteX3" fmla="*/ 1107830 w 6588369"/>
              <a:gd name="connsiteY3" fmla="*/ 5862 h 240323"/>
              <a:gd name="connsiteX4" fmla="*/ 1641230 w 6588369"/>
              <a:gd name="connsiteY4" fmla="*/ 0 h 240323"/>
              <a:gd name="connsiteX5" fmla="*/ 2198076 w 6588369"/>
              <a:gd name="connsiteY5" fmla="*/ 17585 h 240323"/>
              <a:gd name="connsiteX6" fmla="*/ 2749061 w 6588369"/>
              <a:gd name="connsiteY6" fmla="*/ 17585 h 240323"/>
              <a:gd name="connsiteX7" fmla="*/ 3294184 w 6588369"/>
              <a:gd name="connsiteY7" fmla="*/ 35169 h 240323"/>
              <a:gd name="connsiteX8" fmla="*/ 3839307 w 6588369"/>
              <a:gd name="connsiteY8" fmla="*/ 64477 h 240323"/>
              <a:gd name="connsiteX9" fmla="*/ 5503984 w 6588369"/>
              <a:gd name="connsiteY9" fmla="*/ 158262 h 240323"/>
              <a:gd name="connsiteX10" fmla="*/ 6588369 w 6588369"/>
              <a:gd name="connsiteY10" fmla="*/ 240323 h 240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88369" h="240323">
                <a:moveTo>
                  <a:pt x="0" y="240323"/>
                </a:moveTo>
                <a:lnTo>
                  <a:pt x="275492" y="35169"/>
                </a:lnTo>
                <a:lnTo>
                  <a:pt x="556846" y="11723"/>
                </a:lnTo>
                <a:lnTo>
                  <a:pt x="1107830" y="5862"/>
                </a:lnTo>
                <a:lnTo>
                  <a:pt x="1641230" y="0"/>
                </a:lnTo>
                <a:lnTo>
                  <a:pt x="2198076" y="17585"/>
                </a:lnTo>
                <a:lnTo>
                  <a:pt x="2749061" y="17585"/>
                </a:lnTo>
                <a:lnTo>
                  <a:pt x="3294184" y="35169"/>
                </a:lnTo>
                <a:lnTo>
                  <a:pt x="3839307" y="64477"/>
                </a:lnTo>
                <a:lnTo>
                  <a:pt x="5503984" y="158262"/>
                </a:lnTo>
                <a:lnTo>
                  <a:pt x="6588369" y="240323"/>
                </a:lnTo>
              </a:path>
            </a:pathLst>
          </a:custGeom>
          <a:noFill/>
          <a:ln w="28575">
            <a:solidFill>
              <a:srgbClr val="56258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/>
            <a:endParaRPr lang="en-GB" sz="1867" dirty="0"/>
          </a:p>
        </p:txBody>
      </p:sp>
      <p:grpSp>
        <p:nvGrpSpPr>
          <p:cNvPr id="102" name="Group 101"/>
          <p:cNvGrpSpPr/>
          <p:nvPr/>
        </p:nvGrpSpPr>
        <p:grpSpPr>
          <a:xfrm>
            <a:off x="2649107" y="4398173"/>
            <a:ext cx="108000" cy="234161"/>
            <a:chOff x="1187624" y="4293096"/>
            <a:chExt cx="108000" cy="234161"/>
          </a:xfrm>
        </p:grpSpPr>
        <p:cxnSp>
          <p:nvCxnSpPr>
            <p:cNvPr id="103" name="Straight Connector 102"/>
            <p:cNvCxnSpPr/>
            <p:nvPr/>
          </p:nvCxnSpPr>
          <p:spPr>
            <a:xfrm>
              <a:off x="1286977" y="4293096"/>
              <a:ext cx="0" cy="188677"/>
            </a:xfrm>
            <a:prstGeom prst="line">
              <a:avLst/>
            </a:prstGeom>
            <a:ln>
              <a:solidFill>
                <a:srgbClr val="562583"/>
              </a:solidFill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104" name="Oval 103"/>
            <p:cNvSpPr/>
            <p:nvPr/>
          </p:nvSpPr>
          <p:spPr>
            <a:xfrm>
              <a:off x="1187624" y="4419257"/>
              <a:ext cx="108000" cy="108000"/>
            </a:xfrm>
            <a:prstGeom prst="ellipse">
              <a:avLst/>
            </a:prstGeom>
            <a:solidFill>
              <a:srgbClr val="56258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dirty="0"/>
            </a:p>
          </p:txBody>
        </p:sp>
      </p:grpSp>
      <p:cxnSp>
        <p:nvCxnSpPr>
          <p:cNvPr id="121" name="Straight Connector 120"/>
          <p:cNvCxnSpPr/>
          <p:nvPr/>
        </p:nvCxnSpPr>
        <p:spPr>
          <a:xfrm>
            <a:off x="2996987" y="4169848"/>
            <a:ext cx="0" cy="188677"/>
          </a:xfrm>
          <a:prstGeom prst="line">
            <a:avLst/>
          </a:prstGeom>
          <a:ln>
            <a:solidFill>
              <a:srgbClr val="562583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22" name="Oval 121"/>
          <p:cNvSpPr/>
          <p:nvPr/>
        </p:nvSpPr>
        <p:spPr>
          <a:xfrm>
            <a:off x="2910512" y="4296007"/>
            <a:ext cx="108000" cy="108000"/>
          </a:xfrm>
          <a:prstGeom prst="ellipse">
            <a:avLst/>
          </a:prstGeom>
          <a:solidFill>
            <a:srgbClr val="56258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/>
            <a:endParaRPr lang="en-GB" sz="1867" dirty="0"/>
          </a:p>
        </p:txBody>
      </p:sp>
      <p:cxnSp>
        <p:nvCxnSpPr>
          <p:cNvPr id="124" name="Straight Connector 123"/>
          <p:cNvCxnSpPr/>
          <p:nvPr/>
        </p:nvCxnSpPr>
        <p:spPr>
          <a:xfrm>
            <a:off x="3279451" y="4156652"/>
            <a:ext cx="0" cy="188677"/>
          </a:xfrm>
          <a:prstGeom prst="line">
            <a:avLst/>
          </a:prstGeom>
          <a:ln>
            <a:solidFill>
              <a:srgbClr val="562583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25" name="Oval 124"/>
          <p:cNvSpPr/>
          <p:nvPr/>
        </p:nvSpPr>
        <p:spPr>
          <a:xfrm>
            <a:off x="3205855" y="4282812"/>
            <a:ext cx="108000" cy="108000"/>
          </a:xfrm>
          <a:prstGeom prst="ellipse">
            <a:avLst/>
          </a:prstGeom>
          <a:solidFill>
            <a:srgbClr val="56258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/>
            <a:endParaRPr lang="en-GB" sz="1867" dirty="0"/>
          </a:p>
        </p:txBody>
      </p:sp>
      <p:cxnSp>
        <p:nvCxnSpPr>
          <p:cNvPr id="127" name="Straight Connector 126"/>
          <p:cNvCxnSpPr/>
          <p:nvPr/>
        </p:nvCxnSpPr>
        <p:spPr>
          <a:xfrm>
            <a:off x="3822471" y="4144728"/>
            <a:ext cx="0" cy="188677"/>
          </a:xfrm>
          <a:prstGeom prst="line">
            <a:avLst/>
          </a:prstGeom>
          <a:ln>
            <a:solidFill>
              <a:srgbClr val="562583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28" name="Oval 127"/>
          <p:cNvSpPr/>
          <p:nvPr/>
        </p:nvSpPr>
        <p:spPr>
          <a:xfrm>
            <a:off x="3742435" y="4270887"/>
            <a:ext cx="108000" cy="108000"/>
          </a:xfrm>
          <a:prstGeom prst="ellipse">
            <a:avLst/>
          </a:prstGeom>
          <a:solidFill>
            <a:srgbClr val="56258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/>
            <a:endParaRPr lang="en-GB" sz="1867" dirty="0"/>
          </a:p>
        </p:txBody>
      </p:sp>
      <p:grpSp>
        <p:nvGrpSpPr>
          <p:cNvPr id="129" name="Group 128"/>
          <p:cNvGrpSpPr/>
          <p:nvPr/>
        </p:nvGrpSpPr>
        <p:grpSpPr>
          <a:xfrm>
            <a:off x="4306359" y="4109138"/>
            <a:ext cx="108000" cy="234161"/>
            <a:chOff x="1187624" y="4293096"/>
            <a:chExt cx="108000" cy="234161"/>
          </a:xfrm>
        </p:grpSpPr>
        <p:cxnSp>
          <p:nvCxnSpPr>
            <p:cNvPr id="130" name="Straight Connector 129"/>
            <p:cNvCxnSpPr/>
            <p:nvPr/>
          </p:nvCxnSpPr>
          <p:spPr>
            <a:xfrm>
              <a:off x="1261221" y="4293096"/>
              <a:ext cx="0" cy="188677"/>
            </a:xfrm>
            <a:prstGeom prst="line">
              <a:avLst/>
            </a:prstGeom>
            <a:ln>
              <a:solidFill>
                <a:srgbClr val="562583"/>
              </a:solidFill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131" name="Oval 130"/>
            <p:cNvSpPr/>
            <p:nvPr/>
          </p:nvSpPr>
          <p:spPr>
            <a:xfrm>
              <a:off x="1187624" y="4419257"/>
              <a:ext cx="108000" cy="108000"/>
            </a:xfrm>
            <a:prstGeom prst="ellipse">
              <a:avLst/>
            </a:prstGeom>
            <a:solidFill>
              <a:srgbClr val="56258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dirty="0"/>
            </a:p>
          </p:txBody>
        </p:sp>
      </p:grpSp>
      <p:grpSp>
        <p:nvGrpSpPr>
          <p:cNvPr id="132" name="Group 131"/>
          <p:cNvGrpSpPr/>
          <p:nvPr/>
        </p:nvGrpSpPr>
        <p:grpSpPr>
          <a:xfrm>
            <a:off x="4838275" y="4156705"/>
            <a:ext cx="108000" cy="234161"/>
            <a:chOff x="1187624" y="4293096"/>
            <a:chExt cx="108000" cy="234161"/>
          </a:xfrm>
        </p:grpSpPr>
        <p:cxnSp>
          <p:nvCxnSpPr>
            <p:cNvPr id="133" name="Straight Connector 132"/>
            <p:cNvCxnSpPr/>
            <p:nvPr/>
          </p:nvCxnSpPr>
          <p:spPr>
            <a:xfrm>
              <a:off x="1286977" y="4293096"/>
              <a:ext cx="0" cy="188677"/>
            </a:xfrm>
            <a:prstGeom prst="line">
              <a:avLst/>
            </a:prstGeom>
            <a:ln>
              <a:solidFill>
                <a:srgbClr val="562583"/>
              </a:solidFill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134" name="Oval 133"/>
            <p:cNvSpPr/>
            <p:nvPr/>
          </p:nvSpPr>
          <p:spPr>
            <a:xfrm>
              <a:off x="1187624" y="4419257"/>
              <a:ext cx="108000" cy="108000"/>
            </a:xfrm>
            <a:prstGeom prst="ellipse">
              <a:avLst/>
            </a:prstGeom>
            <a:solidFill>
              <a:srgbClr val="56258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dirty="0"/>
            </a:p>
          </p:txBody>
        </p:sp>
      </p:grpSp>
      <p:grpSp>
        <p:nvGrpSpPr>
          <p:cNvPr id="135" name="Group 134"/>
          <p:cNvGrpSpPr/>
          <p:nvPr/>
        </p:nvGrpSpPr>
        <p:grpSpPr>
          <a:xfrm>
            <a:off x="5402199" y="4154344"/>
            <a:ext cx="108000" cy="259917"/>
            <a:chOff x="1187624" y="4267340"/>
            <a:chExt cx="108000" cy="259917"/>
          </a:xfrm>
        </p:grpSpPr>
        <p:cxnSp>
          <p:nvCxnSpPr>
            <p:cNvPr id="136" name="Straight Connector 135"/>
            <p:cNvCxnSpPr/>
            <p:nvPr/>
          </p:nvCxnSpPr>
          <p:spPr>
            <a:xfrm>
              <a:off x="1254782" y="4267340"/>
              <a:ext cx="0" cy="188677"/>
            </a:xfrm>
            <a:prstGeom prst="line">
              <a:avLst/>
            </a:prstGeom>
            <a:ln>
              <a:solidFill>
                <a:srgbClr val="562583"/>
              </a:solidFill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137" name="Oval 136"/>
            <p:cNvSpPr/>
            <p:nvPr/>
          </p:nvSpPr>
          <p:spPr>
            <a:xfrm>
              <a:off x="1187624" y="4419257"/>
              <a:ext cx="108000" cy="108000"/>
            </a:xfrm>
            <a:prstGeom prst="ellipse">
              <a:avLst/>
            </a:prstGeom>
            <a:solidFill>
              <a:srgbClr val="56258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dirty="0"/>
            </a:p>
          </p:txBody>
        </p:sp>
      </p:grpSp>
      <p:cxnSp>
        <p:nvCxnSpPr>
          <p:cNvPr id="139" name="Straight Connector 138"/>
          <p:cNvCxnSpPr/>
          <p:nvPr/>
        </p:nvCxnSpPr>
        <p:spPr>
          <a:xfrm>
            <a:off x="6020664" y="4162140"/>
            <a:ext cx="0" cy="188677"/>
          </a:xfrm>
          <a:prstGeom prst="line">
            <a:avLst/>
          </a:prstGeom>
          <a:ln>
            <a:solidFill>
              <a:srgbClr val="562583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40" name="Oval 139"/>
          <p:cNvSpPr/>
          <p:nvPr/>
        </p:nvSpPr>
        <p:spPr>
          <a:xfrm>
            <a:off x="5940628" y="4288301"/>
            <a:ext cx="108000" cy="108000"/>
          </a:xfrm>
          <a:prstGeom prst="ellipse">
            <a:avLst/>
          </a:prstGeom>
          <a:solidFill>
            <a:srgbClr val="56258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/>
            <a:endParaRPr lang="en-GB" sz="1867" dirty="0"/>
          </a:p>
        </p:txBody>
      </p:sp>
      <p:cxnSp>
        <p:nvCxnSpPr>
          <p:cNvPr id="142" name="Straight Connector 141"/>
          <p:cNvCxnSpPr/>
          <p:nvPr/>
        </p:nvCxnSpPr>
        <p:spPr>
          <a:xfrm>
            <a:off x="6559171" y="4187148"/>
            <a:ext cx="0" cy="188677"/>
          </a:xfrm>
          <a:prstGeom prst="line">
            <a:avLst/>
          </a:prstGeom>
          <a:ln>
            <a:solidFill>
              <a:srgbClr val="562583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43" name="Oval 142"/>
          <p:cNvSpPr/>
          <p:nvPr/>
        </p:nvSpPr>
        <p:spPr>
          <a:xfrm>
            <a:off x="6492013" y="4313308"/>
            <a:ext cx="108000" cy="108000"/>
          </a:xfrm>
          <a:prstGeom prst="ellipse">
            <a:avLst/>
          </a:prstGeom>
          <a:solidFill>
            <a:srgbClr val="56258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/>
            <a:endParaRPr lang="en-GB" sz="1867" dirty="0"/>
          </a:p>
        </p:txBody>
      </p:sp>
      <p:cxnSp>
        <p:nvCxnSpPr>
          <p:cNvPr id="145" name="Straight Connector 144"/>
          <p:cNvCxnSpPr/>
          <p:nvPr/>
        </p:nvCxnSpPr>
        <p:spPr>
          <a:xfrm>
            <a:off x="7098663" y="4233404"/>
            <a:ext cx="0" cy="188677"/>
          </a:xfrm>
          <a:prstGeom prst="line">
            <a:avLst/>
          </a:prstGeom>
          <a:ln>
            <a:solidFill>
              <a:srgbClr val="562583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46" name="Oval 145"/>
          <p:cNvSpPr/>
          <p:nvPr/>
        </p:nvSpPr>
        <p:spPr>
          <a:xfrm>
            <a:off x="7031504" y="4359563"/>
            <a:ext cx="108000" cy="108000"/>
          </a:xfrm>
          <a:prstGeom prst="ellipse">
            <a:avLst/>
          </a:prstGeom>
          <a:solidFill>
            <a:srgbClr val="56258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/>
            <a:endParaRPr lang="en-GB" sz="1867" dirty="0"/>
          </a:p>
        </p:txBody>
      </p:sp>
      <p:grpSp>
        <p:nvGrpSpPr>
          <p:cNvPr id="147" name="Group 146"/>
          <p:cNvGrpSpPr/>
          <p:nvPr/>
        </p:nvGrpSpPr>
        <p:grpSpPr>
          <a:xfrm>
            <a:off x="8134791" y="4272436"/>
            <a:ext cx="108000" cy="234161"/>
            <a:chOff x="1187624" y="4293096"/>
            <a:chExt cx="108000" cy="234161"/>
          </a:xfrm>
        </p:grpSpPr>
        <p:cxnSp>
          <p:nvCxnSpPr>
            <p:cNvPr id="148" name="Straight Connector 147"/>
            <p:cNvCxnSpPr/>
            <p:nvPr/>
          </p:nvCxnSpPr>
          <p:spPr>
            <a:xfrm>
              <a:off x="1261221" y="4293096"/>
              <a:ext cx="0" cy="188677"/>
            </a:xfrm>
            <a:prstGeom prst="line">
              <a:avLst/>
            </a:prstGeom>
            <a:ln>
              <a:solidFill>
                <a:srgbClr val="562583"/>
              </a:solidFill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149" name="Oval 148"/>
            <p:cNvSpPr/>
            <p:nvPr/>
          </p:nvSpPr>
          <p:spPr>
            <a:xfrm>
              <a:off x="1187624" y="4419257"/>
              <a:ext cx="108000" cy="108000"/>
            </a:xfrm>
            <a:prstGeom prst="ellipse">
              <a:avLst/>
            </a:prstGeom>
            <a:solidFill>
              <a:srgbClr val="56258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dirty="0"/>
            </a:p>
          </p:txBody>
        </p:sp>
      </p:grpSp>
      <p:grpSp>
        <p:nvGrpSpPr>
          <p:cNvPr id="150" name="Group 149"/>
          <p:cNvGrpSpPr/>
          <p:nvPr/>
        </p:nvGrpSpPr>
        <p:grpSpPr>
          <a:xfrm>
            <a:off x="9238076" y="4384146"/>
            <a:ext cx="108000" cy="234161"/>
            <a:chOff x="1187624" y="4293096"/>
            <a:chExt cx="108000" cy="234161"/>
          </a:xfrm>
        </p:grpSpPr>
        <p:cxnSp>
          <p:nvCxnSpPr>
            <p:cNvPr id="151" name="Straight Connector 150"/>
            <p:cNvCxnSpPr/>
            <p:nvPr/>
          </p:nvCxnSpPr>
          <p:spPr>
            <a:xfrm>
              <a:off x="1261221" y="4293096"/>
              <a:ext cx="0" cy="188677"/>
            </a:xfrm>
            <a:prstGeom prst="line">
              <a:avLst/>
            </a:prstGeom>
            <a:ln>
              <a:solidFill>
                <a:srgbClr val="562583"/>
              </a:solidFill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152" name="Oval 151"/>
            <p:cNvSpPr/>
            <p:nvPr/>
          </p:nvSpPr>
          <p:spPr>
            <a:xfrm>
              <a:off x="1187624" y="4419257"/>
              <a:ext cx="108000" cy="108000"/>
            </a:xfrm>
            <a:prstGeom prst="ellipse">
              <a:avLst/>
            </a:prstGeom>
            <a:solidFill>
              <a:srgbClr val="56258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dirty="0"/>
            </a:p>
          </p:txBody>
        </p:sp>
      </p:grpSp>
      <p:sp>
        <p:nvSpPr>
          <p:cNvPr id="29" name="Rectangle 28"/>
          <p:cNvSpPr/>
          <p:nvPr/>
        </p:nvSpPr>
        <p:spPr>
          <a:xfrm>
            <a:off x="4339464" y="2252474"/>
            <a:ext cx="1656184" cy="659351"/>
          </a:xfrm>
          <a:prstGeom prst="rect">
            <a:avLst/>
          </a:prstGeom>
          <a:solidFill>
            <a:schemeClr val="accent3">
              <a:lumMod val="20000"/>
              <a:lumOff val="80000"/>
              <a:alpha val="5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/>
            <a:endParaRPr lang="fr-FR" sz="1867" dirty="0">
              <a:solidFill>
                <a:srgbClr val="596169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995648" y="2222024"/>
            <a:ext cx="1656184" cy="678469"/>
          </a:xfrm>
          <a:prstGeom prst="rect">
            <a:avLst/>
          </a:prstGeom>
          <a:solidFill>
            <a:schemeClr val="accent5">
              <a:lumMod val="20000"/>
              <a:lumOff val="80000"/>
              <a:alpha val="5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/>
            <a:endParaRPr lang="fr-FR" sz="1867" dirty="0">
              <a:solidFill>
                <a:srgbClr val="596169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7651832" y="2222024"/>
            <a:ext cx="1656184" cy="678469"/>
          </a:xfrm>
          <a:prstGeom prst="rect">
            <a:avLst/>
          </a:prstGeom>
          <a:solidFill>
            <a:schemeClr val="accent6">
              <a:lumMod val="20000"/>
              <a:lumOff val="80000"/>
              <a:alpha val="5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/>
            <a:endParaRPr lang="fr-FR" sz="1867" dirty="0">
              <a:solidFill>
                <a:srgbClr val="596169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2683280" y="2006000"/>
            <a:ext cx="1656184" cy="894493"/>
          </a:xfrm>
          <a:prstGeom prst="rect">
            <a:avLst/>
          </a:prstGeom>
          <a:solidFill>
            <a:schemeClr val="accent2">
              <a:lumMod val="20000"/>
              <a:lumOff val="80000"/>
              <a:alpha val="5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/>
            <a:endParaRPr lang="fr-FR" sz="1867" dirty="0">
              <a:solidFill>
                <a:srgbClr val="596169"/>
              </a:solidFill>
            </a:endParaRP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2673212" y="1880803"/>
            <a:ext cx="6524625" cy="525463"/>
          </a:xfrm>
          <a:custGeom>
            <a:avLst/>
            <a:gdLst>
              <a:gd name="T0" fmla="*/ 0 w 2051"/>
              <a:gd name="T1" fmla="*/ 73 h 162"/>
              <a:gd name="T2" fmla="*/ 122 w 2051"/>
              <a:gd name="T3" fmla="*/ 78 h 162"/>
              <a:gd name="T4" fmla="*/ 254 w 2051"/>
              <a:gd name="T5" fmla="*/ 65 h 162"/>
              <a:gd name="T6" fmla="*/ 329 w 2051"/>
              <a:gd name="T7" fmla="*/ 50 h 162"/>
              <a:gd name="T8" fmla="*/ 419 w 2051"/>
              <a:gd name="T9" fmla="*/ 71 h 162"/>
              <a:gd name="T10" fmla="*/ 487 w 2051"/>
              <a:gd name="T11" fmla="*/ 76 h 162"/>
              <a:gd name="T12" fmla="*/ 498 w 2051"/>
              <a:gd name="T13" fmla="*/ 74 h 162"/>
              <a:gd name="T14" fmla="*/ 536 w 2051"/>
              <a:gd name="T15" fmla="*/ 79 h 162"/>
              <a:gd name="T16" fmla="*/ 554 w 2051"/>
              <a:gd name="T17" fmla="*/ 85 h 162"/>
              <a:gd name="T18" fmla="*/ 567 w 2051"/>
              <a:gd name="T19" fmla="*/ 90 h 162"/>
              <a:gd name="T20" fmla="*/ 594 w 2051"/>
              <a:gd name="T21" fmla="*/ 86 h 162"/>
              <a:gd name="T22" fmla="*/ 647 w 2051"/>
              <a:gd name="T23" fmla="*/ 92 h 162"/>
              <a:gd name="T24" fmla="*/ 674 w 2051"/>
              <a:gd name="T25" fmla="*/ 88 h 162"/>
              <a:gd name="T26" fmla="*/ 713 w 2051"/>
              <a:gd name="T27" fmla="*/ 90 h 162"/>
              <a:gd name="T28" fmla="*/ 752 w 2051"/>
              <a:gd name="T29" fmla="*/ 99 h 162"/>
              <a:gd name="T30" fmla="*/ 781 w 2051"/>
              <a:gd name="T31" fmla="*/ 98 h 162"/>
              <a:gd name="T32" fmla="*/ 809 w 2051"/>
              <a:gd name="T33" fmla="*/ 104 h 162"/>
              <a:gd name="T34" fmla="*/ 875 w 2051"/>
              <a:gd name="T35" fmla="*/ 109 h 162"/>
              <a:gd name="T36" fmla="*/ 935 w 2051"/>
              <a:gd name="T37" fmla="*/ 96 h 162"/>
              <a:gd name="T38" fmla="*/ 959 w 2051"/>
              <a:gd name="T39" fmla="*/ 79 h 162"/>
              <a:gd name="T40" fmla="*/ 1086 w 2051"/>
              <a:gd name="T41" fmla="*/ 107 h 162"/>
              <a:gd name="T42" fmla="*/ 1196 w 2051"/>
              <a:gd name="T43" fmla="*/ 101 h 162"/>
              <a:gd name="T44" fmla="*/ 1322 w 2051"/>
              <a:gd name="T45" fmla="*/ 101 h 162"/>
              <a:gd name="T46" fmla="*/ 1406 w 2051"/>
              <a:gd name="T47" fmla="*/ 110 h 162"/>
              <a:gd name="T48" fmla="*/ 1449 w 2051"/>
              <a:gd name="T49" fmla="*/ 99 h 162"/>
              <a:gd name="T50" fmla="*/ 1484 w 2051"/>
              <a:gd name="T51" fmla="*/ 108 h 162"/>
              <a:gd name="T52" fmla="*/ 1508 w 2051"/>
              <a:gd name="T53" fmla="*/ 116 h 162"/>
              <a:gd name="T54" fmla="*/ 1542 w 2051"/>
              <a:gd name="T55" fmla="*/ 109 h 162"/>
              <a:gd name="T56" fmla="*/ 1588 w 2051"/>
              <a:gd name="T57" fmla="*/ 103 h 162"/>
              <a:gd name="T58" fmla="*/ 1662 w 2051"/>
              <a:gd name="T59" fmla="*/ 129 h 162"/>
              <a:gd name="T60" fmla="*/ 1706 w 2051"/>
              <a:gd name="T61" fmla="*/ 108 h 162"/>
              <a:gd name="T62" fmla="*/ 1739 w 2051"/>
              <a:gd name="T63" fmla="*/ 94 h 162"/>
              <a:gd name="T64" fmla="*/ 1778 w 2051"/>
              <a:gd name="T65" fmla="*/ 103 h 162"/>
              <a:gd name="T66" fmla="*/ 1798 w 2051"/>
              <a:gd name="T67" fmla="*/ 110 h 162"/>
              <a:gd name="T68" fmla="*/ 1855 w 2051"/>
              <a:gd name="T69" fmla="*/ 117 h 162"/>
              <a:gd name="T70" fmla="*/ 1881 w 2051"/>
              <a:gd name="T71" fmla="*/ 113 h 162"/>
              <a:gd name="T72" fmla="*/ 1911 w 2051"/>
              <a:gd name="T73" fmla="*/ 111 h 162"/>
              <a:gd name="T74" fmla="*/ 1972 w 2051"/>
              <a:gd name="T75" fmla="*/ 130 h 162"/>
              <a:gd name="T76" fmla="*/ 2051 w 2051"/>
              <a:gd name="T77" fmla="*/ 150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051" h="162">
                <a:moveTo>
                  <a:pt x="0" y="73"/>
                </a:moveTo>
                <a:cubicBezTo>
                  <a:pt x="0" y="73"/>
                  <a:pt x="80" y="110"/>
                  <a:pt x="122" y="78"/>
                </a:cubicBezTo>
                <a:cubicBezTo>
                  <a:pt x="122" y="78"/>
                  <a:pt x="175" y="28"/>
                  <a:pt x="254" y="65"/>
                </a:cubicBezTo>
                <a:cubicBezTo>
                  <a:pt x="254" y="65"/>
                  <a:pt x="285" y="77"/>
                  <a:pt x="329" y="50"/>
                </a:cubicBezTo>
                <a:cubicBezTo>
                  <a:pt x="329" y="50"/>
                  <a:pt x="366" y="22"/>
                  <a:pt x="419" y="71"/>
                </a:cubicBezTo>
                <a:cubicBezTo>
                  <a:pt x="419" y="71"/>
                  <a:pt x="450" y="105"/>
                  <a:pt x="487" y="76"/>
                </a:cubicBezTo>
                <a:cubicBezTo>
                  <a:pt x="489" y="74"/>
                  <a:pt x="495" y="74"/>
                  <a:pt x="498" y="74"/>
                </a:cubicBezTo>
                <a:cubicBezTo>
                  <a:pt x="510" y="72"/>
                  <a:pt x="524" y="75"/>
                  <a:pt x="536" y="79"/>
                </a:cubicBezTo>
                <a:cubicBezTo>
                  <a:pt x="542" y="81"/>
                  <a:pt x="548" y="83"/>
                  <a:pt x="554" y="85"/>
                </a:cubicBezTo>
                <a:cubicBezTo>
                  <a:pt x="558" y="87"/>
                  <a:pt x="562" y="90"/>
                  <a:pt x="567" y="90"/>
                </a:cubicBezTo>
                <a:cubicBezTo>
                  <a:pt x="576" y="91"/>
                  <a:pt x="585" y="87"/>
                  <a:pt x="594" y="86"/>
                </a:cubicBezTo>
                <a:cubicBezTo>
                  <a:pt x="611" y="86"/>
                  <a:pt x="629" y="90"/>
                  <a:pt x="647" y="92"/>
                </a:cubicBezTo>
                <a:cubicBezTo>
                  <a:pt x="656" y="90"/>
                  <a:pt x="665" y="89"/>
                  <a:pt x="674" y="88"/>
                </a:cubicBezTo>
                <a:cubicBezTo>
                  <a:pt x="687" y="85"/>
                  <a:pt x="700" y="86"/>
                  <a:pt x="713" y="90"/>
                </a:cubicBezTo>
                <a:cubicBezTo>
                  <a:pt x="726" y="93"/>
                  <a:pt x="739" y="99"/>
                  <a:pt x="752" y="99"/>
                </a:cubicBezTo>
                <a:cubicBezTo>
                  <a:pt x="762" y="99"/>
                  <a:pt x="772" y="97"/>
                  <a:pt x="781" y="98"/>
                </a:cubicBezTo>
                <a:cubicBezTo>
                  <a:pt x="791" y="99"/>
                  <a:pt x="800" y="101"/>
                  <a:pt x="809" y="104"/>
                </a:cubicBezTo>
                <a:cubicBezTo>
                  <a:pt x="830" y="110"/>
                  <a:pt x="853" y="110"/>
                  <a:pt x="875" y="109"/>
                </a:cubicBezTo>
                <a:cubicBezTo>
                  <a:pt x="895" y="107"/>
                  <a:pt x="916" y="104"/>
                  <a:pt x="935" y="96"/>
                </a:cubicBezTo>
                <a:cubicBezTo>
                  <a:pt x="945" y="93"/>
                  <a:pt x="954" y="87"/>
                  <a:pt x="959" y="79"/>
                </a:cubicBezTo>
                <a:cubicBezTo>
                  <a:pt x="959" y="79"/>
                  <a:pt x="996" y="0"/>
                  <a:pt x="1086" y="107"/>
                </a:cubicBezTo>
                <a:cubicBezTo>
                  <a:pt x="1086" y="107"/>
                  <a:pt x="1120" y="162"/>
                  <a:pt x="1196" y="101"/>
                </a:cubicBezTo>
                <a:cubicBezTo>
                  <a:pt x="1196" y="101"/>
                  <a:pt x="1251" y="54"/>
                  <a:pt x="1322" y="101"/>
                </a:cubicBezTo>
                <a:cubicBezTo>
                  <a:pt x="1343" y="115"/>
                  <a:pt x="1382" y="123"/>
                  <a:pt x="1406" y="110"/>
                </a:cubicBezTo>
                <a:cubicBezTo>
                  <a:pt x="1419" y="103"/>
                  <a:pt x="1433" y="98"/>
                  <a:pt x="1449" y="99"/>
                </a:cubicBezTo>
                <a:cubicBezTo>
                  <a:pt x="1461" y="101"/>
                  <a:pt x="1473" y="104"/>
                  <a:pt x="1484" y="108"/>
                </a:cubicBezTo>
                <a:cubicBezTo>
                  <a:pt x="1492" y="112"/>
                  <a:pt x="1499" y="116"/>
                  <a:pt x="1508" y="116"/>
                </a:cubicBezTo>
                <a:cubicBezTo>
                  <a:pt x="1520" y="116"/>
                  <a:pt x="1531" y="112"/>
                  <a:pt x="1542" y="109"/>
                </a:cubicBezTo>
                <a:cubicBezTo>
                  <a:pt x="1557" y="105"/>
                  <a:pt x="1573" y="102"/>
                  <a:pt x="1588" y="103"/>
                </a:cubicBezTo>
                <a:cubicBezTo>
                  <a:pt x="1614" y="105"/>
                  <a:pt x="1635" y="133"/>
                  <a:pt x="1662" y="129"/>
                </a:cubicBezTo>
                <a:cubicBezTo>
                  <a:pt x="1678" y="127"/>
                  <a:pt x="1693" y="119"/>
                  <a:pt x="1706" y="108"/>
                </a:cubicBezTo>
                <a:cubicBezTo>
                  <a:pt x="1715" y="100"/>
                  <a:pt x="1727" y="95"/>
                  <a:pt x="1739" y="94"/>
                </a:cubicBezTo>
                <a:cubicBezTo>
                  <a:pt x="1753" y="92"/>
                  <a:pt x="1765" y="98"/>
                  <a:pt x="1778" y="103"/>
                </a:cubicBezTo>
                <a:cubicBezTo>
                  <a:pt x="1785" y="105"/>
                  <a:pt x="1791" y="108"/>
                  <a:pt x="1798" y="110"/>
                </a:cubicBezTo>
                <a:cubicBezTo>
                  <a:pt x="1816" y="117"/>
                  <a:pt x="1836" y="117"/>
                  <a:pt x="1855" y="117"/>
                </a:cubicBezTo>
                <a:cubicBezTo>
                  <a:pt x="1864" y="117"/>
                  <a:pt x="1872" y="114"/>
                  <a:pt x="1881" y="113"/>
                </a:cubicBezTo>
                <a:cubicBezTo>
                  <a:pt x="1890" y="111"/>
                  <a:pt x="1901" y="109"/>
                  <a:pt x="1911" y="111"/>
                </a:cubicBezTo>
                <a:cubicBezTo>
                  <a:pt x="1932" y="113"/>
                  <a:pt x="1951" y="124"/>
                  <a:pt x="1972" y="130"/>
                </a:cubicBezTo>
                <a:cubicBezTo>
                  <a:pt x="1998" y="138"/>
                  <a:pt x="2025" y="143"/>
                  <a:pt x="2051" y="150"/>
                </a:cubicBezTo>
              </a:path>
            </a:pathLst>
          </a:custGeom>
          <a:noFill/>
          <a:ln w="28575" cap="flat">
            <a:solidFill>
              <a:srgbClr val="662D9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endParaRPr lang="en-GB" sz="1867" dirty="0">
              <a:solidFill>
                <a:srgbClr val="444492"/>
              </a:solidFill>
            </a:endParaRPr>
          </a:p>
        </p:txBody>
      </p:sp>
      <p:sp>
        <p:nvSpPr>
          <p:cNvPr id="20" name="Freeform 6"/>
          <p:cNvSpPr>
            <a:spLocks/>
          </p:cNvSpPr>
          <p:nvPr/>
        </p:nvSpPr>
        <p:spPr bwMode="auto">
          <a:xfrm>
            <a:off x="2654159" y="1977587"/>
            <a:ext cx="6540500" cy="406400"/>
          </a:xfrm>
          <a:custGeom>
            <a:avLst/>
            <a:gdLst>
              <a:gd name="T0" fmla="*/ 0 w 2056"/>
              <a:gd name="T1" fmla="*/ 42 h 125"/>
              <a:gd name="T2" fmla="*/ 105 w 2056"/>
              <a:gd name="T3" fmla="*/ 55 h 125"/>
              <a:gd name="T4" fmla="*/ 189 w 2056"/>
              <a:gd name="T5" fmla="*/ 40 h 125"/>
              <a:gd name="T6" fmla="*/ 242 w 2056"/>
              <a:gd name="T7" fmla="*/ 15 h 125"/>
              <a:gd name="T8" fmla="*/ 260 w 2056"/>
              <a:gd name="T9" fmla="*/ 6 h 125"/>
              <a:gd name="T10" fmla="*/ 342 w 2056"/>
              <a:gd name="T11" fmla="*/ 16 h 125"/>
              <a:gd name="T12" fmla="*/ 376 w 2056"/>
              <a:gd name="T13" fmla="*/ 22 h 125"/>
              <a:gd name="T14" fmla="*/ 411 w 2056"/>
              <a:gd name="T15" fmla="*/ 26 h 125"/>
              <a:gd name="T16" fmla="*/ 448 w 2056"/>
              <a:gd name="T17" fmla="*/ 31 h 125"/>
              <a:gd name="T18" fmla="*/ 485 w 2056"/>
              <a:gd name="T19" fmla="*/ 51 h 125"/>
              <a:gd name="T20" fmla="*/ 528 w 2056"/>
              <a:gd name="T21" fmla="*/ 62 h 125"/>
              <a:gd name="T22" fmla="*/ 560 w 2056"/>
              <a:gd name="T23" fmla="*/ 66 h 125"/>
              <a:gd name="T24" fmla="*/ 620 w 2056"/>
              <a:gd name="T25" fmla="*/ 66 h 125"/>
              <a:gd name="T26" fmla="*/ 664 w 2056"/>
              <a:gd name="T27" fmla="*/ 61 h 125"/>
              <a:gd name="T28" fmla="*/ 714 w 2056"/>
              <a:gd name="T29" fmla="*/ 54 h 125"/>
              <a:gd name="T30" fmla="*/ 764 w 2056"/>
              <a:gd name="T31" fmla="*/ 66 h 125"/>
              <a:gd name="T32" fmla="*/ 791 w 2056"/>
              <a:gd name="T33" fmla="*/ 71 h 125"/>
              <a:gd name="T34" fmla="*/ 819 w 2056"/>
              <a:gd name="T35" fmla="*/ 74 h 125"/>
              <a:gd name="T36" fmla="*/ 891 w 2056"/>
              <a:gd name="T37" fmla="*/ 72 h 125"/>
              <a:gd name="T38" fmla="*/ 931 w 2056"/>
              <a:gd name="T39" fmla="*/ 75 h 125"/>
              <a:gd name="T40" fmla="*/ 974 w 2056"/>
              <a:gd name="T41" fmla="*/ 72 h 125"/>
              <a:gd name="T42" fmla="*/ 1004 w 2056"/>
              <a:gd name="T43" fmla="*/ 63 h 125"/>
              <a:gd name="T44" fmla="*/ 1042 w 2056"/>
              <a:gd name="T45" fmla="*/ 52 h 125"/>
              <a:gd name="T46" fmla="*/ 1072 w 2056"/>
              <a:gd name="T47" fmla="*/ 61 h 125"/>
              <a:gd name="T48" fmla="*/ 1134 w 2056"/>
              <a:gd name="T49" fmla="*/ 83 h 125"/>
              <a:gd name="T50" fmla="*/ 1190 w 2056"/>
              <a:gd name="T51" fmla="*/ 106 h 125"/>
              <a:gd name="T52" fmla="*/ 1245 w 2056"/>
              <a:gd name="T53" fmla="*/ 90 h 125"/>
              <a:gd name="T54" fmla="*/ 1293 w 2056"/>
              <a:gd name="T55" fmla="*/ 85 h 125"/>
              <a:gd name="T56" fmla="*/ 1339 w 2056"/>
              <a:gd name="T57" fmla="*/ 100 h 125"/>
              <a:gd name="T58" fmla="*/ 1397 w 2056"/>
              <a:gd name="T59" fmla="*/ 98 h 125"/>
              <a:gd name="T60" fmla="*/ 1424 w 2056"/>
              <a:gd name="T61" fmla="*/ 90 h 125"/>
              <a:gd name="T62" fmla="*/ 1453 w 2056"/>
              <a:gd name="T63" fmla="*/ 91 h 125"/>
              <a:gd name="T64" fmla="*/ 1484 w 2056"/>
              <a:gd name="T65" fmla="*/ 90 h 125"/>
              <a:gd name="T66" fmla="*/ 1519 w 2056"/>
              <a:gd name="T67" fmla="*/ 81 h 125"/>
              <a:gd name="T68" fmla="*/ 1554 w 2056"/>
              <a:gd name="T69" fmla="*/ 87 h 125"/>
              <a:gd name="T70" fmla="*/ 1591 w 2056"/>
              <a:gd name="T71" fmla="*/ 88 h 125"/>
              <a:gd name="T72" fmla="*/ 1650 w 2056"/>
              <a:gd name="T73" fmla="*/ 75 h 125"/>
              <a:gd name="T74" fmla="*/ 1711 w 2056"/>
              <a:gd name="T75" fmla="*/ 78 h 125"/>
              <a:gd name="T76" fmla="*/ 1741 w 2056"/>
              <a:gd name="T77" fmla="*/ 91 h 125"/>
              <a:gd name="T78" fmla="*/ 1774 w 2056"/>
              <a:gd name="T79" fmla="*/ 95 h 125"/>
              <a:gd name="T80" fmla="*/ 1797 w 2056"/>
              <a:gd name="T81" fmla="*/ 87 h 125"/>
              <a:gd name="T82" fmla="*/ 1841 w 2056"/>
              <a:gd name="T83" fmla="*/ 75 h 125"/>
              <a:gd name="T84" fmla="*/ 1871 w 2056"/>
              <a:gd name="T85" fmla="*/ 92 h 125"/>
              <a:gd name="T86" fmla="*/ 1921 w 2056"/>
              <a:gd name="T87" fmla="*/ 117 h 125"/>
              <a:gd name="T88" fmla="*/ 1971 w 2056"/>
              <a:gd name="T89" fmla="*/ 122 h 125"/>
              <a:gd name="T90" fmla="*/ 2011 w 2056"/>
              <a:gd name="T91" fmla="*/ 123 h 125"/>
              <a:gd name="T92" fmla="*/ 2056 w 2056"/>
              <a:gd name="T93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056" h="125">
                <a:moveTo>
                  <a:pt x="0" y="42"/>
                </a:moveTo>
                <a:cubicBezTo>
                  <a:pt x="0" y="42"/>
                  <a:pt x="52" y="14"/>
                  <a:pt x="105" y="55"/>
                </a:cubicBezTo>
                <a:cubicBezTo>
                  <a:pt x="105" y="55"/>
                  <a:pt x="121" y="77"/>
                  <a:pt x="189" y="40"/>
                </a:cubicBezTo>
                <a:cubicBezTo>
                  <a:pt x="189" y="40"/>
                  <a:pt x="241" y="15"/>
                  <a:pt x="242" y="15"/>
                </a:cubicBezTo>
                <a:cubicBezTo>
                  <a:pt x="248" y="12"/>
                  <a:pt x="253" y="8"/>
                  <a:pt x="260" y="6"/>
                </a:cubicBezTo>
                <a:cubicBezTo>
                  <a:pt x="286" y="0"/>
                  <a:pt x="316" y="11"/>
                  <a:pt x="342" y="16"/>
                </a:cubicBezTo>
                <a:cubicBezTo>
                  <a:pt x="353" y="18"/>
                  <a:pt x="364" y="20"/>
                  <a:pt x="376" y="22"/>
                </a:cubicBezTo>
                <a:cubicBezTo>
                  <a:pt x="387" y="24"/>
                  <a:pt x="399" y="27"/>
                  <a:pt x="411" y="26"/>
                </a:cubicBezTo>
                <a:cubicBezTo>
                  <a:pt x="424" y="26"/>
                  <a:pt x="436" y="26"/>
                  <a:pt x="448" y="31"/>
                </a:cubicBezTo>
                <a:cubicBezTo>
                  <a:pt x="461" y="36"/>
                  <a:pt x="473" y="45"/>
                  <a:pt x="485" y="51"/>
                </a:cubicBezTo>
                <a:cubicBezTo>
                  <a:pt x="499" y="58"/>
                  <a:pt x="513" y="60"/>
                  <a:pt x="528" y="62"/>
                </a:cubicBezTo>
                <a:cubicBezTo>
                  <a:pt x="539" y="63"/>
                  <a:pt x="549" y="65"/>
                  <a:pt x="560" y="66"/>
                </a:cubicBezTo>
                <a:cubicBezTo>
                  <a:pt x="580" y="67"/>
                  <a:pt x="600" y="66"/>
                  <a:pt x="620" y="66"/>
                </a:cubicBezTo>
                <a:cubicBezTo>
                  <a:pt x="634" y="65"/>
                  <a:pt x="650" y="63"/>
                  <a:pt x="664" y="61"/>
                </a:cubicBezTo>
                <a:cubicBezTo>
                  <a:pt x="681" y="60"/>
                  <a:pt x="697" y="53"/>
                  <a:pt x="714" y="54"/>
                </a:cubicBezTo>
                <a:cubicBezTo>
                  <a:pt x="731" y="54"/>
                  <a:pt x="748" y="59"/>
                  <a:pt x="764" y="66"/>
                </a:cubicBezTo>
                <a:cubicBezTo>
                  <a:pt x="772" y="70"/>
                  <a:pt x="782" y="70"/>
                  <a:pt x="791" y="71"/>
                </a:cubicBezTo>
                <a:cubicBezTo>
                  <a:pt x="800" y="72"/>
                  <a:pt x="810" y="74"/>
                  <a:pt x="819" y="74"/>
                </a:cubicBezTo>
                <a:cubicBezTo>
                  <a:pt x="843" y="74"/>
                  <a:pt x="867" y="71"/>
                  <a:pt x="891" y="72"/>
                </a:cubicBezTo>
                <a:cubicBezTo>
                  <a:pt x="904" y="72"/>
                  <a:pt x="917" y="74"/>
                  <a:pt x="931" y="75"/>
                </a:cubicBezTo>
                <a:cubicBezTo>
                  <a:pt x="945" y="76"/>
                  <a:pt x="960" y="74"/>
                  <a:pt x="974" y="72"/>
                </a:cubicBezTo>
                <a:cubicBezTo>
                  <a:pt x="984" y="71"/>
                  <a:pt x="994" y="67"/>
                  <a:pt x="1004" y="63"/>
                </a:cubicBezTo>
                <a:cubicBezTo>
                  <a:pt x="1015" y="59"/>
                  <a:pt x="1030" y="51"/>
                  <a:pt x="1042" y="52"/>
                </a:cubicBezTo>
                <a:cubicBezTo>
                  <a:pt x="1052" y="53"/>
                  <a:pt x="1062" y="58"/>
                  <a:pt x="1072" y="61"/>
                </a:cubicBezTo>
                <a:cubicBezTo>
                  <a:pt x="1093" y="68"/>
                  <a:pt x="1113" y="75"/>
                  <a:pt x="1134" y="83"/>
                </a:cubicBezTo>
                <a:cubicBezTo>
                  <a:pt x="1151" y="90"/>
                  <a:pt x="1171" y="105"/>
                  <a:pt x="1190" y="106"/>
                </a:cubicBezTo>
                <a:cubicBezTo>
                  <a:pt x="1209" y="107"/>
                  <a:pt x="1228" y="97"/>
                  <a:pt x="1245" y="90"/>
                </a:cubicBezTo>
                <a:cubicBezTo>
                  <a:pt x="1260" y="84"/>
                  <a:pt x="1277" y="82"/>
                  <a:pt x="1293" y="85"/>
                </a:cubicBezTo>
                <a:cubicBezTo>
                  <a:pt x="1309" y="88"/>
                  <a:pt x="1323" y="97"/>
                  <a:pt x="1339" y="100"/>
                </a:cubicBezTo>
                <a:cubicBezTo>
                  <a:pt x="1358" y="105"/>
                  <a:pt x="1378" y="103"/>
                  <a:pt x="1397" y="98"/>
                </a:cubicBezTo>
                <a:cubicBezTo>
                  <a:pt x="1406" y="96"/>
                  <a:pt x="1415" y="92"/>
                  <a:pt x="1424" y="90"/>
                </a:cubicBezTo>
                <a:cubicBezTo>
                  <a:pt x="1434" y="88"/>
                  <a:pt x="1443" y="91"/>
                  <a:pt x="1453" y="91"/>
                </a:cubicBezTo>
                <a:cubicBezTo>
                  <a:pt x="1464" y="92"/>
                  <a:pt x="1474" y="92"/>
                  <a:pt x="1484" y="90"/>
                </a:cubicBezTo>
                <a:cubicBezTo>
                  <a:pt x="1496" y="88"/>
                  <a:pt x="1507" y="82"/>
                  <a:pt x="1519" y="81"/>
                </a:cubicBezTo>
                <a:cubicBezTo>
                  <a:pt x="1531" y="80"/>
                  <a:pt x="1542" y="85"/>
                  <a:pt x="1554" y="87"/>
                </a:cubicBezTo>
                <a:cubicBezTo>
                  <a:pt x="1566" y="88"/>
                  <a:pt x="1579" y="89"/>
                  <a:pt x="1591" y="88"/>
                </a:cubicBezTo>
                <a:cubicBezTo>
                  <a:pt x="1611" y="86"/>
                  <a:pt x="1630" y="77"/>
                  <a:pt x="1650" y="75"/>
                </a:cubicBezTo>
                <a:cubicBezTo>
                  <a:pt x="1670" y="73"/>
                  <a:pt x="1691" y="74"/>
                  <a:pt x="1711" y="78"/>
                </a:cubicBezTo>
                <a:cubicBezTo>
                  <a:pt x="1722" y="81"/>
                  <a:pt x="1731" y="87"/>
                  <a:pt x="1741" y="91"/>
                </a:cubicBezTo>
                <a:cubicBezTo>
                  <a:pt x="1752" y="96"/>
                  <a:pt x="1762" y="95"/>
                  <a:pt x="1774" y="95"/>
                </a:cubicBezTo>
                <a:cubicBezTo>
                  <a:pt x="1783" y="95"/>
                  <a:pt x="1789" y="91"/>
                  <a:pt x="1797" y="87"/>
                </a:cubicBezTo>
                <a:cubicBezTo>
                  <a:pt x="1810" y="81"/>
                  <a:pt x="1825" y="74"/>
                  <a:pt x="1841" y="75"/>
                </a:cubicBezTo>
                <a:cubicBezTo>
                  <a:pt x="1853" y="77"/>
                  <a:pt x="1861" y="85"/>
                  <a:pt x="1871" y="92"/>
                </a:cubicBezTo>
                <a:cubicBezTo>
                  <a:pt x="1885" y="104"/>
                  <a:pt x="1904" y="112"/>
                  <a:pt x="1921" y="117"/>
                </a:cubicBezTo>
                <a:cubicBezTo>
                  <a:pt x="1938" y="122"/>
                  <a:pt x="1953" y="121"/>
                  <a:pt x="1971" y="122"/>
                </a:cubicBezTo>
                <a:cubicBezTo>
                  <a:pt x="2011" y="123"/>
                  <a:pt x="2011" y="123"/>
                  <a:pt x="2011" y="123"/>
                </a:cubicBezTo>
                <a:cubicBezTo>
                  <a:pt x="2056" y="125"/>
                  <a:pt x="2056" y="125"/>
                  <a:pt x="2056" y="125"/>
                </a:cubicBezTo>
              </a:path>
            </a:pathLst>
          </a:custGeom>
          <a:noFill/>
          <a:ln w="28575" cap="flat">
            <a:solidFill>
              <a:srgbClr val="C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9" tIns="45719" rIns="91439" bIns="45719" numCol="1" anchor="t" anchorCtr="0" compatLnSpc="1">
            <a:prstTxWarp prst="textNoShape">
              <a:avLst/>
            </a:prstTxWarp>
          </a:bodyPr>
          <a:lstStyle/>
          <a:p>
            <a:endParaRPr lang="en-GB" sz="1867" dirty="0">
              <a:solidFill>
                <a:srgbClr val="44449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130183" y="2459215"/>
            <a:ext cx="656584" cy="369330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/>
            <a:r>
              <a:rPr lang="fr-FR" sz="1600" dirty="0">
                <a:solidFill>
                  <a:srgbClr val="596169"/>
                </a:solidFill>
              </a:rPr>
              <a:t>29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879513" y="2319107"/>
            <a:ext cx="656584" cy="533477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/>
            <a:r>
              <a:rPr lang="fr-FR" sz="1600" baseline="-25000" dirty="0">
                <a:solidFill>
                  <a:srgbClr val="596169"/>
                </a:solidFill>
              </a:rPr>
              <a:t/>
            </a:r>
            <a:br>
              <a:rPr lang="fr-FR" sz="1600" baseline="-25000" dirty="0">
                <a:solidFill>
                  <a:srgbClr val="596169"/>
                </a:solidFill>
              </a:rPr>
            </a:br>
            <a:r>
              <a:rPr lang="fr-FR" sz="1600" dirty="0">
                <a:solidFill>
                  <a:srgbClr val="596169"/>
                </a:solidFill>
              </a:rPr>
              <a:t>24%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507475" y="2317405"/>
            <a:ext cx="656584" cy="533477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/>
            <a:r>
              <a:rPr lang="fr-FR" sz="1600" baseline="-25000" dirty="0">
                <a:solidFill>
                  <a:srgbClr val="596169"/>
                </a:solidFill>
              </a:rPr>
              <a:t/>
            </a:r>
            <a:br>
              <a:rPr lang="fr-FR" sz="1600" baseline="-25000" dirty="0">
                <a:solidFill>
                  <a:srgbClr val="596169"/>
                </a:solidFill>
              </a:rPr>
            </a:br>
            <a:r>
              <a:rPr lang="fr-FR" sz="1600" dirty="0">
                <a:solidFill>
                  <a:srgbClr val="596169"/>
                </a:solidFill>
              </a:rPr>
              <a:t>23%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8209971" y="2468443"/>
            <a:ext cx="656584" cy="369330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/>
            <a:r>
              <a:rPr lang="fr-FR" sz="1600" dirty="0">
                <a:solidFill>
                  <a:srgbClr val="596169"/>
                </a:solidFill>
              </a:rPr>
              <a:t>23%</a:t>
            </a:r>
          </a:p>
        </p:txBody>
      </p:sp>
      <p:sp>
        <p:nvSpPr>
          <p:cNvPr id="37" name="Rectangle 36"/>
          <p:cNvSpPr/>
          <p:nvPr/>
        </p:nvSpPr>
        <p:spPr>
          <a:xfrm>
            <a:off x="2611272" y="1379431"/>
            <a:ext cx="3384376" cy="265055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/>
            <a:r>
              <a:rPr lang="fr-FR" sz="1600" dirty="0">
                <a:solidFill>
                  <a:srgbClr val="596169"/>
                </a:solidFill>
              </a:rPr>
              <a:t>53%</a:t>
            </a:r>
          </a:p>
        </p:txBody>
      </p:sp>
      <p:sp>
        <p:nvSpPr>
          <p:cNvPr id="38" name="Rectangle 37"/>
          <p:cNvSpPr/>
          <p:nvPr/>
        </p:nvSpPr>
        <p:spPr>
          <a:xfrm>
            <a:off x="5995648" y="1379431"/>
            <a:ext cx="3384376" cy="26505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/>
            <a:r>
              <a:rPr lang="fr-FR" sz="1600" dirty="0">
                <a:solidFill>
                  <a:srgbClr val="596169"/>
                </a:solidFill>
              </a:rPr>
              <a:t>47%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138828" y="2917092"/>
            <a:ext cx="629333" cy="307775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/>
            <a:r>
              <a:rPr lang="fr-FR" sz="1200" dirty="0">
                <a:solidFill>
                  <a:srgbClr val="596169"/>
                </a:solidFill>
              </a:rPr>
              <a:t>0–6 h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4881478" y="2917092"/>
            <a:ext cx="714292" cy="307775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/>
            <a:r>
              <a:rPr lang="fr-FR" sz="1200" dirty="0">
                <a:solidFill>
                  <a:srgbClr val="596169"/>
                </a:solidFill>
              </a:rPr>
              <a:t>6–12 h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510239" y="2917092"/>
            <a:ext cx="799252" cy="307775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/>
            <a:r>
              <a:rPr lang="fr-FR" sz="1200" dirty="0">
                <a:solidFill>
                  <a:srgbClr val="596169"/>
                </a:solidFill>
              </a:rPr>
              <a:t>12–18 h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8124618" y="2906506"/>
            <a:ext cx="799252" cy="307775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/>
            <a:r>
              <a:rPr lang="fr-FR" sz="1200" dirty="0">
                <a:solidFill>
                  <a:srgbClr val="596169"/>
                </a:solidFill>
              </a:rPr>
              <a:t>18–24 h</a:t>
            </a:r>
          </a:p>
        </p:txBody>
      </p:sp>
      <p:sp>
        <p:nvSpPr>
          <p:cNvPr id="36" name="Line 5"/>
          <p:cNvSpPr>
            <a:spLocks noChangeShapeType="1"/>
          </p:cNvSpPr>
          <p:nvPr/>
        </p:nvSpPr>
        <p:spPr bwMode="auto">
          <a:xfrm>
            <a:off x="2470813" y="1405161"/>
            <a:ext cx="0" cy="1372027"/>
          </a:xfrm>
          <a:prstGeom prst="line">
            <a:avLst/>
          </a:prstGeom>
          <a:noFill/>
          <a:ln w="19050" cap="sq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457178">
              <a:defRPr/>
            </a:pPr>
            <a:endParaRPr lang="en-US" sz="1867" dirty="0">
              <a:solidFill>
                <a:srgbClr val="444492"/>
              </a:solidFill>
              <a:ea typeface="ＭＳ Ｐゴシック" panose="020B0600070205080204" pitchFamily="34" charset="-128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2181244" y="2616400"/>
            <a:ext cx="287953" cy="323165"/>
            <a:chOff x="1333638" y="5221717"/>
            <a:chExt cx="287954" cy="323127"/>
          </a:xfrm>
        </p:grpSpPr>
        <p:sp>
          <p:nvSpPr>
            <p:cNvPr id="32" name="TextBox 4"/>
            <p:cNvSpPr txBox="1">
              <a:spLocks noChangeArrowheads="1"/>
            </p:cNvSpPr>
            <p:nvPr/>
          </p:nvSpPr>
          <p:spPr bwMode="auto">
            <a:xfrm>
              <a:off x="1333638" y="5221717"/>
              <a:ext cx="260009" cy="323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defTabSz="457178">
                <a:lnSpc>
                  <a:spcPts val="1800"/>
                </a:lnSpc>
                <a:spcAft>
                  <a:spcPts val="151"/>
                </a:spcAft>
              </a:pPr>
              <a:r>
                <a:rPr lang="en-GB" altLang="en-US" sz="1067" dirty="0">
                  <a:solidFill>
                    <a:srgbClr val="4D4D4F"/>
                  </a:solidFill>
                  <a:cs typeface="Arial" pitchFamily="34" charset="0"/>
                </a:rPr>
                <a:t>0</a:t>
              </a:r>
            </a:p>
          </p:txBody>
        </p:sp>
        <p:sp>
          <p:nvSpPr>
            <p:cNvPr id="43" name="Line 6"/>
            <p:cNvSpPr>
              <a:spLocks noChangeShapeType="1"/>
            </p:cNvSpPr>
            <p:nvPr/>
          </p:nvSpPr>
          <p:spPr bwMode="auto">
            <a:xfrm>
              <a:off x="1549592" y="5382709"/>
              <a:ext cx="72000" cy="0"/>
            </a:xfrm>
            <a:prstGeom prst="line">
              <a:avLst/>
            </a:prstGeom>
            <a:noFill/>
            <a:ln w="19050" cap="sq">
              <a:solidFill>
                <a:schemeClr val="accent4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457178">
                <a:defRPr/>
              </a:pPr>
              <a:endParaRPr lang="en-US" sz="1067" dirty="0">
                <a:solidFill>
                  <a:srgbClr val="444492"/>
                </a:solidFill>
                <a:ea typeface="ＭＳ Ｐゴシック" panose="020B0600070205080204" pitchFamily="34" charset="-128"/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2181244" y="2150672"/>
            <a:ext cx="287953" cy="323165"/>
            <a:chOff x="1333638" y="5221717"/>
            <a:chExt cx="287954" cy="323127"/>
          </a:xfrm>
        </p:grpSpPr>
        <p:sp>
          <p:nvSpPr>
            <p:cNvPr id="47" name="TextBox 4"/>
            <p:cNvSpPr txBox="1">
              <a:spLocks noChangeArrowheads="1"/>
            </p:cNvSpPr>
            <p:nvPr/>
          </p:nvSpPr>
          <p:spPr bwMode="auto">
            <a:xfrm>
              <a:off x="1333638" y="5221717"/>
              <a:ext cx="260009" cy="323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defTabSz="457178">
                <a:lnSpc>
                  <a:spcPts val="1800"/>
                </a:lnSpc>
                <a:spcAft>
                  <a:spcPts val="151"/>
                </a:spcAft>
              </a:pPr>
              <a:r>
                <a:rPr lang="en-GB" altLang="en-US" sz="1067" dirty="0">
                  <a:solidFill>
                    <a:srgbClr val="4D4D4F"/>
                  </a:solidFill>
                  <a:cs typeface="Arial" pitchFamily="34" charset="0"/>
                </a:rPr>
                <a:t>1</a:t>
              </a:r>
            </a:p>
          </p:txBody>
        </p:sp>
        <p:sp>
          <p:nvSpPr>
            <p:cNvPr id="48" name="Line 6"/>
            <p:cNvSpPr>
              <a:spLocks noChangeShapeType="1"/>
            </p:cNvSpPr>
            <p:nvPr/>
          </p:nvSpPr>
          <p:spPr bwMode="auto">
            <a:xfrm>
              <a:off x="1549592" y="5382709"/>
              <a:ext cx="72000" cy="0"/>
            </a:xfrm>
            <a:prstGeom prst="line">
              <a:avLst/>
            </a:prstGeom>
            <a:noFill/>
            <a:ln w="19050" cap="sq">
              <a:solidFill>
                <a:schemeClr val="accent4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457178">
                <a:defRPr/>
              </a:pPr>
              <a:endParaRPr lang="en-US" sz="1067" dirty="0">
                <a:solidFill>
                  <a:srgbClr val="444492"/>
                </a:solidFill>
                <a:ea typeface="ＭＳ Ｐゴシック" panose="020B0600070205080204" pitchFamily="34" charset="-128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2181244" y="1701768"/>
            <a:ext cx="287953" cy="323165"/>
            <a:chOff x="1333638" y="5221717"/>
            <a:chExt cx="287954" cy="323127"/>
          </a:xfrm>
        </p:grpSpPr>
        <p:sp>
          <p:nvSpPr>
            <p:cNvPr id="50" name="TextBox 4"/>
            <p:cNvSpPr txBox="1">
              <a:spLocks noChangeArrowheads="1"/>
            </p:cNvSpPr>
            <p:nvPr/>
          </p:nvSpPr>
          <p:spPr bwMode="auto">
            <a:xfrm>
              <a:off x="1333638" y="5221717"/>
              <a:ext cx="260009" cy="323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defTabSz="457178">
                <a:lnSpc>
                  <a:spcPts val="1800"/>
                </a:lnSpc>
                <a:spcAft>
                  <a:spcPts val="151"/>
                </a:spcAft>
              </a:pPr>
              <a:r>
                <a:rPr lang="en-GB" altLang="en-US" sz="1067" dirty="0">
                  <a:solidFill>
                    <a:srgbClr val="4D4D4F"/>
                  </a:solidFill>
                  <a:cs typeface="Arial" pitchFamily="34" charset="0"/>
                </a:rPr>
                <a:t>2</a:t>
              </a:r>
            </a:p>
          </p:txBody>
        </p:sp>
        <p:sp>
          <p:nvSpPr>
            <p:cNvPr id="51" name="Line 6"/>
            <p:cNvSpPr>
              <a:spLocks noChangeShapeType="1"/>
            </p:cNvSpPr>
            <p:nvPr/>
          </p:nvSpPr>
          <p:spPr bwMode="auto">
            <a:xfrm>
              <a:off x="1549592" y="5382709"/>
              <a:ext cx="72000" cy="0"/>
            </a:xfrm>
            <a:prstGeom prst="line">
              <a:avLst/>
            </a:prstGeom>
            <a:noFill/>
            <a:ln w="19050" cap="sq">
              <a:solidFill>
                <a:schemeClr val="accent4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457178">
                <a:defRPr/>
              </a:pPr>
              <a:endParaRPr lang="en-US" sz="1067" dirty="0">
                <a:solidFill>
                  <a:srgbClr val="444492"/>
                </a:solidFill>
                <a:ea typeface="ＭＳ Ｐゴシック" panose="020B0600070205080204" pitchFamily="34" charset="-128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2181244" y="1242712"/>
            <a:ext cx="287953" cy="323165"/>
            <a:chOff x="1333638" y="5221717"/>
            <a:chExt cx="287954" cy="323127"/>
          </a:xfrm>
        </p:grpSpPr>
        <p:sp>
          <p:nvSpPr>
            <p:cNvPr id="53" name="TextBox 4"/>
            <p:cNvSpPr txBox="1">
              <a:spLocks noChangeArrowheads="1"/>
            </p:cNvSpPr>
            <p:nvPr/>
          </p:nvSpPr>
          <p:spPr bwMode="auto">
            <a:xfrm>
              <a:off x="1333638" y="5221717"/>
              <a:ext cx="260009" cy="323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defTabSz="457178">
                <a:lnSpc>
                  <a:spcPts val="1800"/>
                </a:lnSpc>
                <a:spcAft>
                  <a:spcPts val="151"/>
                </a:spcAft>
              </a:pPr>
              <a:r>
                <a:rPr lang="en-GB" altLang="en-US" sz="1067" dirty="0">
                  <a:solidFill>
                    <a:srgbClr val="4D4D4F"/>
                  </a:solidFill>
                  <a:cs typeface="Arial" pitchFamily="34" charset="0"/>
                </a:rPr>
                <a:t>3</a:t>
              </a:r>
            </a:p>
          </p:txBody>
        </p:sp>
        <p:sp>
          <p:nvSpPr>
            <p:cNvPr id="54" name="Line 6"/>
            <p:cNvSpPr>
              <a:spLocks noChangeShapeType="1"/>
            </p:cNvSpPr>
            <p:nvPr/>
          </p:nvSpPr>
          <p:spPr bwMode="auto">
            <a:xfrm>
              <a:off x="1549592" y="5382709"/>
              <a:ext cx="72000" cy="0"/>
            </a:xfrm>
            <a:prstGeom prst="line">
              <a:avLst/>
            </a:prstGeom>
            <a:noFill/>
            <a:ln w="19050" cap="sq">
              <a:solidFill>
                <a:schemeClr val="accent4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457178">
                <a:defRPr/>
              </a:pPr>
              <a:endParaRPr lang="en-US" sz="1067" dirty="0">
                <a:solidFill>
                  <a:srgbClr val="444492"/>
                </a:solidFill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55" name="Rectangle 61"/>
          <p:cNvSpPr>
            <a:spLocks noChangeArrowheads="1"/>
          </p:cNvSpPr>
          <p:nvPr/>
        </p:nvSpPr>
        <p:spPr bwMode="auto">
          <a:xfrm rot="16200000">
            <a:off x="1497608" y="1998841"/>
            <a:ext cx="105477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585856"/>
                </a:solidFill>
              </a:rPr>
              <a:t>GIR, mg/kg</a:t>
            </a:r>
            <a:r>
              <a:rPr lang="en-US" sz="1200" baseline="30000" dirty="0">
                <a:solidFill>
                  <a:srgbClr val="585856"/>
                </a:solidFill>
              </a:rPr>
              <a:t>/</a:t>
            </a:r>
            <a:r>
              <a:rPr lang="en-US" sz="1200" dirty="0">
                <a:solidFill>
                  <a:srgbClr val="585856"/>
                </a:solidFill>
              </a:rPr>
              <a:t>min</a:t>
            </a:r>
            <a:endParaRPr lang="en-US" sz="1200" baseline="30000" dirty="0">
              <a:solidFill>
                <a:srgbClr val="585856"/>
              </a:solidFill>
            </a:endParaRPr>
          </a:p>
        </p:txBody>
      </p:sp>
      <p:cxnSp>
        <p:nvCxnSpPr>
          <p:cNvPr id="14" name="Straight Connector 13"/>
          <p:cNvCxnSpPr>
            <a:stCxn id="56" idx="0"/>
          </p:cNvCxnSpPr>
          <p:nvPr/>
        </p:nvCxnSpPr>
        <p:spPr>
          <a:xfrm flipV="1">
            <a:off x="2657337" y="2908449"/>
            <a:ext cx="6650687" cy="0"/>
          </a:xfrm>
          <a:prstGeom prst="line">
            <a:avLst/>
          </a:prstGeom>
          <a:noFill/>
          <a:ln w="19050" cap="sq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6" name="Line 18"/>
          <p:cNvSpPr>
            <a:spLocks noChangeShapeType="1"/>
          </p:cNvSpPr>
          <p:nvPr/>
        </p:nvSpPr>
        <p:spPr bwMode="auto">
          <a:xfrm>
            <a:off x="2657329" y="2911771"/>
            <a:ext cx="0" cy="72000"/>
          </a:xfrm>
          <a:prstGeom prst="line">
            <a:avLst/>
          </a:prstGeom>
          <a:noFill/>
          <a:ln w="19050" cap="sq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457178"/>
            <a:endParaRPr lang="en-US" sz="1867" dirty="0">
              <a:solidFill>
                <a:srgbClr val="444492"/>
              </a:solidFill>
              <a:latin typeface="Calibri"/>
              <a:ea typeface="MS PGothic" pitchFamily="34" charset="-128"/>
            </a:endParaRPr>
          </a:p>
        </p:txBody>
      </p:sp>
      <p:sp>
        <p:nvSpPr>
          <p:cNvPr id="57" name="Line 18"/>
          <p:cNvSpPr>
            <a:spLocks noChangeShapeType="1"/>
          </p:cNvSpPr>
          <p:nvPr/>
        </p:nvSpPr>
        <p:spPr bwMode="auto">
          <a:xfrm>
            <a:off x="4312299" y="2911771"/>
            <a:ext cx="0" cy="72000"/>
          </a:xfrm>
          <a:prstGeom prst="line">
            <a:avLst/>
          </a:prstGeom>
          <a:noFill/>
          <a:ln w="19050" cap="sq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457178"/>
            <a:endParaRPr lang="en-US" sz="1867" dirty="0">
              <a:solidFill>
                <a:srgbClr val="444492"/>
              </a:solidFill>
              <a:latin typeface="Calibri"/>
              <a:ea typeface="MS PGothic" pitchFamily="34" charset="-128"/>
            </a:endParaRPr>
          </a:p>
        </p:txBody>
      </p:sp>
      <p:sp>
        <p:nvSpPr>
          <p:cNvPr id="58" name="Line 18"/>
          <p:cNvSpPr>
            <a:spLocks noChangeShapeType="1"/>
          </p:cNvSpPr>
          <p:nvPr/>
        </p:nvSpPr>
        <p:spPr bwMode="auto">
          <a:xfrm>
            <a:off x="5972032" y="2911771"/>
            <a:ext cx="0" cy="72000"/>
          </a:xfrm>
          <a:prstGeom prst="line">
            <a:avLst/>
          </a:prstGeom>
          <a:noFill/>
          <a:ln w="19050" cap="sq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457178"/>
            <a:endParaRPr lang="en-US" sz="1867" dirty="0">
              <a:solidFill>
                <a:srgbClr val="444492"/>
              </a:solidFill>
              <a:latin typeface="Calibri"/>
              <a:ea typeface="MS PGothic" pitchFamily="34" charset="-128"/>
            </a:endParaRPr>
          </a:p>
        </p:txBody>
      </p:sp>
      <p:sp>
        <p:nvSpPr>
          <p:cNvPr id="59" name="Line 18"/>
          <p:cNvSpPr>
            <a:spLocks noChangeShapeType="1"/>
          </p:cNvSpPr>
          <p:nvPr/>
        </p:nvSpPr>
        <p:spPr bwMode="auto">
          <a:xfrm>
            <a:off x="7638908" y="2911771"/>
            <a:ext cx="0" cy="72000"/>
          </a:xfrm>
          <a:prstGeom prst="line">
            <a:avLst/>
          </a:prstGeom>
          <a:noFill/>
          <a:ln w="19050" cap="sq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457178"/>
            <a:endParaRPr lang="en-US" sz="1867" dirty="0">
              <a:solidFill>
                <a:srgbClr val="444492"/>
              </a:solidFill>
              <a:latin typeface="Calibri"/>
              <a:ea typeface="MS PGothic" pitchFamily="34" charset="-128"/>
            </a:endParaRPr>
          </a:p>
        </p:txBody>
      </p:sp>
      <p:sp>
        <p:nvSpPr>
          <p:cNvPr id="60" name="Line 18"/>
          <p:cNvSpPr>
            <a:spLocks noChangeShapeType="1"/>
          </p:cNvSpPr>
          <p:nvPr/>
        </p:nvSpPr>
        <p:spPr bwMode="auto">
          <a:xfrm>
            <a:off x="9321293" y="2912213"/>
            <a:ext cx="0" cy="72000"/>
          </a:xfrm>
          <a:prstGeom prst="line">
            <a:avLst/>
          </a:prstGeom>
          <a:noFill/>
          <a:ln w="19050" cap="sq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21917" tIns="60959" rIns="121917" bIns="60959"/>
          <a:lstStyle/>
          <a:p>
            <a:pPr defTabSz="457178"/>
            <a:endParaRPr lang="en-US" sz="1867" dirty="0">
              <a:solidFill>
                <a:srgbClr val="444492"/>
              </a:solidFill>
              <a:latin typeface="Calibri"/>
              <a:ea typeface="MS PGothic" pitchFamily="34" charset="-128"/>
            </a:endParaRPr>
          </a:p>
        </p:txBody>
      </p:sp>
      <p:cxnSp>
        <p:nvCxnSpPr>
          <p:cNvPr id="61" name="Straight Connector 60"/>
          <p:cNvCxnSpPr/>
          <p:nvPr/>
        </p:nvCxnSpPr>
        <p:spPr>
          <a:xfrm flipV="1">
            <a:off x="2657337" y="2190547"/>
            <a:ext cx="6650687" cy="0"/>
          </a:xfrm>
          <a:prstGeom prst="line">
            <a:avLst/>
          </a:prstGeom>
          <a:noFill/>
          <a:ln w="19050" cap="sq">
            <a:solidFill>
              <a:schemeClr val="accent4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2" name="TextBox 61"/>
          <p:cNvSpPr txBox="1"/>
          <p:nvPr/>
        </p:nvSpPr>
        <p:spPr>
          <a:xfrm>
            <a:off x="9262247" y="2078558"/>
            <a:ext cx="1034893" cy="287321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/>
            <a:r>
              <a:rPr lang="fr-FR" sz="1067" dirty="0">
                <a:solidFill>
                  <a:srgbClr val="596169"/>
                </a:solidFill>
              </a:rPr>
              <a:t>Average GI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="" xmlns:a16="http://schemas.microsoft.com/office/drawing/2014/main" id="{D6AEE6FB-D952-466F-9534-A78C823DD4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8112" y="5792768"/>
            <a:ext cx="8277855" cy="381000"/>
          </a:xfrm>
        </p:spPr>
        <p:txBody>
          <a:bodyPr/>
          <a:lstStyle/>
          <a:p>
            <a:r>
              <a:rPr lang="en-GB" sz="933" dirty="0"/>
              <a:t>AUC, area under the curve; INS, serum insulin concentration; LLOQ, lower limit of quantification</a:t>
            </a:r>
            <a:br>
              <a:rPr lang="en-GB" sz="933" dirty="0"/>
            </a:br>
            <a:r>
              <a:rPr lang="en-GB" sz="933" dirty="0"/>
              <a:t>Adapted from Becker RH et al. Diabetes </a:t>
            </a:r>
            <a:r>
              <a:rPr lang="en-GB" sz="933" dirty="0" err="1"/>
              <a:t>Obes</a:t>
            </a:r>
            <a:r>
              <a:rPr lang="en-GB" sz="933" dirty="0"/>
              <a:t> </a:t>
            </a:r>
            <a:r>
              <a:rPr lang="en-GB" sz="933" dirty="0" err="1"/>
              <a:t>Metab</a:t>
            </a:r>
            <a:r>
              <a:rPr lang="en-GB" sz="933" dirty="0"/>
              <a:t>. 2015;17:261-7 (main article and Supplementary Table 1</a:t>
            </a:r>
            <a:r>
              <a:rPr lang="en-GB" dirty="0"/>
              <a:t>)</a:t>
            </a:r>
          </a:p>
        </p:txBody>
      </p:sp>
      <p:sp>
        <p:nvSpPr>
          <p:cNvPr id="64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667" b="1" dirty="0"/>
              <a:t>Low within-day and between-day fluctuation with Gla-300</a:t>
            </a:r>
            <a:endParaRPr lang="en-GB" sz="2667" b="1" dirty="0"/>
          </a:p>
        </p:txBody>
      </p:sp>
      <p:sp>
        <p:nvSpPr>
          <p:cNvPr id="65" name="Title 1"/>
          <p:cNvSpPr txBox="1">
            <a:spLocks/>
          </p:cNvSpPr>
          <p:nvPr/>
        </p:nvSpPr>
        <p:spPr>
          <a:xfrm>
            <a:off x="2063552" y="548881"/>
            <a:ext cx="8064699" cy="39849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altLang="en-US" sz="1867" u="sng" dirty="0">
              <a:solidFill>
                <a:srgbClr val="585856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752639" y="825373"/>
            <a:ext cx="8323619" cy="369330"/>
          </a:xfrm>
          <a:prstGeom prst="rect">
            <a:avLst/>
          </a:prstGeom>
        </p:spPr>
        <p:txBody>
          <a:bodyPr wrap="none" lIns="121917" tIns="60959" rIns="121917" bIns="60959">
            <a:spAutoFit/>
          </a:bodyPr>
          <a:lstStyle/>
          <a:p>
            <a:r>
              <a:rPr lang="en-US" sz="1600" b="1" dirty="0">
                <a:solidFill>
                  <a:schemeClr val="accent2"/>
                </a:solidFill>
              </a:rPr>
              <a:t>Gla-300</a:t>
            </a:r>
            <a:r>
              <a:rPr lang="en-US" sz="1600" dirty="0">
                <a:solidFill>
                  <a:srgbClr val="596169"/>
                </a:solidFill>
              </a:rPr>
              <a:t>: Low within-day distribution of GIR-AUC as 6- and 12-hour fractions of total AUC</a:t>
            </a:r>
          </a:p>
        </p:txBody>
      </p:sp>
      <p:sp>
        <p:nvSpPr>
          <p:cNvPr id="69" name="TextBox 135"/>
          <p:cNvSpPr txBox="1">
            <a:spLocks noChangeArrowheads="1"/>
          </p:cNvSpPr>
          <p:nvPr/>
        </p:nvSpPr>
        <p:spPr bwMode="auto">
          <a:xfrm>
            <a:off x="9601033" y="1547914"/>
            <a:ext cx="1789867" cy="287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9" rIns="121917" bIns="60959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914354">
              <a:defRPr/>
            </a:pPr>
            <a:r>
              <a:rPr lang="en-US" altLang="en-US" sz="1067" b="1" kern="0" dirty="0">
                <a:solidFill>
                  <a:srgbClr val="562583"/>
                </a:solidFill>
              </a:rPr>
              <a:t>Clamp 1</a:t>
            </a:r>
          </a:p>
        </p:txBody>
      </p:sp>
      <p:sp>
        <p:nvSpPr>
          <p:cNvPr id="71" name="TextBox 135"/>
          <p:cNvSpPr txBox="1">
            <a:spLocks noChangeArrowheads="1"/>
          </p:cNvSpPr>
          <p:nvPr/>
        </p:nvSpPr>
        <p:spPr bwMode="auto">
          <a:xfrm>
            <a:off x="9601033" y="1767366"/>
            <a:ext cx="957755" cy="287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9" rIns="121917" bIns="60959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914354">
              <a:defRPr/>
            </a:pPr>
            <a:r>
              <a:rPr lang="en-US" altLang="en-US" sz="1067" b="1" kern="0" dirty="0">
                <a:solidFill>
                  <a:srgbClr val="C00000"/>
                </a:solidFill>
              </a:rPr>
              <a:t>Clamp 2</a:t>
            </a:r>
          </a:p>
        </p:txBody>
      </p:sp>
      <p:cxnSp>
        <p:nvCxnSpPr>
          <p:cNvPr id="72" name="Straight Connector 71"/>
          <p:cNvCxnSpPr/>
          <p:nvPr/>
        </p:nvCxnSpPr>
        <p:spPr>
          <a:xfrm>
            <a:off x="9468483" y="1676523"/>
            <a:ext cx="144000" cy="0"/>
          </a:xfrm>
          <a:prstGeom prst="line">
            <a:avLst/>
          </a:prstGeom>
          <a:noFill/>
          <a:ln w="28575" cap="flat" cmpd="sng" algn="ctr">
            <a:solidFill>
              <a:srgbClr val="562583"/>
            </a:solidFill>
            <a:prstDash val="solid"/>
          </a:ln>
          <a:effectLst/>
        </p:spPr>
      </p:cxnSp>
      <p:cxnSp>
        <p:nvCxnSpPr>
          <p:cNvPr id="73" name="Straight Connector 72"/>
          <p:cNvCxnSpPr/>
          <p:nvPr/>
        </p:nvCxnSpPr>
        <p:spPr>
          <a:xfrm>
            <a:off x="9468483" y="1877600"/>
            <a:ext cx="144000" cy="0"/>
          </a:xfrm>
          <a:prstGeom prst="line">
            <a:avLst/>
          </a:prstGeom>
          <a:noFill/>
          <a:ln w="28575" cap="flat" cmpd="sng" algn="ctr">
            <a:solidFill>
              <a:srgbClr val="C00000"/>
            </a:solidFill>
            <a:prstDash val="solid"/>
          </a:ln>
          <a:effectLst/>
        </p:spPr>
      </p:cxnSp>
      <p:sp>
        <p:nvSpPr>
          <p:cNvPr id="68" name="Rectangle 61">
            <a:extLst>
              <a:ext uri="{FF2B5EF4-FFF2-40B4-BE49-F238E27FC236}">
                <a16:creationId xmlns="" xmlns:a16="http://schemas.microsoft.com/office/drawing/2014/main" id="{72885C03-29AB-4F1B-9117-7077DD7734A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669590" y="4422013"/>
            <a:ext cx="73257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585856"/>
                </a:solidFill>
              </a:rPr>
              <a:t>INS, </a:t>
            </a:r>
            <a:r>
              <a:rPr lang="el-GR" sz="1200" dirty="0">
                <a:solidFill>
                  <a:srgbClr val="585856"/>
                </a:solidFill>
              </a:rPr>
              <a:t>μ</a:t>
            </a:r>
            <a:r>
              <a:rPr lang="en-GB" sz="1200" dirty="0">
                <a:solidFill>
                  <a:srgbClr val="585856"/>
                </a:solidFill>
              </a:rPr>
              <a:t>U</a:t>
            </a:r>
            <a:r>
              <a:rPr lang="en-US" sz="1200" baseline="30000" dirty="0">
                <a:solidFill>
                  <a:srgbClr val="585856"/>
                </a:solidFill>
              </a:rPr>
              <a:t>/</a:t>
            </a:r>
            <a:r>
              <a:rPr lang="en-US" sz="1200" dirty="0">
                <a:solidFill>
                  <a:srgbClr val="585856"/>
                </a:solidFill>
              </a:rPr>
              <a:t>ml</a:t>
            </a:r>
            <a:endParaRPr lang="en-US" sz="1200" baseline="30000" dirty="0">
              <a:solidFill>
                <a:srgbClr val="585856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="" xmlns:a16="http://schemas.microsoft.com/office/drawing/2014/main" id="{FA10AEFC-8C8D-4ECF-9C8B-4FD31072C043}"/>
              </a:ext>
            </a:extLst>
          </p:cNvPr>
          <p:cNvSpPr/>
          <p:nvPr/>
        </p:nvSpPr>
        <p:spPr>
          <a:xfrm>
            <a:off x="1761268" y="3423255"/>
            <a:ext cx="3702290" cy="369330"/>
          </a:xfrm>
          <a:prstGeom prst="rect">
            <a:avLst/>
          </a:prstGeom>
        </p:spPr>
        <p:txBody>
          <a:bodyPr wrap="none" lIns="121917" tIns="60959" rIns="121917" bIns="60959">
            <a:spAutoFit/>
          </a:bodyPr>
          <a:lstStyle/>
          <a:p>
            <a:r>
              <a:rPr lang="en-US" sz="1600" b="1" dirty="0">
                <a:solidFill>
                  <a:schemeClr val="accent2"/>
                </a:solidFill>
              </a:rPr>
              <a:t>Gla-300</a:t>
            </a:r>
            <a:r>
              <a:rPr lang="en-US" sz="1600" dirty="0">
                <a:solidFill>
                  <a:srgbClr val="596169"/>
                </a:solidFill>
              </a:rPr>
              <a:t>: Low between-day fluctuation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2123738" y="3865098"/>
            <a:ext cx="363295" cy="1284350"/>
            <a:chOff x="-108646" y="4431311"/>
            <a:chExt cx="363294" cy="1222148"/>
          </a:xfrm>
        </p:grpSpPr>
        <p:grpSp>
          <p:nvGrpSpPr>
            <p:cNvPr id="4" name="Group 3"/>
            <p:cNvGrpSpPr/>
            <p:nvPr/>
          </p:nvGrpSpPr>
          <p:grpSpPr>
            <a:xfrm>
              <a:off x="-108646" y="4431311"/>
              <a:ext cx="363294" cy="1222148"/>
              <a:chOff x="-108646" y="4431311"/>
              <a:chExt cx="363294" cy="1222148"/>
            </a:xfrm>
          </p:grpSpPr>
          <p:grpSp>
            <p:nvGrpSpPr>
              <p:cNvPr id="63" name="Group 62"/>
              <p:cNvGrpSpPr/>
              <p:nvPr/>
            </p:nvGrpSpPr>
            <p:grpSpPr>
              <a:xfrm>
                <a:off x="-33306" y="5345945"/>
                <a:ext cx="287954" cy="307514"/>
                <a:chOff x="1333638" y="5229544"/>
                <a:chExt cx="287954" cy="307514"/>
              </a:xfrm>
            </p:grpSpPr>
            <p:sp>
              <p:nvSpPr>
                <p:cNvPr id="75" name="TextBox 4"/>
                <p:cNvSpPr txBox="1">
                  <a:spLocks noChangeArrowheads="1"/>
                </p:cNvSpPr>
                <p:nvPr/>
              </p:nvSpPr>
              <p:spPr bwMode="auto">
                <a:xfrm>
                  <a:off x="1333638" y="5229544"/>
                  <a:ext cx="260007" cy="3075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9pPr>
                </a:lstStyle>
                <a:p>
                  <a:pPr algn="r" defTabSz="457178">
                    <a:lnSpc>
                      <a:spcPts val="1800"/>
                    </a:lnSpc>
                    <a:spcAft>
                      <a:spcPts val="151"/>
                    </a:spcAft>
                  </a:pPr>
                  <a:r>
                    <a:rPr lang="en-GB" altLang="en-US" sz="1067" dirty="0">
                      <a:solidFill>
                        <a:srgbClr val="4D4D4F"/>
                      </a:solidFill>
                      <a:cs typeface="Arial" pitchFamily="34" charset="0"/>
                    </a:rPr>
                    <a:t>0</a:t>
                  </a:r>
                </a:p>
              </p:txBody>
            </p:sp>
            <p:sp>
              <p:nvSpPr>
                <p:cNvPr id="76" name="Line 6"/>
                <p:cNvSpPr>
                  <a:spLocks noChangeShapeType="1"/>
                </p:cNvSpPr>
                <p:nvPr/>
              </p:nvSpPr>
              <p:spPr bwMode="auto">
                <a:xfrm>
                  <a:off x="1549592" y="5382709"/>
                  <a:ext cx="72000" cy="0"/>
                </a:xfrm>
                <a:prstGeom prst="line">
                  <a:avLst/>
                </a:prstGeom>
                <a:noFill/>
                <a:ln w="19050" cap="sq">
                  <a:solidFill>
                    <a:schemeClr val="accent4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457178">
                    <a:defRPr/>
                  </a:pPr>
                  <a:endParaRPr lang="en-US" sz="1067" dirty="0">
                    <a:solidFill>
                      <a:srgbClr val="444492"/>
                    </a:solidFill>
                    <a:ea typeface="ＭＳ Ｐゴシック" panose="020B0600070205080204" pitchFamily="34" charset="-128"/>
                  </a:endParaRPr>
                </a:p>
              </p:txBody>
            </p:sp>
          </p:grpSp>
          <p:grpSp>
            <p:nvGrpSpPr>
              <p:cNvPr id="77" name="Group 76"/>
              <p:cNvGrpSpPr/>
              <p:nvPr/>
            </p:nvGrpSpPr>
            <p:grpSpPr>
              <a:xfrm>
                <a:off x="-108646" y="4880216"/>
                <a:ext cx="363294" cy="307514"/>
                <a:chOff x="1258298" y="5229544"/>
                <a:chExt cx="363294" cy="307514"/>
              </a:xfrm>
            </p:grpSpPr>
            <p:sp>
              <p:nvSpPr>
                <p:cNvPr id="78" name="TextBox 4"/>
                <p:cNvSpPr txBox="1">
                  <a:spLocks noChangeArrowheads="1"/>
                </p:cNvSpPr>
                <p:nvPr/>
              </p:nvSpPr>
              <p:spPr bwMode="auto">
                <a:xfrm>
                  <a:off x="1258298" y="5229544"/>
                  <a:ext cx="335347" cy="3075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9pPr>
                </a:lstStyle>
                <a:p>
                  <a:pPr algn="r" defTabSz="457178">
                    <a:lnSpc>
                      <a:spcPts val="1800"/>
                    </a:lnSpc>
                    <a:spcAft>
                      <a:spcPts val="151"/>
                    </a:spcAft>
                  </a:pPr>
                  <a:r>
                    <a:rPr lang="en-GB" altLang="en-US" sz="1067" dirty="0">
                      <a:solidFill>
                        <a:srgbClr val="4D4D4F"/>
                      </a:solidFill>
                      <a:cs typeface="Arial" pitchFamily="34" charset="0"/>
                    </a:rPr>
                    <a:t>10</a:t>
                  </a:r>
                </a:p>
              </p:txBody>
            </p:sp>
            <p:sp>
              <p:nvSpPr>
                <p:cNvPr id="79" name="Line 6"/>
                <p:cNvSpPr>
                  <a:spLocks noChangeShapeType="1"/>
                </p:cNvSpPr>
                <p:nvPr/>
              </p:nvSpPr>
              <p:spPr bwMode="auto">
                <a:xfrm>
                  <a:off x="1549592" y="5382709"/>
                  <a:ext cx="72000" cy="0"/>
                </a:xfrm>
                <a:prstGeom prst="line">
                  <a:avLst/>
                </a:prstGeom>
                <a:noFill/>
                <a:ln w="19050" cap="sq">
                  <a:solidFill>
                    <a:schemeClr val="accent4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457178">
                    <a:defRPr/>
                  </a:pPr>
                  <a:endParaRPr lang="en-US" sz="1067" dirty="0">
                    <a:solidFill>
                      <a:srgbClr val="444492"/>
                    </a:solidFill>
                    <a:ea typeface="ＭＳ Ｐゴシック" panose="020B0600070205080204" pitchFamily="34" charset="-128"/>
                  </a:endParaRPr>
                </a:p>
              </p:txBody>
            </p:sp>
          </p:grpSp>
          <p:grpSp>
            <p:nvGrpSpPr>
              <p:cNvPr id="80" name="Group 79"/>
              <p:cNvGrpSpPr/>
              <p:nvPr/>
            </p:nvGrpSpPr>
            <p:grpSpPr>
              <a:xfrm>
                <a:off x="-108646" y="4431311"/>
                <a:ext cx="363294" cy="307514"/>
                <a:chOff x="1258298" y="5229544"/>
                <a:chExt cx="363294" cy="307514"/>
              </a:xfrm>
            </p:grpSpPr>
            <p:sp>
              <p:nvSpPr>
                <p:cNvPr id="81" name="TextBox 4"/>
                <p:cNvSpPr txBox="1">
                  <a:spLocks noChangeArrowheads="1"/>
                </p:cNvSpPr>
                <p:nvPr/>
              </p:nvSpPr>
              <p:spPr bwMode="auto">
                <a:xfrm>
                  <a:off x="1258298" y="5229544"/>
                  <a:ext cx="335347" cy="3075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5pPr>
                  <a:lvl6pPr marL="25146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6pPr>
                  <a:lvl7pPr marL="29718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7pPr>
                  <a:lvl8pPr marL="34290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8pPr>
                  <a:lvl9pPr marL="3886200" indent="-228600" defTabSz="4572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</a:defRPr>
                  </a:lvl9pPr>
                </a:lstStyle>
                <a:p>
                  <a:pPr algn="r" defTabSz="457178">
                    <a:lnSpc>
                      <a:spcPts val="1800"/>
                    </a:lnSpc>
                    <a:spcAft>
                      <a:spcPts val="151"/>
                    </a:spcAft>
                  </a:pPr>
                  <a:r>
                    <a:rPr lang="en-GB" altLang="en-US" sz="1067" dirty="0">
                      <a:solidFill>
                        <a:srgbClr val="4D4D4F"/>
                      </a:solidFill>
                      <a:cs typeface="Arial" pitchFamily="34" charset="0"/>
                    </a:rPr>
                    <a:t>20</a:t>
                  </a:r>
                </a:p>
              </p:txBody>
            </p:sp>
            <p:sp>
              <p:nvSpPr>
                <p:cNvPr id="82" name="Line 6"/>
                <p:cNvSpPr>
                  <a:spLocks noChangeShapeType="1"/>
                </p:cNvSpPr>
                <p:nvPr/>
              </p:nvSpPr>
              <p:spPr bwMode="auto">
                <a:xfrm>
                  <a:off x="1549592" y="5382709"/>
                  <a:ext cx="72000" cy="0"/>
                </a:xfrm>
                <a:prstGeom prst="line">
                  <a:avLst/>
                </a:prstGeom>
                <a:noFill/>
                <a:ln w="19050" cap="sq">
                  <a:solidFill>
                    <a:schemeClr val="accent4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defTabSz="457178">
                    <a:defRPr/>
                  </a:pPr>
                  <a:endParaRPr lang="en-US" sz="1067" dirty="0">
                    <a:solidFill>
                      <a:srgbClr val="444492"/>
                    </a:solidFill>
                    <a:ea typeface="ＭＳ Ｐゴシック" panose="020B0600070205080204" pitchFamily="34" charset="-128"/>
                  </a:endParaRPr>
                </a:p>
              </p:txBody>
            </p:sp>
          </p:grpSp>
        </p:grpSp>
        <p:sp>
          <p:nvSpPr>
            <p:cNvPr id="86" name="Line 5"/>
            <p:cNvSpPr>
              <a:spLocks noChangeShapeType="1"/>
            </p:cNvSpPr>
            <p:nvPr/>
          </p:nvSpPr>
          <p:spPr bwMode="auto">
            <a:xfrm>
              <a:off x="254648" y="4584475"/>
              <a:ext cx="0" cy="912969"/>
            </a:xfrm>
            <a:prstGeom prst="line">
              <a:avLst/>
            </a:prstGeom>
            <a:noFill/>
            <a:ln w="19050" cap="sq">
              <a:solidFill>
                <a:schemeClr val="accent4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457178">
                <a:defRPr/>
              </a:pPr>
              <a:endParaRPr lang="en-US" sz="1867" dirty="0">
                <a:solidFill>
                  <a:srgbClr val="444492"/>
                </a:solidFill>
                <a:ea typeface="ＭＳ Ｐゴシック" panose="020B0600070205080204" pitchFamily="34" charset="-128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711626" y="5045051"/>
            <a:ext cx="6591956" cy="78796"/>
            <a:chOff x="1115616" y="5222884"/>
            <a:chExt cx="6663964" cy="78324"/>
          </a:xfrm>
        </p:grpSpPr>
        <p:cxnSp>
          <p:nvCxnSpPr>
            <p:cNvPr id="87" name="Straight Connector 86"/>
            <p:cNvCxnSpPr/>
            <p:nvPr/>
          </p:nvCxnSpPr>
          <p:spPr>
            <a:xfrm flipV="1">
              <a:off x="1115616" y="5222884"/>
              <a:ext cx="6650687" cy="0"/>
            </a:xfrm>
            <a:prstGeom prst="line">
              <a:avLst/>
            </a:prstGeom>
            <a:noFill/>
            <a:ln w="19050" cap="sq">
              <a:solidFill>
                <a:schemeClr val="accent4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88" name="Line 18"/>
            <p:cNvSpPr>
              <a:spLocks noChangeShapeType="1"/>
            </p:cNvSpPr>
            <p:nvPr/>
          </p:nvSpPr>
          <p:spPr bwMode="auto">
            <a:xfrm>
              <a:off x="1115616" y="5228766"/>
              <a:ext cx="0" cy="72000"/>
            </a:xfrm>
            <a:prstGeom prst="line">
              <a:avLst/>
            </a:prstGeom>
            <a:noFill/>
            <a:ln w="19050" cap="sq">
              <a:solidFill>
                <a:schemeClr val="accent4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457178"/>
              <a:endParaRPr lang="en-US" sz="1867" dirty="0">
                <a:solidFill>
                  <a:srgbClr val="444492"/>
                </a:solidFill>
                <a:latin typeface="Calibri"/>
                <a:ea typeface="MS PGothic" pitchFamily="34" charset="-128"/>
              </a:endParaRPr>
            </a:p>
          </p:txBody>
        </p:sp>
        <p:sp>
          <p:nvSpPr>
            <p:cNvPr id="89" name="Line 18"/>
            <p:cNvSpPr>
              <a:spLocks noChangeShapeType="1"/>
            </p:cNvSpPr>
            <p:nvPr/>
          </p:nvSpPr>
          <p:spPr bwMode="auto">
            <a:xfrm>
              <a:off x="2770586" y="5228766"/>
              <a:ext cx="0" cy="72000"/>
            </a:xfrm>
            <a:prstGeom prst="line">
              <a:avLst/>
            </a:prstGeom>
            <a:noFill/>
            <a:ln w="19050" cap="sq">
              <a:solidFill>
                <a:schemeClr val="accent4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457178"/>
              <a:endParaRPr lang="en-US" sz="1867" dirty="0">
                <a:solidFill>
                  <a:srgbClr val="444492"/>
                </a:solidFill>
                <a:latin typeface="Calibri"/>
                <a:ea typeface="MS PGothic" pitchFamily="34" charset="-128"/>
              </a:endParaRPr>
            </a:p>
          </p:txBody>
        </p:sp>
        <p:sp>
          <p:nvSpPr>
            <p:cNvPr id="90" name="Line 18"/>
            <p:cNvSpPr>
              <a:spLocks noChangeShapeType="1"/>
            </p:cNvSpPr>
            <p:nvPr/>
          </p:nvSpPr>
          <p:spPr bwMode="auto">
            <a:xfrm>
              <a:off x="4430319" y="5228766"/>
              <a:ext cx="0" cy="72000"/>
            </a:xfrm>
            <a:prstGeom prst="line">
              <a:avLst/>
            </a:prstGeom>
            <a:noFill/>
            <a:ln w="19050" cap="sq">
              <a:solidFill>
                <a:schemeClr val="accent4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457178"/>
              <a:endParaRPr lang="en-US" sz="1867" dirty="0">
                <a:solidFill>
                  <a:srgbClr val="444492"/>
                </a:solidFill>
                <a:latin typeface="Calibri"/>
                <a:ea typeface="MS PGothic" pitchFamily="34" charset="-128"/>
              </a:endParaRPr>
            </a:p>
          </p:txBody>
        </p:sp>
        <p:sp>
          <p:nvSpPr>
            <p:cNvPr id="91" name="Line 18"/>
            <p:cNvSpPr>
              <a:spLocks noChangeShapeType="1"/>
            </p:cNvSpPr>
            <p:nvPr/>
          </p:nvSpPr>
          <p:spPr bwMode="auto">
            <a:xfrm>
              <a:off x="6097195" y="5228766"/>
              <a:ext cx="0" cy="72000"/>
            </a:xfrm>
            <a:prstGeom prst="line">
              <a:avLst/>
            </a:prstGeom>
            <a:noFill/>
            <a:ln w="19050" cap="sq">
              <a:solidFill>
                <a:schemeClr val="accent4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457178"/>
              <a:endParaRPr lang="en-US" sz="1867" dirty="0">
                <a:solidFill>
                  <a:srgbClr val="444492"/>
                </a:solidFill>
                <a:latin typeface="Calibri"/>
                <a:ea typeface="MS PGothic" pitchFamily="34" charset="-128"/>
              </a:endParaRPr>
            </a:p>
          </p:txBody>
        </p:sp>
        <p:sp>
          <p:nvSpPr>
            <p:cNvPr id="92" name="Line 18"/>
            <p:cNvSpPr>
              <a:spLocks noChangeShapeType="1"/>
            </p:cNvSpPr>
            <p:nvPr/>
          </p:nvSpPr>
          <p:spPr bwMode="auto">
            <a:xfrm>
              <a:off x="7779580" y="5229208"/>
              <a:ext cx="0" cy="72000"/>
            </a:xfrm>
            <a:prstGeom prst="line">
              <a:avLst/>
            </a:prstGeom>
            <a:noFill/>
            <a:ln w="19050" cap="sq">
              <a:solidFill>
                <a:schemeClr val="accent4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457178"/>
              <a:endParaRPr lang="en-US" sz="1867" dirty="0">
                <a:solidFill>
                  <a:srgbClr val="444492"/>
                </a:solidFill>
                <a:latin typeface="Calibri"/>
                <a:ea typeface="MS PGothic" pitchFamily="34" charset="-128"/>
              </a:endParaRPr>
            </a:p>
          </p:txBody>
        </p:sp>
      </p:grpSp>
      <p:sp>
        <p:nvSpPr>
          <p:cNvPr id="18" name="Freeform: Shape 17"/>
          <p:cNvSpPr/>
          <p:nvPr/>
        </p:nvSpPr>
        <p:spPr>
          <a:xfrm>
            <a:off x="2725616" y="4346126"/>
            <a:ext cx="6605955" cy="252047"/>
          </a:xfrm>
          <a:custGeom>
            <a:avLst/>
            <a:gdLst>
              <a:gd name="connsiteX0" fmla="*/ 0 w 6605954"/>
              <a:gd name="connsiteY0" fmla="*/ 228600 h 252046"/>
              <a:gd name="connsiteX1" fmla="*/ 281354 w 6605954"/>
              <a:gd name="connsiteY1" fmla="*/ 35169 h 252046"/>
              <a:gd name="connsiteX2" fmla="*/ 556847 w 6605954"/>
              <a:gd name="connsiteY2" fmla="*/ 0 h 252046"/>
              <a:gd name="connsiteX3" fmla="*/ 1090247 w 6605954"/>
              <a:gd name="connsiteY3" fmla="*/ 5862 h 252046"/>
              <a:gd name="connsiteX4" fmla="*/ 1652954 w 6605954"/>
              <a:gd name="connsiteY4" fmla="*/ 5862 h 252046"/>
              <a:gd name="connsiteX5" fmla="*/ 2174631 w 6605954"/>
              <a:gd name="connsiteY5" fmla="*/ 5862 h 252046"/>
              <a:gd name="connsiteX6" fmla="*/ 2754923 w 6605954"/>
              <a:gd name="connsiteY6" fmla="*/ 46892 h 252046"/>
              <a:gd name="connsiteX7" fmla="*/ 3288323 w 6605954"/>
              <a:gd name="connsiteY7" fmla="*/ 82062 h 252046"/>
              <a:gd name="connsiteX8" fmla="*/ 3839308 w 6605954"/>
              <a:gd name="connsiteY8" fmla="*/ 93785 h 252046"/>
              <a:gd name="connsiteX9" fmla="*/ 4390293 w 6605954"/>
              <a:gd name="connsiteY9" fmla="*/ 140677 h 252046"/>
              <a:gd name="connsiteX10" fmla="*/ 5474677 w 6605954"/>
              <a:gd name="connsiteY10" fmla="*/ 169985 h 252046"/>
              <a:gd name="connsiteX11" fmla="*/ 6605954 w 6605954"/>
              <a:gd name="connsiteY11" fmla="*/ 252046 h 252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605954" h="252046">
                <a:moveTo>
                  <a:pt x="0" y="228600"/>
                </a:moveTo>
                <a:lnTo>
                  <a:pt x="281354" y="35169"/>
                </a:lnTo>
                <a:lnTo>
                  <a:pt x="556847" y="0"/>
                </a:lnTo>
                <a:lnTo>
                  <a:pt x="1090247" y="5862"/>
                </a:lnTo>
                <a:lnTo>
                  <a:pt x="1652954" y="5862"/>
                </a:lnTo>
                <a:lnTo>
                  <a:pt x="2174631" y="5862"/>
                </a:lnTo>
                <a:lnTo>
                  <a:pt x="2754923" y="46892"/>
                </a:lnTo>
                <a:lnTo>
                  <a:pt x="3288323" y="82062"/>
                </a:lnTo>
                <a:lnTo>
                  <a:pt x="3839308" y="93785"/>
                </a:lnTo>
                <a:lnTo>
                  <a:pt x="4390293" y="140677"/>
                </a:lnTo>
                <a:lnTo>
                  <a:pt x="5474677" y="169985"/>
                </a:lnTo>
                <a:lnTo>
                  <a:pt x="6605954" y="252046"/>
                </a:lnTo>
              </a:path>
            </a:pathLst>
          </a:custGeom>
          <a:noFill/>
          <a:ln w="2857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/>
            <a:endParaRPr lang="en-GB" sz="1867" dirty="0"/>
          </a:p>
        </p:txBody>
      </p:sp>
      <p:grpSp>
        <p:nvGrpSpPr>
          <p:cNvPr id="21" name="Group 20"/>
          <p:cNvGrpSpPr/>
          <p:nvPr/>
        </p:nvGrpSpPr>
        <p:grpSpPr>
          <a:xfrm>
            <a:off x="9224387" y="4414900"/>
            <a:ext cx="108000" cy="234161"/>
            <a:chOff x="5659904" y="4635174"/>
            <a:chExt cx="108000" cy="234161"/>
          </a:xfrm>
        </p:grpSpPr>
        <p:cxnSp>
          <p:nvCxnSpPr>
            <p:cNvPr id="153" name="Straight Connector 152"/>
            <p:cNvCxnSpPr/>
            <p:nvPr/>
          </p:nvCxnSpPr>
          <p:spPr>
            <a:xfrm>
              <a:off x="5708323" y="4635174"/>
              <a:ext cx="0" cy="188677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154" name="Oval 153"/>
            <p:cNvSpPr/>
            <p:nvPr/>
          </p:nvSpPr>
          <p:spPr>
            <a:xfrm>
              <a:off x="5659904" y="4761335"/>
              <a:ext cx="108000" cy="108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dirty="0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8128928" y="4343404"/>
            <a:ext cx="108000" cy="234161"/>
            <a:chOff x="5659904" y="4635174"/>
            <a:chExt cx="108000" cy="234161"/>
          </a:xfrm>
        </p:grpSpPr>
        <p:cxnSp>
          <p:nvCxnSpPr>
            <p:cNvPr id="156" name="Straight Connector 155"/>
            <p:cNvCxnSpPr/>
            <p:nvPr/>
          </p:nvCxnSpPr>
          <p:spPr>
            <a:xfrm>
              <a:off x="5708323" y="4635174"/>
              <a:ext cx="0" cy="188677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157" name="Oval 156"/>
            <p:cNvSpPr/>
            <p:nvPr/>
          </p:nvSpPr>
          <p:spPr>
            <a:xfrm>
              <a:off x="5659904" y="4761335"/>
              <a:ext cx="108000" cy="108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dirty="0"/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7033377" y="4309245"/>
            <a:ext cx="108000" cy="234161"/>
            <a:chOff x="5659904" y="4635174"/>
            <a:chExt cx="108000" cy="234161"/>
          </a:xfrm>
        </p:grpSpPr>
        <p:cxnSp>
          <p:nvCxnSpPr>
            <p:cNvPr id="159" name="Straight Connector 158"/>
            <p:cNvCxnSpPr/>
            <p:nvPr/>
          </p:nvCxnSpPr>
          <p:spPr>
            <a:xfrm>
              <a:off x="5695445" y="4635174"/>
              <a:ext cx="0" cy="188677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160" name="Oval 159"/>
            <p:cNvSpPr/>
            <p:nvPr/>
          </p:nvSpPr>
          <p:spPr>
            <a:xfrm>
              <a:off x="5659904" y="4761335"/>
              <a:ext cx="108000" cy="108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dirty="0"/>
            </a:p>
          </p:txBody>
        </p:sp>
      </p:grpSp>
      <p:grpSp>
        <p:nvGrpSpPr>
          <p:cNvPr id="161" name="Group 160"/>
          <p:cNvGrpSpPr/>
          <p:nvPr/>
        </p:nvGrpSpPr>
        <p:grpSpPr>
          <a:xfrm>
            <a:off x="6485427" y="4261920"/>
            <a:ext cx="108000" cy="234161"/>
            <a:chOff x="5659904" y="4635174"/>
            <a:chExt cx="108000" cy="234161"/>
          </a:xfrm>
        </p:grpSpPr>
        <p:cxnSp>
          <p:nvCxnSpPr>
            <p:cNvPr id="162" name="Straight Connector 161"/>
            <p:cNvCxnSpPr/>
            <p:nvPr/>
          </p:nvCxnSpPr>
          <p:spPr>
            <a:xfrm>
              <a:off x="5708323" y="4635174"/>
              <a:ext cx="0" cy="188677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163" name="Oval 162"/>
            <p:cNvSpPr/>
            <p:nvPr/>
          </p:nvSpPr>
          <p:spPr>
            <a:xfrm>
              <a:off x="5659904" y="4761335"/>
              <a:ext cx="108000" cy="108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dirty="0"/>
            </a:p>
          </p:txBody>
        </p:sp>
      </p:grpSp>
      <p:grpSp>
        <p:nvGrpSpPr>
          <p:cNvPr id="164" name="Group 163"/>
          <p:cNvGrpSpPr/>
          <p:nvPr/>
        </p:nvGrpSpPr>
        <p:grpSpPr>
          <a:xfrm>
            <a:off x="5940371" y="4225985"/>
            <a:ext cx="108000" cy="234161"/>
            <a:chOff x="5659904" y="4635174"/>
            <a:chExt cx="108000" cy="234161"/>
          </a:xfrm>
        </p:grpSpPr>
        <p:cxnSp>
          <p:nvCxnSpPr>
            <p:cNvPr id="165" name="Straight Connector 164"/>
            <p:cNvCxnSpPr/>
            <p:nvPr/>
          </p:nvCxnSpPr>
          <p:spPr>
            <a:xfrm>
              <a:off x="5708323" y="4635174"/>
              <a:ext cx="0" cy="188677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166" name="Oval 165"/>
            <p:cNvSpPr/>
            <p:nvPr/>
          </p:nvSpPr>
          <p:spPr>
            <a:xfrm>
              <a:off x="5659904" y="4761335"/>
              <a:ext cx="108000" cy="108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dirty="0"/>
            </a:p>
          </p:txBody>
        </p:sp>
      </p:grpSp>
      <p:grpSp>
        <p:nvGrpSpPr>
          <p:cNvPr id="167" name="Group 166"/>
          <p:cNvGrpSpPr/>
          <p:nvPr/>
        </p:nvGrpSpPr>
        <p:grpSpPr>
          <a:xfrm>
            <a:off x="5376703" y="4208025"/>
            <a:ext cx="108000" cy="234161"/>
            <a:chOff x="5659904" y="4635174"/>
            <a:chExt cx="108000" cy="234161"/>
          </a:xfrm>
        </p:grpSpPr>
        <p:cxnSp>
          <p:nvCxnSpPr>
            <p:cNvPr id="168" name="Straight Connector 167"/>
            <p:cNvCxnSpPr/>
            <p:nvPr/>
          </p:nvCxnSpPr>
          <p:spPr>
            <a:xfrm>
              <a:off x="5708323" y="4635174"/>
              <a:ext cx="0" cy="188677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169" name="Oval 168"/>
            <p:cNvSpPr/>
            <p:nvPr/>
          </p:nvSpPr>
          <p:spPr>
            <a:xfrm>
              <a:off x="5659904" y="4761335"/>
              <a:ext cx="108000" cy="108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dirty="0"/>
            </a:p>
          </p:txBody>
        </p:sp>
      </p:grpSp>
      <p:grpSp>
        <p:nvGrpSpPr>
          <p:cNvPr id="170" name="Group 169"/>
          <p:cNvGrpSpPr/>
          <p:nvPr/>
        </p:nvGrpSpPr>
        <p:grpSpPr>
          <a:xfrm>
            <a:off x="4838273" y="4138461"/>
            <a:ext cx="108000" cy="234161"/>
            <a:chOff x="5659904" y="4635174"/>
            <a:chExt cx="108000" cy="234161"/>
          </a:xfrm>
        </p:grpSpPr>
        <p:cxnSp>
          <p:nvCxnSpPr>
            <p:cNvPr id="171" name="Straight Connector 170"/>
            <p:cNvCxnSpPr/>
            <p:nvPr/>
          </p:nvCxnSpPr>
          <p:spPr>
            <a:xfrm>
              <a:off x="5708323" y="4635174"/>
              <a:ext cx="0" cy="188677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172" name="Oval 171"/>
            <p:cNvSpPr/>
            <p:nvPr/>
          </p:nvSpPr>
          <p:spPr>
            <a:xfrm>
              <a:off x="5659904" y="4761335"/>
              <a:ext cx="108000" cy="108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dirty="0"/>
            </a:p>
          </p:txBody>
        </p:sp>
      </p:grpSp>
      <p:cxnSp>
        <p:nvCxnSpPr>
          <p:cNvPr id="174" name="Straight Connector 173"/>
          <p:cNvCxnSpPr/>
          <p:nvPr/>
        </p:nvCxnSpPr>
        <p:spPr>
          <a:xfrm>
            <a:off x="4337040" y="4156652"/>
            <a:ext cx="0" cy="188677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75" name="Oval 174"/>
          <p:cNvSpPr/>
          <p:nvPr/>
        </p:nvSpPr>
        <p:spPr>
          <a:xfrm>
            <a:off x="4288621" y="4282812"/>
            <a:ext cx="108000" cy="108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/>
            <a:endParaRPr lang="en-GB" sz="1867" dirty="0"/>
          </a:p>
        </p:txBody>
      </p:sp>
      <p:grpSp>
        <p:nvGrpSpPr>
          <p:cNvPr id="176" name="Group 175"/>
          <p:cNvGrpSpPr/>
          <p:nvPr/>
        </p:nvGrpSpPr>
        <p:grpSpPr>
          <a:xfrm>
            <a:off x="3737236" y="4156785"/>
            <a:ext cx="108000" cy="234161"/>
            <a:chOff x="5659904" y="4635174"/>
            <a:chExt cx="108000" cy="234161"/>
          </a:xfrm>
        </p:grpSpPr>
        <p:cxnSp>
          <p:nvCxnSpPr>
            <p:cNvPr id="177" name="Straight Connector 176"/>
            <p:cNvCxnSpPr/>
            <p:nvPr/>
          </p:nvCxnSpPr>
          <p:spPr>
            <a:xfrm>
              <a:off x="5701884" y="4635174"/>
              <a:ext cx="0" cy="188677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178" name="Oval 177"/>
            <p:cNvSpPr/>
            <p:nvPr/>
          </p:nvSpPr>
          <p:spPr>
            <a:xfrm>
              <a:off x="5659904" y="4761335"/>
              <a:ext cx="108000" cy="108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dirty="0"/>
            </a:p>
          </p:txBody>
        </p:sp>
      </p:grpSp>
      <p:grpSp>
        <p:nvGrpSpPr>
          <p:cNvPr id="179" name="Group 178"/>
          <p:cNvGrpSpPr/>
          <p:nvPr/>
        </p:nvGrpSpPr>
        <p:grpSpPr>
          <a:xfrm>
            <a:off x="3191196" y="4144501"/>
            <a:ext cx="108000" cy="234161"/>
            <a:chOff x="5659904" y="4635174"/>
            <a:chExt cx="108000" cy="234161"/>
          </a:xfrm>
        </p:grpSpPr>
        <p:cxnSp>
          <p:nvCxnSpPr>
            <p:cNvPr id="180" name="Straight Connector 179"/>
            <p:cNvCxnSpPr/>
            <p:nvPr/>
          </p:nvCxnSpPr>
          <p:spPr>
            <a:xfrm>
              <a:off x="5708323" y="4635174"/>
              <a:ext cx="0" cy="188677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181" name="Oval 180"/>
            <p:cNvSpPr/>
            <p:nvPr/>
          </p:nvSpPr>
          <p:spPr>
            <a:xfrm>
              <a:off x="5659904" y="4761335"/>
              <a:ext cx="108000" cy="108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dirty="0"/>
            </a:p>
          </p:txBody>
        </p:sp>
      </p:grpSp>
      <p:grpSp>
        <p:nvGrpSpPr>
          <p:cNvPr id="182" name="Group 181"/>
          <p:cNvGrpSpPr/>
          <p:nvPr/>
        </p:nvGrpSpPr>
        <p:grpSpPr>
          <a:xfrm>
            <a:off x="2915688" y="4185242"/>
            <a:ext cx="108000" cy="234161"/>
            <a:chOff x="5659904" y="4635174"/>
            <a:chExt cx="108000" cy="234161"/>
          </a:xfrm>
        </p:grpSpPr>
        <p:cxnSp>
          <p:nvCxnSpPr>
            <p:cNvPr id="183" name="Straight Connector 182"/>
            <p:cNvCxnSpPr/>
            <p:nvPr/>
          </p:nvCxnSpPr>
          <p:spPr>
            <a:xfrm>
              <a:off x="5708323" y="4635174"/>
              <a:ext cx="0" cy="188677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184" name="Oval 183"/>
            <p:cNvSpPr/>
            <p:nvPr/>
          </p:nvSpPr>
          <p:spPr>
            <a:xfrm>
              <a:off x="5659904" y="4761335"/>
              <a:ext cx="108000" cy="108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dirty="0"/>
            </a:p>
          </p:txBody>
        </p:sp>
      </p:grpSp>
      <p:grpSp>
        <p:nvGrpSpPr>
          <p:cNvPr id="185" name="Group 184"/>
          <p:cNvGrpSpPr/>
          <p:nvPr/>
        </p:nvGrpSpPr>
        <p:grpSpPr>
          <a:xfrm>
            <a:off x="2652495" y="4408840"/>
            <a:ext cx="108000" cy="234161"/>
            <a:chOff x="5659904" y="4635174"/>
            <a:chExt cx="108000" cy="234161"/>
          </a:xfrm>
        </p:grpSpPr>
        <p:cxnSp>
          <p:nvCxnSpPr>
            <p:cNvPr id="186" name="Straight Connector 185"/>
            <p:cNvCxnSpPr/>
            <p:nvPr/>
          </p:nvCxnSpPr>
          <p:spPr>
            <a:xfrm>
              <a:off x="5708323" y="4635174"/>
              <a:ext cx="0" cy="188677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2">
              <a:schemeClr val="accent4"/>
            </a:lnRef>
            <a:fillRef idx="0">
              <a:schemeClr val="accent4"/>
            </a:fillRef>
            <a:effectRef idx="1">
              <a:schemeClr val="accent4"/>
            </a:effectRef>
            <a:fontRef idx="minor">
              <a:schemeClr val="tx1"/>
            </a:fontRef>
          </p:style>
        </p:cxnSp>
        <p:sp>
          <p:nvSpPr>
            <p:cNvPr id="187" name="Oval 186"/>
            <p:cNvSpPr/>
            <p:nvPr/>
          </p:nvSpPr>
          <p:spPr>
            <a:xfrm>
              <a:off x="5659904" y="4761335"/>
              <a:ext cx="108000" cy="108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dirty="0"/>
            </a:p>
          </p:txBody>
        </p:sp>
      </p:grpSp>
      <p:sp>
        <p:nvSpPr>
          <p:cNvPr id="195" name="TextBox 194"/>
          <p:cNvSpPr txBox="1"/>
          <p:nvPr/>
        </p:nvSpPr>
        <p:spPr>
          <a:xfrm>
            <a:off x="4193022" y="5123696"/>
            <a:ext cx="331174" cy="307775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/>
            <a:r>
              <a:rPr lang="fr-FR" sz="1200" dirty="0">
                <a:solidFill>
                  <a:srgbClr val="596169"/>
                </a:solidFill>
              </a:rPr>
              <a:t>6</a:t>
            </a:r>
          </a:p>
        </p:txBody>
      </p:sp>
      <p:sp>
        <p:nvSpPr>
          <p:cNvPr id="196" name="TextBox 195"/>
          <p:cNvSpPr txBox="1"/>
          <p:nvPr/>
        </p:nvSpPr>
        <p:spPr>
          <a:xfrm>
            <a:off x="5787422" y="5123696"/>
            <a:ext cx="416134" cy="307775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/>
            <a:r>
              <a:rPr lang="fr-FR" sz="1200" dirty="0">
                <a:solidFill>
                  <a:srgbClr val="596169"/>
                </a:solidFill>
              </a:rPr>
              <a:t>12</a:t>
            </a:r>
          </a:p>
        </p:txBody>
      </p:sp>
      <p:sp>
        <p:nvSpPr>
          <p:cNvPr id="197" name="TextBox 196"/>
          <p:cNvSpPr txBox="1"/>
          <p:nvPr/>
        </p:nvSpPr>
        <p:spPr>
          <a:xfrm>
            <a:off x="7433563" y="5123696"/>
            <a:ext cx="416134" cy="307775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/>
            <a:r>
              <a:rPr lang="fr-FR" sz="1200" dirty="0">
                <a:solidFill>
                  <a:srgbClr val="596169"/>
                </a:solidFill>
              </a:rPr>
              <a:t>18</a:t>
            </a:r>
          </a:p>
        </p:txBody>
      </p:sp>
      <p:sp>
        <p:nvSpPr>
          <p:cNvPr id="198" name="TextBox 197"/>
          <p:cNvSpPr txBox="1"/>
          <p:nvPr/>
        </p:nvSpPr>
        <p:spPr>
          <a:xfrm>
            <a:off x="9089747" y="5123696"/>
            <a:ext cx="416134" cy="307775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/>
            <a:r>
              <a:rPr lang="fr-FR" sz="1200" dirty="0">
                <a:solidFill>
                  <a:srgbClr val="596169"/>
                </a:solidFill>
              </a:rPr>
              <a:t>24</a:t>
            </a:r>
          </a:p>
        </p:txBody>
      </p:sp>
      <p:sp>
        <p:nvSpPr>
          <p:cNvPr id="199" name="TextBox 135"/>
          <p:cNvSpPr txBox="1">
            <a:spLocks noChangeArrowheads="1"/>
          </p:cNvSpPr>
          <p:nvPr/>
        </p:nvSpPr>
        <p:spPr bwMode="auto">
          <a:xfrm>
            <a:off x="9605117" y="3619430"/>
            <a:ext cx="1789867" cy="287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9" rIns="121917" bIns="60959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914354">
              <a:defRPr/>
            </a:pPr>
            <a:r>
              <a:rPr lang="en-US" altLang="en-US" sz="1067" b="1" kern="0" dirty="0">
                <a:solidFill>
                  <a:srgbClr val="562583"/>
                </a:solidFill>
              </a:rPr>
              <a:t>Clamp 1</a:t>
            </a:r>
          </a:p>
        </p:txBody>
      </p:sp>
      <p:sp>
        <p:nvSpPr>
          <p:cNvPr id="200" name="TextBox 135"/>
          <p:cNvSpPr txBox="1">
            <a:spLocks noChangeArrowheads="1"/>
          </p:cNvSpPr>
          <p:nvPr/>
        </p:nvSpPr>
        <p:spPr bwMode="auto">
          <a:xfrm>
            <a:off x="9605120" y="3839538"/>
            <a:ext cx="957755" cy="287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9" rIns="121917" bIns="60959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914354">
              <a:defRPr/>
            </a:pPr>
            <a:r>
              <a:rPr lang="en-US" altLang="en-US" sz="1067" b="1" kern="0" dirty="0">
                <a:solidFill>
                  <a:srgbClr val="C00000"/>
                </a:solidFill>
              </a:rPr>
              <a:t>Clamp 2</a:t>
            </a:r>
          </a:p>
        </p:txBody>
      </p:sp>
      <p:cxnSp>
        <p:nvCxnSpPr>
          <p:cNvPr id="201" name="Straight Connector 200"/>
          <p:cNvCxnSpPr/>
          <p:nvPr/>
        </p:nvCxnSpPr>
        <p:spPr>
          <a:xfrm>
            <a:off x="9492277" y="3748693"/>
            <a:ext cx="144000" cy="0"/>
          </a:xfrm>
          <a:prstGeom prst="line">
            <a:avLst/>
          </a:prstGeom>
          <a:noFill/>
          <a:ln w="28575" cap="flat" cmpd="sng" algn="ctr">
            <a:solidFill>
              <a:srgbClr val="562583"/>
            </a:solidFill>
            <a:prstDash val="solid"/>
          </a:ln>
          <a:effectLst/>
        </p:spPr>
      </p:cxnSp>
      <p:cxnSp>
        <p:nvCxnSpPr>
          <p:cNvPr id="202" name="Straight Connector 201"/>
          <p:cNvCxnSpPr/>
          <p:nvPr/>
        </p:nvCxnSpPr>
        <p:spPr>
          <a:xfrm>
            <a:off x="9490987" y="3949771"/>
            <a:ext cx="144000" cy="0"/>
          </a:xfrm>
          <a:prstGeom prst="line">
            <a:avLst/>
          </a:prstGeom>
          <a:noFill/>
          <a:ln w="28575" cap="flat" cmpd="sng" algn="ctr">
            <a:solidFill>
              <a:srgbClr val="C00000"/>
            </a:solidFill>
            <a:prstDash val="solid"/>
          </a:ln>
          <a:effectLst/>
        </p:spPr>
      </p:cxnSp>
      <p:sp>
        <p:nvSpPr>
          <p:cNvPr id="188" name="TextBox 187">
            <a:extLst>
              <a:ext uri="{FF2B5EF4-FFF2-40B4-BE49-F238E27FC236}">
                <a16:creationId xmlns="" xmlns:a16="http://schemas.microsoft.com/office/drawing/2014/main" id="{AC861C54-9A6B-46E0-8CB5-8997E3DD2FFA}"/>
              </a:ext>
            </a:extLst>
          </p:cNvPr>
          <p:cNvSpPr txBox="1"/>
          <p:nvPr/>
        </p:nvSpPr>
        <p:spPr>
          <a:xfrm>
            <a:off x="2536837" y="5123696"/>
            <a:ext cx="331174" cy="307775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/>
            <a:r>
              <a:rPr lang="fr-FR" sz="1200" dirty="0">
                <a:solidFill>
                  <a:srgbClr val="596169"/>
                </a:solidFill>
              </a:rPr>
              <a:t>0</a:t>
            </a:r>
          </a:p>
        </p:txBody>
      </p:sp>
      <p:cxnSp>
        <p:nvCxnSpPr>
          <p:cNvPr id="189" name="Straight Connector 188">
            <a:extLst>
              <a:ext uri="{FF2B5EF4-FFF2-40B4-BE49-F238E27FC236}">
                <a16:creationId xmlns="" xmlns:a16="http://schemas.microsoft.com/office/drawing/2014/main" id="{39723421-2E7A-4670-9B65-D2D8959C8CCA}"/>
              </a:ext>
            </a:extLst>
          </p:cNvPr>
          <p:cNvCxnSpPr>
            <a:cxnSpLocks/>
          </p:cNvCxnSpPr>
          <p:nvPr/>
        </p:nvCxnSpPr>
        <p:spPr>
          <a:xfrm>
            <a:off x="2700916" y="4763804"/>
            <a:ext cx="6596901" cy="0"/>
          </a:xfrm>
          <a:prstGeom prst="line">
            <a:avLst/>
          </a:prstGeom>
          <a:noFill/>
          <a:ln w="19050" cap="sq">
            <a:solidFill>
              <a:schemeClr val="accent4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0" name="TextBox 189">
            <a:extLst>
              <a:ext uri="{FF2B5EF4-FFF2-40B4-BE49-F238E27FC236}">
                <a16:creationId xmlns="" xmlns:a16="http://schemas.microsoft.com/office/drawing/2014/main" id="{D1577B99-9264-4156-854F-6C45E2FE95F9}"/>
              </a:ext>
            </a:extLst>
          </p:cNvPr>
          <p:cNvSpPr txBox="1"/>
          <p:nvPr/>
        </p:nvSpPr>
        <p:spPr>
          <a:xfrm>
            <a:off x="8718582" y="4794410"/>
            <a:ext cx="688644" cy="287321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/>
            <a:r>
              <a:rPr lang="fr-FR" sz="1067" dirty="0">
                <a:solidFill>
                  <a:srgbClr val="596169"/>
                </a:solidFill>
              </a:rPr>
              <a:t>&lt;LLOQ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="" xmlns:a16="http://schemas.microsoft.com/office/drawing/2014/main" id="{B4603CA5-2696-4945-AB24-65F201A3E0A5}"/>
              </a:ext>
            </a:extLst>
          </p:cNvPr>
          <p:cNvSpPr txBox="1"/>
          <p:nvPr/>
        </p:nvSpPr>
        <p:spPr>
          <a:xfrm>
            <a:off x="5613785" y="5301096"/>
            <a:ext cx="753470" cy="307775"/>
          </a:xfrm>
          <a:prstGeom prst="rect">
            <a:avLst/>
          </a:prstGeom>
          <a:noFill/>
        </p:spPr>
        <p:txBody>
          <a:bodyPr wrap="none" lIns="121917" tIns="60959" rIns="121917" bIns="60959" rtlCol="0">
            <a:spAutoFit/>
          </a:bodyPr>
          <a:lstStyle/>
          <a:p>
            <a:pPr algn="ctr"/>
            <a:r>
              <a:rPr lang="fr-FR" sz="1200" dirty="0">
                <a:solidFill>
                  <a:srgbClr val="596169"/>
                </a:solidFill>
              </a:rPr>
              <a:t>Time, h</a:t>
            </a:r>
          </a:p>
        </p:txBody>
      </p:sp>
    </p:spTree>
    <p:extLst>
      <p:ext uri="{BB962C8B-B14F-4D97-AF65-F5344CB8AC3E}">
        <p14:creationId xmlns:p14="http://schemas.microsoft.com/office/powerpoint/2010/main" val="3888583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">
            <a:extLst>
              <a:ext uri="{FF2B5EF4-FFF2-40B4-BE49-F238E27FC236}">
                <a16:creationId xmlns="" xmlns:a16="http://schemas.microsoft.com/office/drawing/2014/main" id="{0950CDC7-B368-41EB-916D-22F332737D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5736" y="1698722"/>
            <a:ext cx="10867329" cy="4415367"/>
          </a:xfrm>
        </p:spPr>
        <p:txBody>
          <a:bodyPr/>
          <a:lstStyle/>
          <a:p>
            <a:pPr marL="0" indent="0">
              <a:buNone/>
            </a:pPr>
            <a:r>
              <a:rPr lang="en-GB" sz="2400" dirty="0"/>
              <a:t>With Gla-300:</a:t>
            </a:r>
          </a:p>
          <a:p>
            <a:r>
              <a:rPr lang="en-GB" sz="2400" dirty="0"/>
              <a:t>A more compact and smaller depot, which leads to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2400" dirty="0"/>
              <a:t>More gradual and slower release of insulin from the surface of the depo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2400" dirty="0"/>
              <a:t>More constant and prolonged glucose-lowering profile, maintaining blood glucose control beyond 24 hours</a:t>
            </a:r>
            <a:r>
              <a:rPr lang="en-GB" sz="2400" baseline="30000" dirty="0"/>
              <a:t>1</a:t>
            </a:r>
          </a:p>
          <a:p>
            <a:r>
              <a:rPr lang="en-GB" sz="2400" dirty="0" smtClean="0"/>
              <a:t>Low </a:t>
            </a:r>
            <a:r>
              <a:rPr lang="en-GB" sz="2400" dirty="0"/>
              <a:t>within-day fluctuation and between-day </a:t>
            </a:r>
            <a:r>
              <a:rPr lang="en-GB" sz="2400" dirty="0" smtClean="0"/>
              <a:t>variability</a:t>
            </a:r>
            <a:r>
              <a:rPr lang="en-GB" sz="2400" baseline="30000" dirty="0"/>
              <a:t>2</a:t>
            </a:r>
            <a:endParaRPr lang="en-GB" sz="2400" baseline="30000" dirty="0"/>
          </a:p>
          <a:p>
            <a:endParaRPr lang="en-GB" dirty="0"/>
          </a:p>
        </p:txBody>
      </p:sp>
      <p:sp>
        <p:nvSpPr>
          <p:cNvPr id="324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265782" y="5733089"/>
            <a:ext cx="10193215" cy="381000"/>
          </a:xfrm>
        </p:spPr>
        <p:txBody>
          <a:bodyPr/>
          <a:lstStyle/>
          <a:p>
            <a:r>
              <a:rPr lang="pt-BR" dirty="0"/>
              <a:t/>
            </a:r>
            <a:br>
              <a:rPr lang="pt-BR" dirty="0"/>
            </a:br>
            <a:r>
              <a:rPr lang="pt-BR" sz="933" dirty="0"/>
              <a:t>1. </a:t>
            </a:r>
            <a:r>
              <a:rPr lang="en-GB" sz="933" dirty="0"/>
              <a:t>Becker RH et al. </a:t>
            </a:r>
            <a:r>
              <a:rPr lang="pt-BR" sz="933" dirty="0"/>
              <a:t>Diabetes Care. </a:t>
            </a:r>
            <a:r>
              <a:rPr lang="pt-BR" sz="933" dirty="0"/>
              <a:t>2015;38:637-43; </a:t>
            </a:r>
            <a:r>
              <a:rPr lang="pt-BR" sz="933" dirty="0" smtClean="0"/>
              <a:t>2. </a:t>
            </a:r>
            <a:r>
              <a:rPr lang="en-US" sz="933" dirty="0" smtClean="0"/>
              <a:t>Becker </a:t>
            </a:r>
            <a:r>
              <a:rPr lang="en-US" sz="933" dirty="0"/>
              <a:t>RH et al. </a:t>
            </a:r>
            <a:r>
              <a:rPr lang="en-US" sz="933" dirty="0"/>
              <a:t>Diabetes </a:t>
            </a:r>
            <a:r>
              <a:rPr lang="en-US" sz="933" dirty="0" err="1"/>
              <a:t>Obes</a:t>
            </a:r>
            <a:r>
              <a:rPr lang="en-US" sz="933" dirty="0"/>
              <a:t> </a:t>
            </a:r>
            <a:r>
              <a:rPr lang="en-US" sz="933" dirty="0" err="1"/>
              <a:t>Metab</a:t>
            </a:r>
            <a:r>
              <a:rPr lang="en-US" sz="933" dirty="0"/>
              <a:t>. 2015;17:261-67</a:t>
            </a:r>
            <a:endParaRPr lang="en-GB" sz="933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667" b="1" dirty="0"/>
              <a:t>Gla-300 characteristics: Conclusions</a:t>
            </a:r>
          </a:p>
        </p:txBody>
      </p:sp>
      <p:sp>
        <p:nvSpPr>
          <p:cNvPr id="19" name="Text Placeholder 3"/>
          <p:cNvSpPr txBox="1">
            <a:spLocks/>
          </p:cNvSpPr>
          <p:nvPr/>
        </p:nvSpPr>
        <p:spPr>
          <a:xfrm>
            <a:off x="5903180" y="1054767"/>
            <a:ext cx="4153265" cy="690696"/>
          </a:xfrm>
          <a:prstGeom prst="rect">
            <a:avLst/>
          </a:prstGeom>
        </p:spPr>
        <p:txBody>
          <a:bodyPr lIns="121917" tIns="60959" rIns="121917" bIns="60959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rgbClr val="81B838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 b="1" dirty="0"/>
          </a:p>
        </p:txBody>
      </p:sp>
      <p:sp>
        <p:nvSpPr>
          <p:cNvPr id="7" name="Rounded Rectangle 6"/>
          <p:cNvSpPr/>
          <p:nvPr/>
        </p:nvSpPr>
        <p:spPr>
          <a:xfrm>
            <a:off x="383120" y="1167091"/>
            <a:ext cx="11059945" cy="3989111"/>
          </a:xfrm>
          <a:prstGeom prst="roundRect">
            <a:avLst>
              <a:gd name="adj" fmla="val 12504"/>
            </a:avLst>
          </a:prstGeom>
          <a:noFill/>
          <a:ln w="381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/>
            <a:endParaRPr lang="en-GB" sz="1867" dirty="0"/>
          </a:p>
        </p:txBody>
      </p:sp>
    </p:spTree>
    <p:extLst>
      <p:ext uri="{BB962C8B-B14F-4D97-AF65-F5344CB8AC3E}">
        <p14:creationId xmlns:p14="http://schemas.microsoft.com/office/powerpoint/2010/main" val="149279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3"/>
          <p:cNvSpPr>
            <a:spLocks noGrp="1"/>
          </p:cNvSpPr>
          <p:nvPr>
            <p:ph type="title"/>
          </p:nvPr>
        </p:nvSpPr>
        <p:spPr>
          <a:xfrm>
            <a:off x="334436" y="2431923"/>
            <a:ext cx="11523133" cy="1155989"/>
          </a:xfrm>
        </p:spPr>
        <p:txBody>
          <a:bodyPr/>
          <a:lstStyle/>
          <a:p>
            <a:r>
              <a:rPr lang="en-US" dirty="0"/>
              <a:t>Lower risk for severe hypoglycemia with Gla-300 vs Gla-100 in patients with type 1 diabetes: a meta-analysis of 6-month phase 3 clinical trials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334431" y="5793850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chemeClr val="accent2"/>
              </a:buClr>
              <a:defRPr/>
            </a:pPr>
            <a:r>
              <a:rPr lang="en-US" sz="1100" dirty="0" err="1">
                <a:solidFill>
                  <a:schemeClr val="bg1"/>
                </a:solidFill>
              </a:rPr>
              <a:t>Danne</a:t>
            </a:r>
            <a:r>
              <a:rPr lang="en-US" sz="1100" dirty="0">
                <a:solidFill>
                  <a:schemeClr val="bg1"/>
                </a:solidFill>
              </a:rPr>
              <a:t> T, et al. </a:t>
            </a:r>
            <a:r>
              <a:rPr lang="en-US" sz="1100" dirty="0" err="1">
                <a:solidFill>
                  <a:schemeClr val="bg1"/>
                </a:solidFill>
              </a:rPr>
              <a:t>Pediatr</a:t>
            </a:r>
            <a:r>
              <a:rPr lang="en-US" sz="1100" dirty="0">
                <a:solidFill>
                  <a:schemeClr val="bg1"/>
                </a:solidFill>
              </a:rPr>
              <a:t> Diabetes 2019;20 (</a:t>
            </a:r>
            <a:r>
              <a:rPr lang="en-US" sz="1100" dirty="0" err="1">
                <a:solidFill>
                  <a:schemeClr val="bg1"/>
                </a:solidFill>
              </a:rPr>
              <a:t>Suppl</a:t>
            </a:r>
            <a:r>
              <a:rPr lang="en-US" sz="1100" dirty="0">
                <a:solidFill>
                  <a:schemeClr val="bg1"/>
                </a:solidFill>
              </a:rPr>
              <a:t> 28):P236. </a:t>
            </a:r>
          </a:p>
        </p:txBody>
      </p:sp>
    </p:spTree>
    <p:extLst>
      <p:ext uri="{BB962C8B-B14F-4D97-AF65-F5344CB8AC3E}">
        <p14:creationId xmlns:p14="http://schemas.microsoft.com/office/powerpoint/2010/main" val="3216172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3E845BF3-6203-46ED-A211-C3B4085177ED}"/>
              </a:ext>
            </a:extLst>
          </p:cNvPr>
          <p:cNvSpPr/>
          <p:nvPr/>
        </p:nvSpPr>
        <p:spPr>
          <a:xfrm>
            <a:off x="383116" y="798948"/>
            <a:ext cx="11523537" cy="36287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444492"/>
                </a:solidFill>
                <a:latin typeface="Arial" panose="020B0604020202020204" pitchFamily="34" charset="0"/>
              </a:rPr>
              <a:t>Basal bolus insulin therapy is fundamental to management of T1D, but despite increasing use of diabetes technologies many patients fail to achieve HbA</a:t>
            </a:r>
            <a:r>
              <a:rPr lang="en-US" sz="1050" dirty="0">
                <a:solidFill>
                  <a:srgbClr val="444492"/>
                </a:solidFill>
                <a:latin typeface="Arial" panose="020B0604020202020204" pitchFamily="34" charset="0"/>
              </a:rPr>
              <a:t>1c </a:t>
            </a:r>
            <a:r>
              <a:rPr lang="en-US" dirty="0">
                <a:solidFill>
                  <a:srgbClr val="444492"/>
                </a:solidFill>
                <a:latin typeface="Arial" panose="020B0604020202020204" pitchFamily="34" charset="0"/>
              </a:rPr>
              <a:t>targets</a:t>
            </a:r>
            <a:r>
              <a:rPr lang="en-US" baseline="30000" dirty="0">
                <a:solidFill>
                  <a:srgbClr val="444492"/>
                </a:solidFill>
                <a:latin typeface="Arial" panose="020B0604020202020204" pitchFamily="34" charset="0"/>
              </a:rPr>
              <a:t>1</a:t>
            </a:r>
            <a:endParaRPr lang="en-US" sz="1050" baseline="50000" dirty="0">
              <a:solidFill>
                <a:srgbClr val="444492"/>
              </a:solidFill>
              <a:latin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444492"/>
                </a:solidFill>
                <a:latin typeface="Arial" panose="020B0604020202020204" pitchFamily="34" charset="0"/>
              </a:rPr>
              <a:t>Fear of hypoglycemia and lack of insulin titration are frequent reasons for not attaining glycemic goals in patients with T1D</a:t>
            </a:r>
            <a:r>
              <a:rPr lang="en-US" baseline="30000" dirty="0">
                <a:solidFill>
                  <a:srgbClr val="444492"/>
                </a:solidFill>
                <a:latin typeface="Arial" panose="020B0604020202020204" pitchFamily="34" charset="0"/>
              </a:rPr>
              <a:t>2,3</a:t>
            </a:r>
            <a:endParaRPr lang="en-US" sz="1050" baseline="30000" dirty="0">
              <a:solidFill>
                <a:srgbClr val="444492"/>
              </a:solidFill>
              <a:latin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444492"/>
                </a:solidFill>
                <a:latin typeface="Arial" panose="020B0604020202020204" pitchFamily="34" charset="0"/>
              </a:rPr>
              <a:t>Three randomized controlled open-label phase 3 trials have been conducted with insulin glargine 300 U/ml (Gla-300) versus insulin glargine 100 U/ml (Gla-100) in patients with T1D</a:t>
            </a:r>
            <a:r>
              <a:rPr lang="en-US" baseline="30000" dirty="0">
                <a:solidFill>
                  <a:srgbClr val="444492"/>
                </a:solidFill>
                <a:latin typeface="Arial" panose="020B0604020202020204" pitchFamily="34" charset="0"/>
              </a:rPr>
              <a:t>4−6</a:t>
            </a:r>
            <a:endParaRPr lang="en-US" sz="1050" baseline="30000" dirty="0">
              <a:solidFill>
                <a:srgbClr val="444492"/>
              </a:solidFill>
              <a:latin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444492"/>
                </a:solidFill>
                <a:latin typeface="Arial" panose="020B0604020202020204" pitchFamily="34" charset="0"/>
              </a:rPr>
              <a:t>All three trials had a similar design for regulatory purposes and achieved their primary objective of HbA</a:t>
            </a:r>
            <a:r>
              <a:rPr lang="en-US" sz="1050" dirty="0">
                <a:solidFill>
                  <a:srgbClr val="444492"/>
                </a:solidFill>
                <a:latin typeface="Arial" panose="020B0604020202020204" pitchFamily="34" charset="0"/>
              </a:rPr>
              <a:t>1c </a:t>
            </a:r>
            <a:br>
              <a:rPr lang="en-US" sz="1050" dirty="0">
                <a:solidFill>
                  <a:srgbClr val="444492"/>
                </a:solidFill>
                <a:latin typeface="Arial" panose="020B0604020202020204" pitchFamily="34" charset="0"/>
              </a:rPr>
            </a:br>
            <a:r>
              <a:rPr lang="en-US" dirty="0">
                <a:solidFill>
                  <a:srgbClr val="444492"/>
                </a:solidFill>
                <a:latin typeface="Arial" panose="020B0604020202020204" pitchFamily="34" charset="0"/>
              </a:rPr>
              <a:t>non-inferiority of Gla-300 versus Gla-100</a:t>
            </a:r>
            <a:r>
              <a:rPr lang="en-US" baseline="30000" dirty="0">
                <a:solidFill>
                  <a:srgbClr val="444492"/>
                </a:solidFill>
                <a:latin typeface="Arial" panose="020B0604020202020204" pitchFamily="34" charset="0"/>
              </a:rPr>
              <a:t>4−6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05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="" xmlns:a16="http://schemas.microsoft.com/office/drawing/2014/main" id="{AB95A9B3-27C0-4051-8BC7-E651DBF81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032" y="272734"/>
            <a:ext cx="11523537" cy="436361"/>
          </a:xfrm>
        </p:spPr>
        <p:txBody>
          <a:bodyPr/>
          <a:lstStyle/>
          <a:p>
            <a:r>
              <a:rPr lang="en-US" b="1" dirty="0"/>
              <a:t>Introduction</a:t>
            </a:r>
          </a:p>
        </p:txBody>
      </p:sp>
      <p:sp>
        <p:nvSpPr>
          <p:cNvPr id="6" name="Rounded Rectangle 83">
            <a:extLst>
              <a:ext uri="{FF2B5EF4-FFF2-40B4-BE49-F238E27FC236}">
                <a16:creationId xmlns="" xmlns:a16="http://schemas.microsoft.com/office/drawing/2014/main" id="{6727C5D6-537A-4F4A-907E-1E143B4D806E}"/>
              </a:ext>
            </a:extLst>
          </p:cNvPr>
          <p:cNvSpPr/>
          <p:nvPr/>
        </p:nvSpPr>
        <p:spPr>
          <a:xfrm>
            <a:off x="10483912" y="87443"/>
            <a:ext cx="1621189" cy="436361"/>
          </a:xfrm>
          <a:prstGeom prst="roundRect">
            <a:avLst/>
          </a:prstGeom>
          <a:solidFill>
            <a:srgbClr val="44449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47992" rIns="0" bIns="47992" spcCol="1271" anchor="ctr"/>
          <a:lstStyle/>
          <a:p>
            <a:pPr algn="ctr" defTabSz="829593">
              <a:lnSpc>
                <a:spcPct val="90000"/>
              </a:lnSpc>
              <a:defRPr/>
            </a:pPr>
            <a:r>
              <a:rPr lang="de-DE" sz="1600" b="1" dirty="0">
                <a:solidFill>
                  <a:srgbClr val="FFFFFF"/>
                </a:solidFill>
                <a:cs typeface="Arial" panose="020B0604020202020204" pitchFamily="34" charset="0"/>
              </a:rPr>
              <a:t>T1D </a:t>
            </a:r>
            <a:br>
              <a:rPr lang="de-DE" sz="16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de-DE" sz="1600" b="1" dirty="0">
                <a:solidFill>
                  <a:srgbClr val="FFFFFF"/>
                </a:solidFill>
                <a:cs typeface="Arial" panose="020B0604020202020204" pitchFamily="34" charset="0"/>
              </a:rPr>
              <a:t>meta-analysis</a:t>
            </a:r>
          </a:p>
        </p:txBody>
      </p:sp>
      <p:sp>
        <p:nvSpPr>
          <p:cNvPr id="7" name="Rectangle 6"/>
          <p:cNvSpPr/>
          <p:nvPr/>
        </p:nvSpPr>
        <p:spPr>
          <a:xfrm>
            <a:off x="2468031" y="6117700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chemeClr val="accent2"/>
              </a:buClr>
              <a:defRPr/>
            </a:pPr>
            <a:r>
              <a:rPr lang="en-US" sz="1100" dirty="0" err="1">
                <a:solidFill>
                  <a:schemeClr val="tx1">
                    <a:lumMod val="75000"/>
                  </a:schemeClr>
                </a:solidFill>
              </a:rPr>
              <a:t>Danne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 T, et al. </a:t>
            </a:r>
            <a:r>
              <a:rPr lang="en-US" sz="1100" dirty="0" err="1">
                <a:solidFill>
                  <a:schemeClr val="tx1">
                    <a:lumMod val="75000"/>
                  </a:schemeClr>
                </a:solidFill>
              </a:rPr>
              <a:t>Pediatr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 Diabetes 2019;20 (</a:t>
            </a:r>
            <a:r>
              <a:rPr lang="en-US" sz="1100" dirty="0" err="1">
                <a:solidFill>
                  <a:schemeClr val="tx1">
                    <a:lumMod val="75000"/>
                  </a:schemeClr>
                </a:solidFill>
              </a:rPr>
              <a:t>Suppl</a:t>
            </a:r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 28):P236. </a:t>
            </a:r>
          </a:p>
        </p:txBody>
      </p:sp>
    </p:spTree>
    <p:extLst>
      <p:ext uri="{BB962C8B-B14F-4D97-AF65-F5344CB8AC3E}">
        <p14:creationId xmlns:p14="http://schemas.microsoft.com/office/powerpoint/2010/main" val="291102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Toujeo_with footnotes">
  <a:themeElements>
    <a:clrScheme name="Custom 3">
      <a:dk1>
        <a:srgbClr val="444492"/>
      </a:dk1>
      <a:lt1>
        <a:srgbClr val="FFFFFF"/>
      </a:lt1>
      <a:dk2>
        <a:srgbClr val="0092D0"/>
      </a:dk2>
      <a:lt2>
        <a:srgbClr val="444492"/>
      </a:lt2>
      <a:accent1>
        <a:srgbClr val="444492"/>
      </a:accent1>
      <a:accent2>
        <a:srgbClr val="81B838"/>
      </a:accent2>
      <a:accent3>
        <a:srgbClr val="0092D0"/>
      </a:accent3>
      <a:accent4>
        <a:srgbClr val="596169"/>
      </a:accent4>
      <a:accent5>
        <a:srgbClr val="DC006B"/>
      </a:accent5>
      <a:accent6>
        <a:srgbClr val="C15E1C"/>
      </a:accent6>
      <a:hlink>
        <a:srgbClr val="444492"/>
      </a:hlink>
      <a:folHlink>
        <a:srgbClr val="AFB4B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4"/>
        </a:lnRef>
        <a:fillRef idx="0">
          <a:schemeClr val="accent4"/>
        </a:fillRef>
        <a:effectRef idx="1">
          <a:schemeClr val="accent4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oujeo" id="{B6F0CE5B-8413-4BC5-8C52-B2523B2BE09C}" vid="{C660D983-AEE0-4DA3-9C6B-6CC0A0404D1F}"/>
    </a:ext>
  </a:extLst>
</a:theme>
</file>

<file path=ppt/theme/theme2.xml><?xml version="1.0" encoding="utf-8"?>
<a:theme xmlns:a="http://schemas.openxmlformats.org/drawingml/2006/main" name="7_Toujeo_with footnotes">
  <a:themeElements>
    <a:clrScheme name="Custom 3">
      <a:dk1>
        <a:srgbClr val="444492"/>
      </a:dk1>
      <a:lt1>
        <a:srgbClr val="FFFFFF"/>
      </a:lt1>
      <a:dk2>
        <a:srgbClr val="0092D0"/>
      </a:dk2>
      <a:lt2>
        <a:srgbClr val="444492"/>
      </a:lt2>
      <a:accent1>
        <a:srgbClr val="444492"/>
      </a:accent1>
      <a:accent2>
        <a:srgbClr val="81B838"/>
      </a:accent2>
      <a:accent3>
        <a:srgbClr val="0092D0"/>
      </a:accent3>
      <a:accent4>
        <a:srgbClr val="596169"/>
      </a:accent4>
      <a:accent5>
        <a:srgbClr val="DC006B"/>
      </a:accent5>
      <a:accent6>
        <a:srgbClr val="C15E1C"/>
      </a:accent6>
      <a:hlink>
        <a:srgbClr val="444492"/>
      </a:hlink>
      <a:folHlink>
        <a:srgbClr val="AFB4B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4"/>
        </a:lnRef>
        <a:fillRef idx="0">
          <a:schemeClr val="accent4"/>
        </a:fillRef>
        <a:effectRef idx="1">
          <a:schemeClr val="accent4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oujeo" id="{B6F0CE5B-8413-4BC5-8C52-B2523B2BE09C}" vid="{C660D983-AEE0-4DA3-9C6B-6CC0A0404D1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DE3F13423ACA47B274261DE24E199C" ma:contentTypeVersion="41" ma:contentTypeDescription="Create a new document." ma:contentTypeScope="" ma:versionID="99b60b00b4afa1ad5c7d96e1312ae75e">
  <xsd:schema xmlns:xsd="http://www.w3.org/2001/XMLSchema" xmlns:xs="http://www.w3.org/2001/XMLSchema" xmlns:p="http://schemas.microsoft.com/office/2006/metadata/properties" xmlns:ns2="c9274a6c-ec7e-44a6-ad51-2f284eb36fc3" xmlns:ns3="http://schemas.microsoft.com/sharepoint/v4" xmlns:ns4="6f1a0896-b18b-47c3-a8ac-aecd31aab233" targetNamespace="http://schemas.microsoft.com/office/2006/metadata/properties" ma:root="true" ma:fieldsID="1e8b0bf60a7986668f964f045181cf62" ns2:_="" ns3:_="" ns4:_="">
    <xsd:import namespace="c9274a6c-ec7e-44a6-ad51-2f284eb36fc3"/>
    <xsd:import namespace="http://schemas.microsoft.com/sharepoint/v4"/>
    <xsd:import namespace="6f1a0896-b18b-47c3-a8ac-aecd31aab23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IconOverlay" minOccurs="0"/>
                <xsd:element ref="ns4:SharedWithUsers" minOccurs="0"/>
                <xsd:element ref="ns4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274a6c-ec7e-44a6-ad51-2f284eb36fc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7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1a0896-b18b-47c3-a8ac-aecd31aab23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EEDBD15-11AF-45B8-8FED-59082C8424CC}">
  <ds:schemaRefs>
    <ds:schemaRef ds:uri="http://schemas.microsoft.com/office/2006/metadata/properties"/>
    <ds:schemaRef ds:uri="c9274a6c-ec7e-44a6-ad51-2f284eb36fc3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  <ds:schemaRef ds:uri="http://purl.org/dc/terms/"/>
    <ds:schemaRef ds:uri="http://schemas.microsoft.com/sharepoint/v4"/>
    <ds:schemaRef ds:uri="http://schemas.openxmlformats.org/package/2006/metadata/core-properties"/>
    <ds:schemaRef ds:uri="6f1a0896-b18b-47c3-a8ac-aecd31aab233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D5167787-87F4-4BB0-9488-02AA38B4E7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9274a6c-ec7e-44a6-ad51-2f284eb36fc3"/>
    <ds:schemaRef ds:uri="http://schemas.microsoft.com/sharepoint/v4"/>
    <ds:schemaRef ds:uri="6f1a0896-b18b-47c3-a8ac-aecd31aab2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0C579F8-39AB-43D5-BFFD-650837D0A3D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0</TotalTime>
  <Words>1663</Words>
  <Application>Microsoft Office PowerPoint</Application>
  <PresentationFormat>Widescreen</PresentationFormat>
  <Paragraphs>240</Paragraphs>
  <Slides>19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3" baseType="lpstr">
      <vt:lpstr>ＭＳ Ｐゴシック</vt:lpstr>
      <vt:lpstr>ＭＳ Ｐゴシック</vt:lpstr>
      <vt:lpstr>SimSun</vt:lpstr>
      <vt:lpstr>Arial</vt:lpstr>
      <vt:lpstr>Calibri</vt:lpstr>
      <vt:lpstr>等线</vt:lpstr>
      <vt:lpstr>Helvetica</vt:lpstr>
      <vt:lpstr>Tabassom</vt:lpstr>
      <vt:lpstr>Times</vt:lpstr>
      <vt:lpstr>Trebuchet MS</vt:lpstr>
      <vt:lpstr>Wingdings</vt:lpstr>
      <vt:lpstr>6_Toujeo_with footnotes</vt:lpstr>
      <vt:lpstr>7_Toujeo_with footnotes</vt:lpstr>
      <vt:lpstr>Diapositive think-cell</vt:lpstr>
      <vt:lpstr>       Gla-300 in patients with type 1 diabetes: Overview of meta-analysis of 6-month phase 3 clinical trials</vt:lpstr>
      <vt:lpstr>High hypoglycemia rates with insulin therapy and adverse impact</vt:lpstr>
      <vt:lpstr>The possibility of hypoglycemia may limit treatment intensification</vt:lpstr>
      <vt:lpstr>Evolution of basal insulin development: Overcoming limitations</vt:lpstr>
      <vt:lpstr>Compact depot formation results in more gradual insulin release</vt:lpstr>
      <vt:lpstr>Low within-day and between-day fluctuation with Gla-300</vt:lpstr>
      <vt:lpstr>Gla-300 characteristics: Conclusions</vt:lpstr>
      <vt:lpstr>Lower risk for severe hypoglycemia with Gla-300 vs Gla-100 in patients with type 1 diabetes: a meta-analysis of 6-month phase 3 clinical trials</vt:lpstr>
      <vt:lpstr>Introduction</vt:lpstr>
      <vt:lpstr>PowerPoint Presentation</vt:lpstr>
      <vt:lpstr>Study design and previous basal insulin use</vt:lpstr>
      <vt:lpstr>HbA1c reduction from baseline to week 26</vt:lpstr>
      <vt:lpstr>Lower percentage of patients with ≥1 severe hypoglycemic event  with Gla-300 vs. Gla-100 from baseline to month 6</vt:lpstr>
      <vt:lpstr>Discussion/Conclusion: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met needs in T1D</dc:title>
  <dc:creator>Lauand, Felipe /FR</dc:creator>
  <cp:lastModifiedBy>Khatibzadeh, Nadia /IR</cp:lastModifiedBy>
  <cp:revision>736</cp:revision>
  <cp:lastPrinted>2019-07-05T17:37:48Z</cp:lastPrinted>
  <dcterms:created xsi:type="dcterms:W3CDTF">2019-03-08T14:28:52Z</dcterms:created>
  <dcterms:modified xsi:type="dcterms:W3CDTF">2021-11-09T08:41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EDDE3F13423ACA47B274261DE24E199C</vt:lpwstr>
  </property>
  <property fmtid="{D5CDD505-2E9C-101B-9397-08002B2CF9AE}" pid="4" name="SBPDocLibNumDon">
    <vt:r8>31</vt:r8>
  </property>
  <property fmtid="{D5CDD505-2E9C-101B-9397-08002B2CF9AE}" pid="5" name="URL">
    <vt:lpwstr/>
  </property>
  <property fmtid="{D5CDD505-2E9C-101B-9397-08002B2CF9AE}" pid="6" name="SBPDocLibFolderDescription">
    <vt:lpwstr/>
  </property>
  <property fmtid="{D5CDD505-2E9C-101B-9397-08002B2CF9AE}" pid="7" name="PublishingContactEmail">
    <vt:lpwstr/>
  </property>
  <property fmtid="{D5CDD505-2E9C-101B-9397-08002B2CF9AE}" pid="8" name="SBPDocLibColorLib">
    <vt:lpwstr/>
  </property>
</Properties>
</file>